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152" r:id="rId4"/>
  </p:sldMasterIdLst>
  <p:notesMasterIdLst>
    <p:notesMasterId r:id="rId32"/>
  </p:notesMasterIdLst>
  <p:handoutMasterIdLst>
    <p:handoutMasterId r:id="rId33"/>
  </p:handoutMasterIdLst>
  <p:sldIdLst>
    <p:sldId id="310" r:id="rId5"/>
    <p:sldId id="2076137448" r:id="rId6"/>
    <p:sldId id="2147467992" r:id="rId7"/>
    <p:sldId id="2147468002" r:id="rId8"/>
    <p:sldId id="2147468000" r:id="rId9"/>
    <p:sldId id="2147467956" r:id="rId10"/>
    <p:sldId id="2147467971" r:id="rId11"/>
    <p:sldId id="2147467986" r:id="rId12"/>
    <p:sldId id="2147467998" r:id="rId13"/>
    <p:sldId id="2147467990" r:id="rId14"/>
    <p:sldId id="2147467957" r:id="rId15"/>
    <p:sldId id="2147467996" r:id="rId16"/>
    <p:sldId id="2147467975" r:id="rId17"/>
    <p:sldId id="2147467974" r:id="rId18"/>
    <p:sldId id="2147467978" r:id="rId19"/>
    <p:sldId id="2147467958" r:id="rId20"/>
    <p:sldId id="13707" r:id="rId21"/>
    <p:sldId id="2147467980" r:id="rId22"/>
    <p:sldId id="2147467979" r:id="rId23"/>
    <p:sldId id="2076137425" r:id="rId24"/>
    <p:sldId id="2147467983" r:id="rId25"/>
    <p:sldId id="2147468001" r:id="rId26"/>
    <p:sldId id="2147467984" r:id="rId27"/>
    <p:sldId id="2147467997" r:id="rId28"/>
    <p:sldId id="2076137446" r:id="rId29"/>
    <p:sldId id="2076137437" r:id="rId30"/>
    <p:sldId id="2147467991" r:id="rId31"/>
  </p:sldIdLst>
  <p:sldSz cx="12434888" cy="6994525"/>
  <p:notesSz cx="6858000" cy="1381125"/>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ller Guidance" id="{70550C9A-67CA-41F1-A17B-3A34CF1CD023}">
          <p14:sldIdLst>
            <p14:sldId id="310"/>
          </p14:sldIdLst>
        </p14:section>
        <p14:section name="Intro" id="{C81AECCF-F938-4BFF-9CB2-5F6239523D3B}">
          <p14:sldIdLst>
            <p14:sldId id="2076137448"/>
            <p14:sldId id="2147467992"/>
            <p14:sldId id="2147468002"/>
            <p14:sldId id="2147468000"/>
          </p14:sldIdLst>
        </p14:section>
        <p14:section name="Best devices for learning anywhere" id="{F3DDBBBC-AA50-4365-B423-60FB7E57EE0A}">
          <p14:sldIdLst>
            <p14:sldId id="2147467956"/>
            <p14:sldId id="2147467971"/>
            <p14:sldId id="2147467986"/>
            <p14:sldId id="2147467998"/>
            <p14:sldId id="2147467990"/>
          </p14:sldIdLst>
        </p14:section>
        <p14:section name="Build teacher confidence" id="{C36E0804-A112-4E34-A605-B4B48EE5820F}">
          <p14:sldIdLst>
            <p14:sldId id="2147467957"/>
            <p14:sldId id="2147467996"/>
            <p14:sldId id="2147467975"/>
            <p14:sldId id="2147467974"/>
            <p14:sldId id="2147467978"/>
          </p14:sldIdLst>
        </p14:section>
        <p14:section name="Keep students safe and data secure" id="{2E7AEF59-EE75-4292-BACD-C0D2EDBB53F4}">
          <p14:sldIdLst>
            <p14:sldId id="2147467958"/>
            <p14:sldId id="13707"/>
            <p14:sldId id="2147467980"/>
            <p14:sldId id="2147467979"/>
          </p14:sldIdLst>
        </p14:section>
        <p14:section name="Closing" id="{CEEC3BC4-9455-4E9E-AD35-14FDB0DF4CFB}">
          <p14:sldIdLst>
            <p14:sldId id="2076137425"/>
            <p14:sldId id="2147467983"/>
            <p14:sldId id="2147468001"/>
            <p14:sldId id="2147467984"/>
            <p14:sldId id="2147467997"/>
            <p14:sldId id="2076137446"/>
            <p14:sldId id="2076137437"/>
          </p14:sldIdLst>
        </p14:section>
        <p14:section name="Appendix" id="{7AF96737-F82C-41F5-8222-C23763E1BB2E}">
          <p14:sldIdLst>
            <p14:sldId id="214746799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EC4DA09-A143-8FFA-254E-10C8880A7B10}" name="Saku Uchikawa" initials="SU" userId="Anonymous_Saku Uchikawa" providerId="None"/>
  <p188:author id="{D9A68716-21DE-0251-F45A-4C618AB98FD3}" name="Alex Ramos" initials="AR" userId="S-1-12-1-2830124830-1130322660-4198494116-3674780207" providerId="AD"/>
  <p188:author id="{3E9DF525-B478-8650-6D57-99FA02A563EC}" name="Kyle Dingman" initials="KD" userId="Kyle Dingman" providerId="None"/>
  <p188:author id="{F8565141-5010-B132-06A9-844EC264218D}" name="Joe Brazier" initials="JB" userId="S::jobrazie@microsoft.com::b05d1b43-21fd-44df-89af-e776e70b4864" providerId="AD"/>
  <p188:author id="{1181DF62-7C76-0FA2-7F78-BD3C341BA4A6}" name="David Alexander (AZURE)" initials="DA(" userId="S::davalex@microsoft.com::ed084fc1-4275-4e33-8c0f-ff13a8e9bd31" providerId="AD"/>
  <p188:author id="{B3D18764-E50E-DF36-9CE8-061B19BE6AF6}" name="Mary Feil-Jacobs" initials="MFJ" userId="Anonymous_Mary Feil-Jacobs" providerId="None"/>
  <p188:author id="{EDDD2071-5281-8AAE-5454-F6B0098C3CC8}" name="Nathan Quick" initials="NQ" userId="S::nathan.quick_thespurgroup.com#ext#@microsoft.onmicrosoft.com::b115c415-8cda-403c-a232-96ee587d4c3f" providerId="AD"/>
  <p188:author id="{F899A273-FE2E-E48B-7666-8A244BF7223B}" name="Dina OMara" initials="DO" userId="S::dinaom@microsoft.com::39401e8a-2d96-469d-a195-096831bf555f" providerId="AD"/>
  <p188:author id="{47766A88-78DA-8152-B497-618D0BDB954B}" name="Ben Johnson" initials="BJ" userId="Ben Johnson" providerId="None"/>
  <p188:author id="{046C8D8B-C2E9-07E3-6946-7AA660B5AB36}" name="Suzanne Kalberer" initials="SK" userId="S::suzannek@microsoft.com::e4a70784-a414-4c72-8dac-9ce14b41d584" providerId="AD"/>
  <p188:author id="{4B21C08F-3084-2D3C-AED2-2CB5E651DDE8}" name="Ellie Probus" initials="EP" userId="S-1-12-1-3600753382-1139348193-2700787845-1719814393" providerId="AD"/>
  <p188:author id="{AD6319EC-FA1F-70DA-358B-224D3E518593}" name="John Higuera (Simplicity Consulting Inc)" initials="JH(CI" userId="S-1-5-21-2127521184-1604012920-1887927527-11457299" providerId="AD"/>
  <p188:author id="{27EBD6F7-2A6C-CAC0-759C-334A3A66666F}" name="Joey Kern" initials="JK" userId="S-1-12-1-2438985002-1263161131-2736795552-151010761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Joey Kern" initials="JK" lastIdx="0" clrIdx="7">
    <p:extLst>
      <p:ext uri="{19B8F6BF-5375-455C-9EA6-DF929625EA0E}">
        <p15:presenceInfo xmlns:p15="http://schemas.microsoft.com/office/powerpoint/2012/main" userId="S-1-12-1-2438985002-1263161131-2736795552-1510107612" providerId="AD"/>
      </p:ext>
    </p:extLst>
  </p:cmAuthor>
  <p:cmAuthor id="1" name="Mary Feil-Jacobs" initials="MFJ" lastIdx="43" clrIdx="1"/>
  <p:cmAuthor id="8" name="Suzanne Kalberer" initials="SK" lastIdx="15" clrIdx="8">
    <p:extLst>
      <p:ext uri="{19B8F6BF-5375-455C-9EA6-DF929625EA0E}">
        <p15:presenceInfo xmlns:p15="http://schemas.microsoft.com/office/powerpoint/2012/main" userId="S::suzannek@microsoft.com::e4a70784-a414-4c72-8dac-9ce14b41d584" providerId="AD"/>
      </p:ext>
    </p:extLst>
  </p:cmAuthor>
  <p:cmAuthor id="2" name="John Higuera (Simplicity Consulting Inc)" initials="JH(CI" lastIdx="5" clrIdx="2">
    <p:extLst>
      <p:ext uri="{19B8F6BF-5375-455C-9EA6-DF929625EA0E}">
        <p15:presenceInfo xmlns:p15="http://schemas.microsoft.com/office/powerpoint/2012/main" userId="S-1-5-21-2127521184-1604012920-1887927527-11457299" providerId="AD"/>
      </p:ext>
    </p:extLst>
  </p:cmAuthor>
  <p:cmAuthor id="3" name="Ben Johnson" initials="BJ" lastIdx="55" clrIdx="3">
    <p:extLst>
      <p:ext uri="{19B8F6BF-5375-455C-9EA6-DF929625EA0E}">
        <p15:presenceInfo xmlns:p15="http://schemas.microsoft.com/office/powerpoint/2012/main" userId="Ben Johnson" providerId="None"/>
      </p:ext>
    </p:extLst>
  </p:cmAuthor>
  <p:cmAuthor id="4" name="Ellie Probus" initials="EP" lastIdx="4" clrIdx="4">
    <p:extLst>
      <p:ext uri="{19B8F6BF-5375-455C-9EA6-DF929625EA0E}">
        <p15:presenceInfo xmlns:p15="http://schemas.microsoft.com/office/powerpoint/2012/main" userId="S-1-12-1-3600753382-1139348193-2700787845-1719814393" providerId="AD"/>
      </p:ext>
    </p:extLst>
  </p:cmAuthor>
  <p:cmAuthor id="5" name="Kyle Dingman" initials="KD" lastIdx="1" clrIdx="5">
    <p:extLst>
      <p:ext uri="{19B8F6BF-5375-455C-9EA6-DF929625EA0E}">
        <p15:presenceInfo xmlns:p15="http://schemas.microsoft.com/office/powerpoint/2012/main" userId="Kyle Dingman" providerId="None"/>
      </p:ext>
    </p:extLst>
  </p:cmAuthor>
  <p:cmAuthor id="6" name="Alex Ramos" initials="AR" lastIdx="3" clrIdx="6">
    <p:extLst>
      <p:ext uri="{19B8F6BF-5375-455C-9EA6-DF929625EA0E}">
        <p15:presenceInfo xmlns:p15="http://schemas.microsoft.com/office/powerpoint/2012/main" userId="S-1-12-1-2830124830-1130322660-4198494116-36747802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003C6C"/>
    <a:srgbClr val="005AA1"/>
    <a:srgbClr val="3192DF"/>
    <a:srgbClr val="C97132"/>
    <a:srgbClr val="F2F2F2"/>
    <a:srgbClr val="505050"/>
    <a:srgbClr val="282828"/>
    <a:srgbClr val="5558AF"/>
    <a:srgbClr val="FFE0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7" d="100"/>
          <a:sy n="57" d="100"/>
        </p:scale>
        <p:origin x="940" y="32"/>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6/11/relationships/changesInfo" Target="changesInfos/changesInfo1.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heme" Target="theme/theme1.xml"/><Relationship Id="rId40"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hler, Timothy" userId="1f3c519e-5a32-4c0f-8d74-f6f1ec603dfb" providerId="ADAL" clId="{EC1FA148-7250-4D12-ADEF-14F4AC0DAC50}"/>
    <pc:docChg chg="undo custSel modSld sldOrd">
      <pc:chgData name="Mohler, Timothy" userId="1f3c519e-5a32-4c0f-8d74-f6f1ec603dfb" providerId="ADAL" clId="{EC1FA148-7250-4D12-ADEF-14F4AC0DAC50}" dt="2021-10-09T00:13:16.208" v="3"/>
      <pc:docMkLst>
        <pc:docMk/>
      </pc:docMkLst>
      <pc:sldChg chg="addSp delSp mod">
        <pc:chgData name="Mohler, Timothy" userId="1f3c519e-5a32-4c0f-8d74-f6f1ec603dfb" providerId="ADAL" clId="{EC1FA148-7250-4D12-ADEF-14F4AC0DAC50}" dt="2021-10-08T23:28:31.511" v="1" actId="21"/>
        <pc:sldMkLst>
          <pc:docMk/>
          <pc:sldMk cId="3153274205" sldId="2147468000"/>
        </pc:sldMkLst>
        <pc:spChg chg="add del">
          <ac:chgData name="Mohler, Timothy" userId="1f3c519e-5a32-4c0f-8d74-f6f1ec603dfb" providerId="ADAL" clId="{EC1FA148-7250-4D12-ADEF-14F4AC0DAC50}" dt="2021-10-08T23:28:31.511" v="1" actId="21"/>
          <ac:spMkLst>
            <pc:docMk/>
            <pc:sldMk cId="3153274205" sldId="2147468000"/>
            <ac:spMk id="32" creationId="{CC0C07B2-0658-439D-8E19-D47EC6046B74}"/>
          </ac:spMkLst>
        </pc:spChg>
        <pc:spChg chg="add del">
          <ac:chgData name="Mohler, Timothy" userId="1f3c519e-5a32-4c0f-8d74-f6f1ec603dfb" providerId="ADAL" clId="{EC1FA148-7250-4D12-ADEF-14F4AC0DAC50}" dt="2021-10-08T23:28:31.511" v="1" actId="21"/>
          <ac:spMkLst>
            <pc:docMk/>
            <pc:sldMk cId="3153274205" sldId="2147468000"/>
            <ac:spMk id="48" creationId="{31EDF028-1C62-4EE5-9F7E-149A568EF264}"/>
          </ac:spMkLst>
        </pc:spChg>
        <pc:grpChg chg="add del">
          <ac:chgData name="Mohler, Timothy" userId="1f3c519e-5a32-4c0f-8d74-f6f1ec603dfb" providerId="ADAL" clId="{EC1FA148-7250-4D12-ADEF-14F4AC0DAC50}" dt="2021-10-08T23:28:31.511" v="1" actId="21"/>
          <ac:grpSpMkLst>
            <pc:docMk/>
            <pc:sldMk cId="3153274205" sldId="2147468000"/>
            <ac:grpSpMk id="90" creationId="{2237408B-00FD-42D5-BFC6-076FFEA681CB}"/>
          </ac:grpSpMkLst>
        </pc:grpChg>
      </pc:sldChg>
      <pc:sldChg chg="ord">
        <pc:chgData name="Mohler, Timothy" userId="1f3c519e-5a32-4c0f-8d74-f6f1ec603dfb" providerId="ADAL" clId="{EC1FA148-7250-4D12-ADEF-14F4AC0DAC50}" dt="2021-10-09T00:13:16.208" v="3"/>
        <pc:sldMkLst>
          <pc:docMk/>
          <pc:sldMk cId="1310389850" sldId="2147468002"/>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1804"/>
          </a:xfrm>
          <a:prstGeom prst="rect">
            <a:avLst/>
          </a:prstGeom>
        </p:spPr>
        <p:txBody>
          <a:bodyPr vert="horz" lIns="91440" tIns="45720" rIns="91440" bIns="45720" rtlCol="0"/>
          <a:lstStyle>
            <a:lvl1pPr algn="l">
              <a:defRPr sz="1200"/>
            </a:lvl1pPr>
          </a:lstStyle>
          <a:p>
            <a:r>
              <a:rPr lang="en-US">
                <a:latin typeface="Segoe UI" pitchFamily="34" charset="0"/>
              </a:rPr>
              <a:t>Server and Cloud 2013 Template</a:t>
            </a:r>
          </a:p>
        </p:txBody>
      </p:sp>
      <p:sp>
        <p:nvSpPr>
          <p:cNvPr id="7" name="Date Placeholder 6"/>
          <p:cNvSpPr>
            <a:spLocks noGrp="1"/>
          </p:cNvSpPr>
          <p:nvPr>
            <p:ph type="dt" sz="quarter" idx="1"/>
          </p:nvPr>
        </p:nvSpPr>
        <p:spPr>
          <a:xfrm>
            <a:off x="3970938" y="0"/>
            <a:ext cx="3037840" cy="461804"/>
          </a:xfrm>
          <a:prstGeom prst="rect">
            <a:avLst/>
          </a:prstGeom>
        </p:spPr>
        <p:txBody>
          <a:bodyPr vert="horz" lIns="91440" tIns="45720" rIns="91440" bIns="45720" rtlCol="0"/>
          <a:lstStyle>
            <a:lvl1pPr algn="r">
              <a:defRPr sz="1200"/>
            </a:lvl1pPr>
          </a:lstStyle>
          <a:p>
            <a:fld id="{3B4C8995-C56F-4E06-B5D3-97F4AA3325FA}" type="datetime8">
              <a:rPr lang="en-US" smtClean="0">
                <a:latin typeface="Segoe UI" pitchFamily="34" charset="0"/>
              </a:rPr>
              <a:t>10/8/2021 4:28 PM</a:t>
            </a:fld>
            <a:endParaRPr lang="en-US">
              <a:latin typeface="Segoe UI" pitchFamily="34" charset="0"/>
            </a:endParaRPr>
          </a:p>
        </p:txBody>
      </p:sp>
      <p:sp>
        <p:nvSpPr>
          <p:cNvPr id="8" name="Footer Placeholder 7"/>
          <p:cNvSpPr>
            <a:spLocks noGrp="1"/>
          </p:cNvSpPr>
          <p:nvPr>
            <p:ph type="ftr" sz="quarter" idx="2"/>
          </p:nvPr>
        </p:nvSpPr>
        <p:spPr>
          <a:xfrm>
            <a:off x="0" y="8772668"/>
            <a:ext cx="5923788" cy="335782"/>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912104" y="8772669"/>
            <a:ext cx="1096674" cy="461804"/>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1804"/>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425450" y="692150"/>
            <a:ext cx="6159500" cy="3463925"/>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774272"/>
            <a:ext cx="6052312" cy="359549"/>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970938" y="0"/>
            <a:ext cx="3037840" cy="461804"/>
          </a:xfrm>
          <a:prstGeom prst="rect">
            <a:avLst/>
          </a:prstGeom>
        </p:spPr>
        <p:txBody>
          <a:bodyPr vert="horz" lIns="91440" tIns="45720" rIns="91440" bIns="45720" rtlCol="0"/>
          <a:lstStyle>
            <a:lvl1pPr algn="r">
              <a:defRPr sz="1200">
                <a:latin typeface="Segoe UI" pitchFamily="34" charset="0"/>
              </a:defRPr>
            </a:lvl1pPr>
          </a:lstStyle>
          <a:p>
            <a:fld id="{97B1974D-3158-4F5C-AE63-8878FBF4D3B5}" type="datetime8">
              <a:rPr lang="en-US" smtClean="0"/>
              <a:t>10/8/2021 3:31 PM</a:t>
            </a:fld>
            <a:endParaRPr lang="en-US"/>
          </a:p>
        </p:txBody>
      </p:sp>
      <p:sp>
        <p:nvSpPr>
          <p:cNvPr id="12" name="Notes Placeholder 11"/>
          <p:cNvSpPr>
            <a:spLocks noGrp="1"/>
          </p:cNvSpPr>
          <p:nvPr>
            <p:ph type="body" sz="quarter" idx="3"/>
          </p:nvPr>
        </p:nvSpPr>
        <p:spPr>
          <a:xfrm>
            <a:off x="701040" y="4387136"/>
            <a:ext cx="5608320" cy="415623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40628" y="8772669"/>
            <a:ext cx="968150" cy="461804"/>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forbes.com/sites/dereknewton/2020/03/26/most-teachers-say-they-are-not-prepared-to-teach-online/#3bb086b27f2c"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education.microsoft.com/en-us/"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linkedin.com/pulse/lets-talk-digital-health-safety-return-school-mark/?published=t"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static1.squarespace.com/static/5716af60356fb068327b23af/t/5f1765c386d7e37c7f58d891/1595368908363/BrightBytes+2020+Remote+Learning+Survey+Results.pdf"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EE93083-4ECB-451E-9024-0762F17CC706}" type="datetime8">
              <a:rPr kumimoji="0" lang="en-US" sz="1800" b="0" i="0" u="none" strike="noStrike" kern="0" cap="none" spc="0" normalizeH="0" baseline="0" noProof="0" smtClean="0">
                <a:ln>
                  <a:noFill/>
                </a:ln>
                <a:solidFill>
                  <a:sysClr val="windowText" lastClr="000000"/>
                </a:solidFill>
                <a:effectLst/>
                <a:uLnTx/>
                <a:uFillTx/>
              </a:rPr>
              <a:t>10/8/2021 3:31 PM</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4077014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a:cs typeface="Segoe UI"/>
              </a:rPr>
              <a:t>When schools shifted to remote learning in March 2020, more than half of K-12 teachers said they were not prepared to facilitate remote learning.</a:t>
            </a:r>
            <a:r>
              <a:rPr lang="en-US" sz="900" baseline="30000">
                <a:cs typeface="Segoe UI"/>
              </a:rPr>
              <a:t>1 </a:t>
            </a:r>
            <a:r>
              <a:rPr lang="en-US" sz="900">
                <a:solidFill>
                  <a:srgbClr val="000000"/>
                </a:solidFill>
                <a:cs typeface="Times New Roman"/>
              </a:rPr>
              <a:t>A critical need for school leaders, and the one most closely tied to better learning outcomes, is providing teachers with the training and best practices they need to build confidence and skills in remote and hybrid teaching</a:t>
            </a:r>
            <a:r>
              <a:rPr lang="en-US" sz="900">
                <a:cs typeface="Segoe UI"/>
              </a:rPr>
              <a:t>. </a:t>
            </a:r>
            <a:r>
              <a:rPr lang="en-US" sz="900">
                <a:solidFill>
                  <a:schemeClr val="tx2"/>
                </a:solidFill>
                <a:cs typeface="Segoe UI Semilight"/>
              </a:rPr>
              <a:t>Microsoft Education provides teachers with free training, professional development, and tools they need to transform their classrooms. </a:t>
            </a:r>
            <a:r>
              <a:rPr lang="en-US" sz="900" b="1">
                <a:solidFill>
                  <a:schemeClr val="tx2"/>
                </a:solidFill>
                <a:cs typeface="Segoe UI Semilight"/>
              </a:rPr>
              <a:t>&lt;click&gt; </a:t>
            </a:r>
          </a:p>
          <a:p>
            <a:pPr>
              <a:spcAft>
                <a:spcPts val="600"/>
              </a:spcAft>
              <a:defRPr/>
            </a:pPr>
            <a:endParaRPr lang="en-US" sz="900">
              <a:cs typeface="Segoe UI"/>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a:cs typeface="Segoe UI"/>
              </a:rPr>
              <a:t>Reference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800" b="0" i="0">
                <a:solidFill>
                  <a:srgbClr val="333333"/>
                </a:solidFill>
                <a:effectLst/>
                <a:latin typeface="Merriweather"/>
              </a:rPr>
              <a:t>“Most Teachers Say They Are ‘Not Prepared’ To Teach Online” (Forbes)</a:t>
            </a:r>
            <a:r>
              <a:rPr lang="en-US" sz="800" b="1" i="0">
                <a:solidFill>
                  <a:srgbClr val="333333"/>
                </a:solidFill>
                <a:effectLst/>
                <a:latin typeface="Merriweather"/>
              </a:rPr>
              <a:t> </a:t>
            </a:r>
            <a:r>
              <a:rPr lang="en-US" sz="900">
                <a:hlinkClick r:id="rId3"/>
              </a:rPr>
              <a:t>https://www.forbes.com/sites/dereknewton/2020/03/26/most-teachers-say-they-are-not-prepared-to-teach-online/#3bb086b27f2c</a:t>
            </a:r>
            <a:endParaRPr lang="en-US" sz="90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aseline="30000">
              <a:solidFill>
                <a:srgbClr val="000000"/>
              </a:solidFill>
              <a:cs typeface="Segoe UI"/>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7B1974D-3158-4F5C-AE63-8878FBF4D3B5}" type="datetime8">
              <a:rPr lang="en-US" smtClean="0"/>
              <a:t>10/8/2021 3:5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14017060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spcBef>
                <a:spcPts val="600"/>
              </a:spcBef>
              <a:spcAft>
                <a:spcPts val="600"/>
              </a:spcAft>
              <a:buFont typeface="+mj-lt"/>
              <a:buNone/>
              <a:tabLst>
                <a:tab pos="228600" algn="l"/>
              </a:tabLst>
            </a:pPr>
            <a:r>
              <a:rPr lang="en-US" sz="1800" b="0">
                <a:solidFill>
                  <a:srgbClr val="505050"/>
                </a:solidFill>
                <a:effectLst/>
                <a:latin typeface="Segoe UI" panose="020B0502040204020203" pitchFamily="34" charset="0"/>
                <a:ea typeface="Times New Roman" panose="02020603050405020304" pitchFamily="18" charset="0"/>
              </a:rPr>
              <a:t>Schools leaders can build educator confidence and capacity for remote and hybrid learning with free training and resources. </a:t>
            </a:r>
            <a:r>
              <a:rPr lang="en-US" sz="1800">
                <a:cs typeface="Segoe UI"/>
              </a:rPr>
              <a:t>Educators can access the </a:t>
            </a:r>
            <a:r>
              <a:rPr lang="en-US" sz="1800">
                <a:cs typeface="Segoe UI"/>
                <a:hlinkClick r:id="rId3">
                  <a:extLst>
                    <a:ext uri="{A12FA001-AC4F-418D-AE19-62706E023703}">
                      <ahyp:hlinkClr xmlns:ahyp="http://schemas.microsoft.com/office/drawing/2018/hyperlinkcolor" val="tx"/>
                    </a:ext>
                  </a:extLst>
                </a:hlinkClick>
              </a:rPr>
              <a:t>Microsoft Education Center</a:t>
            </a:r>
            <a:r>
              <a:rPr lang="en-US" sz="1800">
                <a:cs typeface="Segoe UI"/>
              </a:rPr>
              <a:t> for a wide variety of free courses and learning paths to help master classroom technology and create an inclusive hybrid learning environment. Teachers can track professional skills development and get awarded badges, certificates and transcripts. Microsoft Store associates are also available for live virtual workshops and training sessions, providing schools and teachers with a customizable and interactive learning experience. </a:t>
            </a:r>
            <a:r>
              <a:rPr lang="en-US" sz="1800" b="1">
                <a:cs typeface="Segoe UI"/>
              </a:rPr>
              <a:t>&lt;click&gt;</a:t>
            </a:r>
            <a:endParaRPr lang="en-US" sz="1800" b="1">
              <a:solidFill>
                <a:srgbClr val="505050"/>
              </a:solidFill>
              <a:effectLst/>
              <a:latin typeface="Segoe UI" panose="020B0502040204020203" pitchFamily="34" charset="0"/>
              <a:ea typeface="Times New Roman" panose="02020603050405020304" pitchFamily="18"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7B1974D-3158-4F5C-AE63-8878FBF4D3B5}" type="datetime8">
              <a:rPr lang="en-US" smtClean="0"/>
              <a:t>10/8/2021 3:5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28744000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900"/>
              <a:t>In any classroom, it’s important that teaching and learning come first. </a:t>
            </a:r>
            <a:r>
              <a:rPr lang="en-US" sz="1800" b="0" i="0" u="none" strike="noStrike">
                <a:solidFill>
                  <a:srgbClr val="525ABF"/>
                </a:solidFill>
                <a:effectLst/>
                <a:latin typeface="Segoe UI" panose="020B0502040204020203" pitchFamily="34" charset="0"/>
              </a:rPr>
              <a:t>Microsoft Teams is the new place that brings conversations, content, assignments, and apps together in one place</a:t>
            </a:r>
            <a:r>
              <a:rPr lang="en-US" sz="1800" b="0" i="0" u="none" strike="noStrike">
                <a:solidFill>
                  <a:srgbClr val="282828"/>
                </a:solidFill>
                <a:effectLst/>
                <a:latin typeface="Segoe UI Semibold" panose="020B0702040204020203" pitchFamily="34" charset="0"/>
              </a:rPr>
              <a:t>. It is purpose-built for Education and customized for the way schools collaborate. In Teams, you can:</a:t>
            </a:r>
            <a:r>
              <a:rPr lang="en-US" sz="1800" b="0" i="0">
                <a:effectLst/>
                <a:latin typeface="Segoe UI Semibold" panose="020B0702040204020203" pitchFamily="34" charset="0"/>
              </a:rPr>
              <a:t>​</a:t>
            </a:r>
            <a:endParaRPr lang="en-US" b="0" i="0">
              <a:effectLst/>
            </a:endParaRPr>
          </a:p>
          <a:p>
            <a:pPr algn="l" rtl="0" fontAlgn="base"/>
            <a:r>
              <a:rPr lang="en-US" sz="1800" b="0" i="0">
                <a:effectLst/>
                <a:latin typeface="Segoe UI Semibold" panose="020B0702040204020203" pitchFamily="34" charset="0"/>
              </a:rPr>
              <a:t>​</a:t>
            </a:r>
            <a:endParaRPr lang="en-US" b="0" i="0">
              <a:effectLst/>
            </a:endParaRPr>
          </a:p>
          <a:p>
            <a:pPr algn="l" rtl="0" fontAlgn="base">
              <a:buFont typeface="Arial" panose="020B0604020202020204" pitchFamily="34" charset="0"/>
              <a:buNone/>
            </a:pPr>
            <a:r>
              <a:rPr lang="en-US" sz="1800" b="0" i="0" u="none" strike="noStrike">
                <a:solidFill>
                  <a:srgbClr val="282828"/>
                </a:solidFill>
                <a:effectLst/>
                <a:latin typeface="Segoe UI Semibold" panose="020B0702040204020203" pitchFamily="34" charset="0"/>
              </a:rPr>
              <a:t>Create collaborative classrooms that engage students in multi-modal, inclusive, and safe spaces. It’s easy to personalize learning </a:t>
            </a:r>
            <a:r>
              <a:rPr lang="en-US" sz="1800" b="0" i="0" u="none" strike="noStrike">
                <a:solidFill>
                  <a:srgbClr val="000000"/>
                </a:solidFill>
                <a:effectLst/>
                <a:latin typeface="Segoe UI" panose="020B0502040204020203" pitchFamily="34" charset="0"/>
              </a:rPr>
              <a:t>by assigning tailored lessons and providing transparent feedback with tools integrated with your learning management system (LMS). </a:t>
            </a:r>
            <a:r>
              <a:rPr lang="en-US" sz="1800" b="0" i="0" u="none" strike="noStrike">
                <a:solidFill>
                  <a:srgbClr val="282828"/>
                </a:solidFill>
                <a:effectLst/>
                <a:latin typeface="Segoe UI Semibold" panose="020B0702040204020203" pitchFamily="34" charset="0"/>
              </a:rPr>
              <a:t>And most importantly, you can engage everyone in learning with built-in accessibility tools like live caption translation and immersive reader. </a:t>
            </a:r>
            <a:r>
              <a:rPr lang="en-US" sz="1800" b="1" i="0" u="none" strike="noStrike">
                <a:solidFill>
                  <a:srgbClr val="282828"/>
                </a:solidFill>
                <a:effectLst/>
                <a:latin typeface="Segoe UI Semibold" panose="020B0702040204020203" pitchFamily="34" charset="0"/>
              </a:rPr>
              <a:t>&lt;click&g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7B1974D-3158-4F5C-AE63-8878FBF4D3B5}" type="datetime8">
              <a:rPr lang="en-US" smtClean="0"/>
              <a:t>10/8/2021 3:5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7016764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1800">
                <a:cs typeface="Segoe UI"/>
              </a:rPr>
              <a:t>A key lesson learned last spring was that developing a community of support between fellow teachers was critical to developing best practices, solving problems, and providing the confidence needed to venture into the new world of remote learning. Whether remote learning is a mandate of the short term or a part of the educational experience of the future, the lesson here is important: helping teachers support teachers pays massive dividends for everyone</a:t>
            </a:r>
            <a:r>
              <a:rPr lang="en-US" sz="1800" baseline="30000">
                <a:cs typeface="Segoe UI"/>
              </a:rPr>
              <a:t>4</a:t>
            </a:r>
            <a:r>
              <a:rPr lang="en-US" sz="1800">
                <a:cs typeface="Segoe UI"/>
              </a:rPr>
              <a:t>.</a:t>
            </a:r>
            <a:endParaRPr lang="en-US" sz="1800">
              <a:solidFill>
                <a:srgbClr val="505050"/>
              </a:solidFill>
              <a:effectLst/>
              <a:latin typeface="Segoe UI" panose="020B0502040204020203" pitchFamily="34" charset="0"/>
              <a:ea typeface="Times New Roman" panose="02020603050405020304" pitchFamily="18"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800">
              <a:solidFill>
                <a:srgbClr val="505050"/>
              </a:solidFill>
              <a:effectLst/>
              <a:latin typeface="Segoe UI" panose="020B0502040204020203" pitchFamily="34" charset="0"/>
              <a:ea typeface="Times New Roman" panose="02020603050405020304" pitchFamily="18"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a:solidFill>
                  <a:srgbClr val="505050"/>
                </a:solidFill>
                <a:effectLst/>
                <a:latin typeface="Segoe UI" panose="020B0502040204020203" pitchFamily="34" charset="0"/>
                <a:ea typeface="Times New Roman" panose="02020603050405020304" pitchFamily="18" charset="0"/>
              </a:rPr>
              <a:t>In addition to helping students, Microsoft Office 365 Education with Microsoft Teams offers powerful collaboration, communication, and project-based learning tools that help teachers stay connected both with students and with their peers. Teachers can easily work together on shared documents like Word, PowerPoint, and Excel, all within Team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800">
              <a:solidFill>
                <a:srgbClr val="505050"/>
              </a:solidFill>
              <a:effectLst/>
              <a:latin typeface="Segoe UI" panose="020B0502040204020203" pitchFamily="34" charset="0"/>
              <a:ea typeface="Times New Roman" panose="02020603050405020304" pitchFamily="18"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a:solidFill>
                  <a:srgbClr val="505050"/>
                </a:solidFill>
                <a:effectLst/>
                <a:latin typeface="Segoe UI" panose="020B0502040204020203" pitchFamily="34" charset="0"/>
                <a:ea typeface="Times New Roman" panose="02020603050405020304" pitchFamily="18" charset="0"/>
              </a:rPr>
              <a:t>With templates for professional learning communities in Microsoft Team, you can connect educators to improve teaching skills and support student outcomes. Keeping information flowing staff is critical during times of change, and Teams helps to streamline </a:t>
            </a:r>
            <a:r>
              <a:rPr lang="en-US" sz="1800">
                <a:solidFill>
                  <a:srgbClr val="282828"/>
                </a:solidFill>
                <a:latin typeface="Segoe UI Semibold" panose="020B0702040204020203" pitchFamily="34" charset="0"/>
                <a:cs typeface="Segoe UI Semibold" panose="020B0702040204020203" pitchFamily="34" charset="0"/>
              </a:rPr>
              <a:t>staff communication </a:t>
            </a:r>
            <a:r>
              <a:rPr lang="en-US" sz="1800">
                <a:solidFill>
                  <a:srgbClr val="333333"/>
                </a:solidFill>
                <a:latin typeface="Segoe UI"/>
              </a:rPr>
              <a:t>on school-wide initiatives within a single tool, whether it’s running a staff meeting or sharing an update across a school or a district.</a:t>
            </a:r>
            <a:r>
              <a:rPr lang="en-US" sz="900" b="0">
                <a:solidFill>
                  <a:schemeClr val="accent1"/>
                </a:solidFill>
                <a:latin typeface="+mj-lt"/>
                <a:cs typeface="+mn-cs"/>
              </a:rPr>
              <a:t> </a:t>
            </a:r>
            <a:r>
              <a:rPr lang="en-US" sz="900" b="1">
                <a:solidFill>
                  <a:schemeClr val="accent1"/>
                </a:solidFill>
                <a:latin typeface="+mj-lt"/>
                <a:cs typeface="Segoe UI Semibold" panose="020B0702040204020203" pitchFamily="34" charset="0"/>
              </a:rPr>
              <a:t>&lt;click&gt;</a:t>
            </a:r>
            <a:endParaRPr lang="en-US" sz="1600" b="1">
              <a:solidFill>
                <a:srgbClr val="282828"/>
              </a:solidFill>
              <a:latin typeface="Segoe UI Semibold" panose="020B0702040204020203" pitchFamily="34" charset="0"/>
              <a:cs typeface="Segoe UI Semibold" panose="020B0702040204020203"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7B1974D-3158-4F5C-AE63-8878FBF4D3B5}" type="datetime8">
              <a:rPr lang="en-US" smtClean="0"/>
              <a:t>10/8/2021 3:5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812257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7B1974D-3158-4F5C-AE63-8878FBF4D3B5}" type="datetime8">
              <a:rPr lang="en-US" smtClean="0"/>
              <a:t>10/8/2021 3:5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7925303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7000"/>
              </a:lnSpc>
              <a:spcBef>
                <a:spcPts val="0"/>
              </a:spcBef>
              <a:spcAft>
                <a:spcPts val="300"/>
              </a:spcAft>
              <a:buNone/>
              <a:tabLst>
                <a:tab pos="457200" algn="l"/>
              </a:tabLst>
            </a:pPr>
            <a:r>
              <a:rPr lang="en-US" sz="900">
                <a:solidFill>
                  <a:srgbClr val="000000"/>
                </a:solidFill>
                <a:cs typeface="Times New Roman"/>
              </a:rPr>
              <a:t>The increase in both the number of devices and the amount of time those devices are online has made schools more susceptible to attacks and disruptions within the remote learning environment. Such attacks have consequences to both student learning and their social and emotional well-being. Recent research shows that only 49% of teachers feel their students are safe in a remote learning environment. </a:t>
            </a:r>
          </a:p>
          <a:p>
            <a:pPr marL="0" indent="0">
              <a:lnSpc>
                <a:spcPct val="107000"/>
              </a:lnSpc>
              <a:spcBef>
                <a:spcPts val="0"/>
              </a:spcBef>
              <a:spcAft>
                <a:spcPts val="300"/>
              </a:spcAft>
              <a:buNone/>
              <a:tabLst>
                <a:tab pos="457200" algn="l"/>
              </a:tabLst>
            </a:pPr>
            <a:endParaRPr lang="en-US" sz="900">
              <a:solidFill>
                <a:srgbClr val="000000"/>
              </a:solidFill>
              <a:cs typeface="Times New Roman"/>
            </a:endParaRPr>
          </a:p>
          <a:p>
            <a:pPr marL="0" indent="0">
              <a:lnSpc>
                <a:spcPct val="107000"/>
              </a:lnSpc>
              <a:spcBef>
                <a:spcPts val="0"/>
              </a:spcBef>
              <a:spcAft>
                <a:spcPts val="300"/>
              </a:spcAft>
              <a:buNone/>
              <a:tabLst>
                <a:tab pos="457200" algn="l"/>
              </a:tabLst>
            </a:pPr>
            <a:r>
              <a:rPr lang="en-US" sz="900">
                <a:solidFill>
                  <a:srgbClr val="000000"/>
                </a:solidFill>
                <a:cs typeface="Times New Roman"/>
              </a:rPr>
              <a:t>Keep students safe and data secure with classroom controls for teachers and administrators for remote meetings, backed by industry-leading security to guard your data and privacy online. </a:t>
            </a:r>
            <a:r>
              <a:rPr lang="en-US" sz="900" b="1">
                <a:solidFill>
                  <a:srgbClr val="000000"/>
                </a:solidFill>
                <a:cs typeface="Times New Roman"/>
              </a:rPr>
              <a:t>&lt;click&gt;</a:t>
            </a:r>
          </a:p>
          <a:p>
            <a:pPr marL="0" indent="0">
              <a:lnSpc>
                <a:spcPct val="107000"/>
              </a:lnSpc>
              <a:spcBef>
                <a:spcPts val="0"/>
              </a:spcBef>
              <a:spcAft>
                <a:spcPts val="300"/>
              </a:spcAft>
              <a:buNone/>
              <a:tabLst>
                <a:tab pos="457200" algn="l"/>
              </a:tabLst>
            </a:pPr>
            <a:endParaRPr lang="en-US" sz="900" b="0">
              <a:solidFill>
                <a:srgbClr val="000000"/>
              </a:solidFill>
              <a:cs typeface="Times New Roman"/>
            </a:endParaRPr>
          </a:p>
          <a:p>
            <a:pPr marL="0" indent="0">
              <a:lnSpc>
                <a:spcPct val="107000"/>
              </a:lnSpc>
              <a:spcBef>
                <a:spcPts val="0"/>
              </a:spcBef>
              <a:spcAft>
                <a:spcPts val="300"/>
              </a:spcAft>
              <a:buNone/>
              <a:tabLst>
                <a:tab pos="457200" algn="l"/>
              </a:tabLst>
            </a:pPr>
            <a:r>
              <a:rPr lang="en-US" sz="900" b="0">
                <a:solidFill>
                  <a:srgbClr val="000000"/>
                </a:solidFill>
                <a:cs typeface="Times New Roman"/>
              </a:rPr>
              <a:t>Reference:</a:t>
            </a:r>
          </a:p>
          <a:p>
            <a:pPr marL="0" marR="0" lvl="0" indent="0" algn="l" defTabSz="932742" rtl="0" eaLnBrk="1" fontAlgn="auto" latinLnBrk="0" hangingPunct="1">
              <a:lnSpc>
                <a:spcPct val="107000"/>
              </a:lnSpc>
              <a:spcBef>
                <a:spcPts val="0"/>
              </a:spcBef>
              <a:spcAft>
                <a:spcPts val="300"/>
              </a:spcAft>
              <a:buClrTx/>
              <a:buSzTx/>
              <a:buFontTx/>
              <a:buNone/>
              <a:tabLst>
                <a:tab pos="457200" algn="l"/>
              </a:tabLst>
              <a:defRPr/>
            </a:pPr>
            <a:r>
              <a:rPr lang="en-US"/>
              <a:t>“Let’s talk digital health &amp; safety and return to school” </a:t>
            </a:r>
            <a:r>
              <a:rPr lang="en-US">
                <a:hlinkClick r:id="rId3"/>
              </a:rPr>
              <a:t>https://www.linkedin.com/pulse/lets-talk-digital-health-safety-return-school-mark/?published=t</a:t>
            </a:r>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B1974D-3158-4F5C-AE63-8878FBF4D3B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8/2021 3: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01538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3000"/>
              </a:spcAft>
            </a:pPr>
            <a:r>
              <a:rPr lang="en-US"/>
              <a:t>Online learning can present unique student safety challenges, from classroom disruptions to data breaches. </a:t>
            </a:r>
            <a:r>
              <a:rPr lang="en-US" sz="900">
                <a:cs typeface="Segoe UI"/>
              </a:rPr>
              <a:t>Teams offers controls for teachers and administrators to protect students. Teachers can manage their classrooms with features like hard audio mute, which silences everyone until they request to speak. They can also control when students enter and leave a class with the student lobby and set who can present during class.</a:t>
            </a:r>
            <a:endParaRPr lang="en-US" sz="900" spc="0">
              <a:solidFill>
                <a:srgbClr val="0078D7"/>
              </a:solidFill>
              <a:latin typeface="Segoe UI Semibold" panose="020B0702040204020203" pitchFamily="34" charset="0"/>
              <a:cs typeface="Segoe UI Semibold" panose="020B0702040204020203" pitchFamily="34" charset="0"/>
            </a:endParaRPr>
          </a:p>
          <a:p>
            <a:pPr>
              <a:spcAft>
                <a:spcPts val="3000"/>
              </a:spcAft>
            </a:pPr>
            <a:endParaRPr lang="en-US" sz="900" spc="0">
              <a:solidFill>
                <a:srgbClr val="0078D7"/>
              </a:solidFill>
              <a:latin typeface="Segoe UI Semibold" panose="020B0702040204020203" pitchFamily="34" charset="0"/>
              <a:cs typeface="Segoe UI Semibold" panose="020B0702040204020203" pitchFamily="34" charset="0"/>
            </a:endParaRPr>
          </a:p>
          <a:p>
            <a:pPr>
              <a:spcAft>
                <a:spcPts val="3000"/>
              </a:spcAft>
            </a:pPr>
            <a:r>
              <a:rPr lang="en-US" sz="900" spc="0">
                <a:solidFill>
                  <a:srgbClr val="0078D7"/>
                </a:solidFill>
                <a:latin typeface="Segoe UI Semibold" panose="020B0702040204020203" pitchFamily="34" charset="0"/>
                <a:cs typeface="Segoe UI Semibold" panose="020B0702040204020203" pitchFamily="34" charset="0"/>
              </a:rPr>
              <a:t>Teams offers robust policy and security settings that administrators can apply globally with pre-configured options that are easy to mange. Administrators can set global options for custom background, defaults for presenting, and more. </a:t>
            </a:r>
            <a:r>
              <a:rPr lang="en-US" sz="900" b="0"/>
              <a:t>In addition, Teams is Tier-D compliant, and it’s built on Azure, which has over 90 compliance certifications. You retain precise control over team naming, expiration, and permissions. </a:t>
            </a:r>
            <a:r>
              <a:rPr lang="en-US" sz="900" b="1"/>
              <a:t>&lt;click&gt;</a:t>
            </a:r>
          </a:p>
          <a:p>
            <a:pPr marL="0" indent="0" defTabSz="932472" fontAlgn="base">
              <a:spcBef>
                <a:spcPct val="0"/>
              </a:spcBef>
              <a:spcAft>
                <a:spcPct val="0"/>
              </a:spcAft>
              <a:buFont typeface="Wingdings" panose="05000000000000000000" pitchFamily="2" charset="2"/>
              <a:buNone/>
            </a:pPr>
            <a:endParaRPr lang="en-US" sz="900" b="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7B1974D-3158-4F5C-AE63-8878FBF4D3B5}" type="datetime8">
              <a:rPr lang="en-US" smtClean="0"/>
              <a:t>10/8/2021 3:5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14362052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a:t>Finally, Office 365 includes comprehensive security features, from advanced threat protection to identity management. Microsoft Office 365 includes tools for managing multi-factor authentication, backed by Azure, and cloud-based services to detect threats in emails, links, and collaboration tools like Microsoft Teams. Tools like Microsoft </a:t>
            </a:r>
            <a:r>
              <a:rPr lang="en-US" sz="900" b="0" err="1"/>
              <a:t>InTune</a:t>
            </a:r>
            <a:r>
              <a:rPr lang="en-US" sz="900" b="0"/>
              <a:t> streamline the process of managing users, data, and devices with modern remote deployment solutions. And you can always rely on Microsoft’s protection across the Windows app store and regular updates. </a:t>
            </a:r>
            <a:r>
              <a:rPr lang="en-US" sz="900" b="1"/>
              <a:t>&lt;click&gt;</a:t>
            </a:r>
            <a:endParaRPr lang="en-US" b="1"/>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7B1974D-3158-4F5C-AE63-8878FBF4D3B5}" type="datetime8">
              <a:rPr lang="en-US" smtClean="0"/>
              <a:t>10/8/2021 3:5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4812762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a:effectLst/>
                <a:latin typeface="+mn-lt"/>
                <a:ea typeface="Calibri" panose="020F0502020204030204" pitchFamily="34" charset="0"/>
              </a:rPr>
              <a:t>As we all navigate what comes next in 2021 and beyond, </a:t>
            </a:r>
            <a:r>
              <a:rPr lang="en-US" sz="900">
                <a:latin typeface="+mn-lt"/>
              </a:rPr>
              <a:t>Microsoft is here to support your efforts throughout the journey. </a:t>
            </a:r>
            <a:r>
              <a:rPr lang="en-US" sz="900" kern="1200">
                <a:solidFill>
                  <a:schemeClr val="tx1"/>
                </a:solidFill>
                <a:effectLst/>
                <a:latin typeface="Segoe UI Light" pitchFamily="34" charset="0"/>
                <a:ea typeface="+mn-ea"/>
                <a:cs typeface="+mn-cs"/>
              </a:rPr>
              <a:t>Microsoft has been a philanthropic and strategic partner to schools and universities for decades. Between diverse offerings for learning and skills development, millions of dollars donated toward education-focused nonprofits, and proven thought leadership, we’re invested in education now and for the future. As schools adjust to the reality of hybrid learning, we’re maintaining and expanding our education investments, and we remain deeply committed to our mission of empowering every student on the planet achieve more. </a:t>
            </a:r>
            <a:r>
              <a:rPr lang="en-US" sz="900" b="1" kern="1200">
                <a:solidFill>
                  <a:schemeClr val="tx1"/>
                </a:solidFill>
                <a:effectLst/>
                <a:latin typeface="Segoe UI Light" pitchFamily="34" charset="0"/>
                <a:ea typeface="+mn-ea"/>
                <a:cs typeface="+mn-cs"/>
              </a:rPr>
              <a:t>&lt;</a:t>
            </a:r>
            <a:r>
              <a:rPr lang="en-US" b="1"/>
              <a:t>click&gt;</a:t>
            </a:r>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B1974D-3158-4F5C-AE63-8878FBF4D3B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8/2021 3: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980214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tarting at just $219, Windows 10 devices are the safest and best devices for remote and hybrid learning. Here’s a selection of some of the great devices built by our partners and designed for education. </a:t>
            </a:r>
            <a:r>
              <a:rPr lang="en-US" b="1"/>
              <a:t>&lt;click&g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7B1974D-3158-4F5C-AE63-8878FBF4D3B5}" type="datetime8">
              <a:rPr lang="en-US" smtClean="0"/>
              <a:t>10/8/2021 3:5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3609768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B1974D-3158-4F5C-AE63-8878FBF4D3B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8/2021 3: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650060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7B1974D-3158-4F5C-AE63-8878FBF4D3B5}" type="datetime8">
              <a:rPr lang="en-US" smtClean="0"/>
              <a:t>10/8/2021 3:5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32385670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800" b="0" i="0" u="none" strike="noStrike">
                <a:solidFill>
                  <a:srgbClr val="000000"/>
                </a:solidFill>
                <a:effectLst/>
                <a:latin typeface="Segoe UI Light" panose="020B0502040204020203" pitchFamily="34" charset="0"/>
              </a:rPr>
              <a:t>95% of Fortune 500 companies use Windows, and Surface devices offer the best Windows experience to prepare students for their future work life. The family of Surface devices includes tablets, laptops, desktop, and the Surface Hub for classroom use. Designed to flexibly meet the needs of students and educators, Surface devices offer touch and inking for more experiential and accessible learning, plus LTE options so that you can connect to the Internet on the go. </a:t>
            </a:r>
            <a:endParaRPr lang="en-US" b="0" i="0">
              <a:effectLst/>
            </a:endParaRPr>
          </a:p>
          <a:p>
            <a:pPr algn="l" rtl="0" fontAlgn="base"/>
            <a:r>
              <a:rPr lang="en-US" sz="1800" b="0" i="0">
                <a:effectLst/>
                <a:latin typeface="Segoe UI Light" panose="020B0502040204020203" pitchFamily="34" charset="0"/>
              </a:rPr>
              <a:t>​</a:t>
            </a:r>
            <a:endParaRPr lang="en-US" b="0" i="0">
              <a:effectLst/>
            </a:endParaRPr>
          </a:p>
          <a:p>
            <a:pPr algn="l" rtl="0" fontAlgn="base"/>
            <a:r>
              <a:rPr lang="en-US" sz="1800" b="0" i="0" u="none" strike="noStrike">
                <a:solidFill>
                  <a:srgbClr val="000000"/>
                </a:solidFill>
                <a:effectLst/>
                <a:latin typeface="Segoe UI Light" panose="020B0502040204020203" pitchFamily="34" charset="0"/>
              </a:rPr>
              <a:t>Surface devices have long-lasting battery, HD cameras, and cutting-edge inking capabilities with the Surface Pen. Certain models can switch between tablet mode and laptop mode to fit different scenarios. Optimized for use with Office 365 tools, Surface devices help students engage creatively and enable instructors to easily collaborate—no matter where they are. And you can depend on built-in security at both the device and OS layers. Surface devices include firmware TPM Enterprise-grade protection with Windows Hello face sign-in, as well as Windows 10 Pro security to protect valuable data. </a:t>
            </a:r>
            <a:r>
              <a:rPr lang="en-US" sz="1800" b="1" i="0" u="none" strike="noStrike">
                <a:solidFill>
                  <a:srgbClr val="000000"/>
                </a:solidFill>
                <a:effectLst/>
                <a:latin typeface="Segoe UI Light" panose="020B0502040204020203" pitchFamily="34" charset="0"/>
              </a:rPr>
              <a:t>&lt;click&gt;</a:t>
            </a:r>
            <a:endParaRPr lang="en-US" b="0" i="0">
              <a:effectLst/>
            </a:endParaRP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7B1974D-3158-4F5C-AE63-8878FBF4D3B5}" type="datetime8">
              <a:rPr lang="en-US" smtClean="0"/>
              <a:t>10/8/2021 3:5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39670532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re also offering special licensing prices through the Shape the Future program for school and districts purchasing more than 1,000 devices. </a:t>
            </a:r>
            <a:r>
              <a:rPr lang="en-US" b="1"/>
              <a:t>&lt;click&g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7B1974D-3158-4F5C-AE63-8878FBF4D3B5}" type="datetime8">
              <a:rPr lang="en-US" smtClean="0"/>
              <a:t>10/8/2021 3:5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16074246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are some practical next steps to get started today. Remember that Office 365 A1 with Teams is available to your school for free, and Microsoft offers a plethora of online training and support options to help you through every step of deployment. </a:t>
            </a:r>
            <a:r>
              <a:rPr lang="en-US" b="1"/>
              <a:t>&lt;click&gt;</a:t>
            </a:r>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B1974D-3158-4F5C-AE63-8878FBF4D3B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8/2021 3: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440480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ank you.</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B1974D-3158-4F5C-AE63-8878FBF4D3B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8/2021 3:5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36475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i="1">
                <a:cs typeface="Segoe UI Semibold" panose="020B0702040204020203" pitchFamily="34" charset="0"/>
              </a:rPr>
              <a:t>&lt;Note to sellers: this is an optional slide that can be included if you want to directly address privacy in a presentation&gt;</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i="1">
              <a:cs typeface="Segoe UI Semibold" panose="020B0702040204020203" pitchFamily="34" charset="0"/>
            </a:endParaRPr>
          </a:p>
          <a:p>
            <a:pPr algn="l" rtl="0" fontAlgn="base">
              <a:buFont typeface="Arial" panose="020B0604020202020204" pitchFamily="34" charset="0"/>
              <a:buNone/>
            </a:pPr>
            <a:r>
              <a:rPr lang="en-US" sz="1800" b="0" i="0" u="none" strike="noStrike">
                <a:solidFill>
                  <a:srgbClr val="353535"/>
                </a:solidFill>
                <a:effectLst/>
                <a:latin typeface="Segoe UI Light" panose="020B0502040204020203" pitchFamily="34" charset="0"/>
              </a:rPr>
              <a:t>Privacy is critical in enabling a secure and safe learning environment for your students and teachers.</a:t>
            </a:r>
            <a:r>
              <a:rPr lang="en-US" sz="1800" b="0" i="0">
                <a:effectLst/>
                <a:latin typeface="Segoe UI Light" panose="020B0502040204020203" pitchFamily="34" charset="0"/>
              </a:rPr>
              <a:t>​</a:t>
            </a:r>
            <a:r>
              <a:rPr lang="en-US" sz="1800" b="0" i="0" u="none" strike="noStrike">
                <a:solidFill>
                  <a:schemeClr val="tx1"/>
                </a:solidFill>
                <a:effectLst/>
                <a:latin typeface="Arial" panose="020B0604020202020204" pitchFamily="34" charset="0"/>
              </a:rPr>
              <a:t> </a:t>
            </a:r>
            <a:r>
              <a:rPr lang="en-US" sz="1800" b="1" i="0" u="none" strike="noStrike">
                <a:solidFill>
                  <a:srgbClr val="353535"/>
                </a:solidFill>
                <a:effectLst/>
                <a:latin typeface="Segoe UI Light" panose="020B0502040204020203" pitchFamily="34" charset="0"/>
              </a:rPr>
              <a:t>Microsoft believes privacy is a fundamental right</a:t>
            </a:r>
            <a:r>
              <a:rPr lang="en-US" sz="1800" b="0" i="0" u="none" strike="noStrike">
                <a:solidFill>
                  <a:srgbClr val="353535"/>
                </a:solidFill>
                <a:effectLst/>
                <a:latin typeface="Segoe UI Light" panose="020B0502040204020203" pitchFamily="34" charset="0"/>
              </a:rPr>
              <a:t> and is dedicated to helping you create a safe and engaging learning environment, meet privacy standards, and ensure continuous compliance for your institution.</a:t>
            </a:r>
            <a:r>
              <a:rPr lang="en-US" sz="1800" b="0" i="0">
                <a:effectLst/>
                <a:latin typeface="Segoe UI Light" panose="020B0502040204020203" pitchFamily="34" charset="0"/>
              </a:rPr>
              <a:t>​</a:t>
            </a:r>
            <a:r>
              <a:rPr lang="en-US" sz="1800" b="0" i="0" u="none" strike="noStrike">
                <a:solidFill>
                  <a:schemeClr val="tx1"/>
                </a:solidFill>
                <a:effectLst/>
                <a:latin typeface="Arial" panose="020B0604020202020204" pitchFamily="34" charset="0"/>
              </a:rPr>
              <a:t> </a:t>
            </a:r>
            <a:r>
              <a:rPr lang="en-US" sz="1800" b="0" i="0" u="none" strike="noStrike">
                <a:solidFill>
                  <a:srgbClr val="353535"/>
                </a:solidFill>
                <a:effectLst/>
                <a:latin typeface="Segoe UI Light" panose="020B0502040204020203" pitchFamily="34" charset="0"/>
              </a:rPr>
              <a:t>Microsoft believes in six key privacy principles, and uses these to shape the way they build their products and services, especially for education</a:t>
            </a:r>
            <a:r>
              <a:rPr lang="en-US" sz="1800" b="0" i="0">
                <a:effectLst/>
                <a:latin typeface="Segoe UI Light" panose="020B0502040204020203" pitchFamily="34" charset="0"/>
              </a:rPr>
              <a:t>​:</a:t>
            </a:r>
          </a:p>
          <a:p>
            <a:pPr algn="l" rtl="0" fontAlgn="base">
              <a:buFont typeface="Arial" panose="020B0604020202020204" pitchFamily="34" charset="0"/>
              <a:buNone/>
            </a:pPr>
            <a:endParaRPr lang="en-US" sz="1800" b="0" i="0">
              <a:effectLst/>
              <a:latin typeface="Arial" panose="020B0604020202020204" pitchFamily="34" charset="0"/>
            </a:endParaRPr>
          </a:p>
          <a:p>
            <a:pPr marL="285750" indent="-285750" algn="l" rtl="0" fontAlgn="base">
              <a:buFont typeface="Arial" panose="020B0604020202020204" pitchFamily="34" charset="0"/>
              <a:buChar char="•"/>
            </a:pPr>
            <a:r>
              <a:rPr lang="en-US" sz="1800" b="1" i="0" u="none" strike="noStrike">
                <a:solidFill>
                  <a:srgbClr val="353535"/>
                </a:solidFill>
                <a:effectLst/>
                <a:latin typeface="Segoe UI Light" panose="020B0502040204020203" pitchFamily="34" charset="0"/>
              </a:rPr>
              <a:t>Control:</a:t>
            </a:r>
            <a:r>
              <a:rPr lang="en-US" sz="1800" b="1" i="0" u="none" strike="noStrike">
                <a:solidFill>
                  <a:srgbClr val="353535"/>
                </a:solidFill>
                <a:effectLst/>
                <a:latin typeface="Times New Roman" panose="02020603050405020304" pitchFamily="18" charset="0"/>
              </a:rPr>
              <a:t> </a:t>
            </a:r>
            <a:r>
              <a:rPr lang="en-US" sz="1800" b="0" i="0" u="none" strike="noStrike">
                <a:solidFill>
                  <a:srgbClr val="353535"/>
                </a:solidFill>
                <a:effectLst/>
                <a:latin typeface="Segoe UI Light" panose="020B0502040204020203" pitchFamily="34" charset="0"/>
              </a:rPr>
              <a:t>We will put you in control of your privacy with easy-to-use tools and clear choices.</a:t>
            </a:r>
            <a:r>
              <a:rPr lang="en-US" sz="1800" b="0" i="0">
                <a:effectLst/>
                <a:latin typeface="Segoe UI Light" panose="020B0502040204020203" pitchFamily="34" charset="0"/>
              </a:rPr>
              <a:t>​</a:t>
            </a:r>
            <a:endParaRPr lang="en-US" sz="1800" b="0" i="0">
              <a:effectLst/>
              <a:latin typeface="Arial" panose="020B0604020202020204" pitchFamily="34" charset="0"/>
            </a:endParaRPr>
          </a:p>
          <a:p>
            <a:pPr marL="285750" indent="-285750" algn="l" rtl="0" fontAlgn="base">
              <a:buFont typeface="Arial" panose="020B0604020202020204" pitchFamily="34" charset="0"/>
              <a:buChar char="•"/>
            </a:pPr>
            <a:r>
              <a:rPr lang="en-US" sz="1800" b="1" i="0" u="none" strike="noStrike">
                <a:solidFill>
                  <a:srgbClr val="353535"/>
                </a:solidFill>
                <a:effectLst/>
                <a:latin typeface="Segoe UI Light" panose="020B0502040204020203" pitchFamily="34" charset="0"/>
              </a:rPr>
              <a:t>Transparency:</a:t>
            </a:r>
            <a:r>
              <a:rPr lang="en-US" sz="1800" b="0" i="0" u="none" strike="noStrike">
                <a:solidFill>
                  <a:srgbClr val="353535"/>
                </a:solidFill>
                <a:effectLst/>
                <a:latin typeface="Times New Roman" panose="02020603050405020304" pitchFamily="18" charset="0"/>
              </a:rPr>
              <a:t> </a:t>
            </a:r>
            <a:r>
              <a:rPr lang="en-US" sz="1800" b="0" i="0" u="none" strike="noStrike">
                <a:solidFill>
                  <a:srgbClr val="353535"/>
                </a:solidFill>
                <a:effectLst/>
                <a:latin typeface="Segoe UI Light" panose="020B0502040204020203" pitchFamily="34" charset="0"/>
              </a:rPr>
              <a:t>We will be transparent about data collection and use so you can make informed decisions.</a:t>
            </a:r>
            <a:r>
              <a:rPr lang="en-US" sz="1800" b="0" i="0">
                <a:effectLst/>
                <a:latin typeface="Segoe UI Light" panose="020B0502040204020203" pitchFamily="34" charset="0"/>
              </a:rPr>
              <a:t>​</a:t>
            </a:r>
            <a:endParaRPr lang="en-US" sz="1800" b="0" i="0">
              <a:effectLst/>
              <a:latin typeface="Arial" panose="020B0604020202020204" pitchFamily="34" charset="0"/>
            </a:endParaRPr>
          </a:p>
          <a:p>
            <a:pPr marL="285750" indent="-285750" algn="l" rtl="0" fontAlgn="base">
              <a:buFont typeface="Arial" panose="020B0604020202020204" pitchFamily="34" charset="0"/>
              <a:buChar char="•"/>
            </a:pPr>
            <a:r>
              <a:rPr lang="en-US" sz="1800" b="1" i="0" u="none" strike="noStrike">
                <a:solidFill>
                  <a:srgbClr val="353535"/>
                </a:solidFill>
                <a:effectLst/>
                <a:latin typeface="Segoe UI Light" panose="020B0502040204020203" pitchFamily="34" charset="0"/>
              </a:rPr>
              <a:t>Security:</a:t>
            </a:r>
            <a:r>
              <a:rPr lang="en-US" sz="1800" b="1" i="0" u="none" strike="noStrike">
                <a:solidFill>
                  <a:srgbClr val="353535"/>
                </a:solidFill>
                <a:effectLst/>
                <a:latin typeface="Times New Roman" panose="02020603050405020304" pitchFamily="18" charset="0"/>
              </a:rPr>
              <a:t> </a:t>
            </a:r>
            <a:r>
              <a:rPr lang="en-US" sz="1800" b="0" i="0" u="none" strike="noStrike">
                <a:solidFill>
                  <a:srgbClr val="353535"/>
                </a:solidFill>
                <a:effectLst/>
                <a:latin typeface="Segoe UI Light" panose="020B0502040204020203" pitchFamily="34" charset="0"/>
              </a:rPr>
              <a:t>We will protect the data you entrust to us through strong security and encryption.</a:t>
            </a:r>
            <a:r>
              <a:rPr lang="en-US" sz="1800" b="0" i="0">
                <a:effectLst/>
                <a:latin typeface="Segoe UI Light" panose="020B0502040204020203" pitchFamily="34" charset="0"/>
              </a:rPr>
              <a:t>​</a:t>
            </a:r>
            <a:endParaRPr lang="en-US" sz="1800" b="0" i="0">
              <a:effectLst/>
              <a:latin typeface="Arial" panose="020B0604020202020204" pitchFamily="34" charset="0"/>
            </a:endParaRPr>
          </a:p>
          <a:p>
            <a:pPr marL="285750" indent="-285750" algn="l" rtl="0" fontAlgn="base">
              <a:buFont typeface="Arial" panose="020B0604020202020204" pitchFamily="34" charset="0"/>
              <a:buChar char="•"/>
            </a:pPr>
            <a:r>
              <a:rPr lang="en-US" sz="1800" b="1" i="0" u="none" strike="noStrike">
                <a:solidFill>
                  <a:srgbClr val="353535"/>
                </a:solidFill>
                <a:effectLst/>
                <a:latin typeface="Segoe UI Light" panose="020B0502040204020203" pitchFamily="34" charset="0"/>
              </a:rPr>
              <a:t>Strong legal protections:</a:t>
            </a:r>
            <a:r>
              <a:rPr lang="en-US" sz="1800" b="0" i="0" u="none" strike="noStrike">
                <a:solidFill>
                  <a:srgbClr val="353535"/>
                </a:solidFill>
                <a:effectLst/>
                <a:latin typeface="Times New Roman" panose="02020603050405020304" pitchFamily="18" charset="0"/>
              </a:rPr>
              <a:t> </a:t>
            </a:r>
            <a:r>
              <a:rPr lang="en-US" sz="1800" b="0" i="0" u="none" strike="noStrike">
                <a:solidFill>
                  <a:srgbClr val="353535"/>
                </a:solidFill>
                <a:effectLst/>
                <a:latin typeface="Segoe UI Light" panose="020B0502040204020203" pitchFamily="34" charset="0"/>
              </a:rPr>
              <a:t>We will respect your local privacy laws and fight for legal protection of your privacy as a fundamental human right.</a:t>
            </a:r>
            <a:r>
              <a:rPr lang="en-US" sz="1800" b="0" i="0">
                <a:effectLst/>
                <a:latin typeface="Segoe UI Light" panose="020B0502040204020203" pitchFamily="34" charset="0"/>
              </a:rPr>
              <a:t>​</a:t>
            </a:r>
            <a:endParaRPr lang="en-US" sz="1800" b="0" i="0">
              <a:effectLst/>
              <a:latin typeface="Arial" panose="020B0604020202020204" pitchFamily="34" charset="0"/>
            </a:endParaRPr>
          </a:p>
          <a:p>
            <a:pPr marL="285750" indent="-285750" algn="l" rtl="0" fontAlgn="base">
              <a:buFont typeface="Arial" panose="020B0604020202020204" pitchFamily="34" charset="0"/>
              <a:buChar char="•"/>
            </a:pPr>
            <a:r>
              <a:rPr lang="en-US" sz="1800" b="1" i="0" u="none" strike="noStrike">
                <a:solidFill>
                  <a:srgbClr val="353535"/>
                </a:solidFill>
                <a:effectLst/>
                <a:latin typeface="Segoe UI Light" panose="020B0502040204020203" pitchFamily="34" charset="0"/>
              </a:rPr>
              <a:t>Benefits to you:</a:t>
            </a:r>
            <a:r>
              <a:rPr lang="en-US" sz="1800" b="1" i="0" u="none" strike="noStrike">
                <a:solidFill>
                  <a:srgbClr val="353535"/>
                </a:solidFill>
                <a:effectLst/>
                <a:latin typeface="Times New Roman" panose="02020603050405020304" pitchFamily="18" charset="0"/>
              </a:rPr>
              <a:t> </a:t>
            </a:r>
            <a:r>
              <a:rPr lang="en-US" sz="1800" b="0" i="0" u="none" strike="noStrike">
                <a:solidFill>
                  <a:srgbClr val="353535"/>
                </a:solidFill>
                <a:effectLst/>
                <a:latin typeface="Segoe UI Light" panose="020B0502040204020203" pitchFamily="34" charset="0"/>
              </a:rPr>
              <a:t>When we do collect data, we will use it to benefit you and to make your experiences better.</a:t>
            </a:r>
            <a:r>
              <a:rPr lang="en-US" sz="1800" b="0" i="0">
                <a:effectLst/>
                <a:latin typeface="Segoe UI Light" panose="020B0502040204020203" pitchFamily="34" charset="0"/>
              </a:rPr>
              <a:t>​</a:t>
            </a:r>
            <a:endParaRPr lang="en-US" sz="1800" b="0" i="0">
              <a:effectLst/>
              <a:latin typeface="Arial" panose="020B0604020202020204" pitchFamily="34" charset="0"/>
            </a:endParaRPr>
          </a:p>
          <a:p>
            <a:pPr marL="285750" indent="-285750" algn="l" rtl="0" fontAlgn="base">
              <a:buFont typeface="Arial" panose="020B0604020202020204" pitchFamily="34" charset="0"/>
              <a:buChar char="•"/>
            </a:pPr>
            <a:r>
              <a:rPr lang="en-US" sz="1800" b="1" i="0" u="none" strike="noStrike">
                <a:solidFill>
                  <a:srgbClr val="353535"/>
                </a:solidFill>
                <a:effectLst/>
                <a:latin typeface="Segoe UI Light" panose="020B0502040204020203" pitchFamily="34" charset="0"/>
              </a:rPr>
              <a:t>No content-based targeting:</a:t>
            </a:r>
            <a:r>
              <a:rPr lang="en-US" sz="1800" b="1" i="0" u="none" strike="noStrike">
                <a:solidFill>
                  <a:srgbClr val="353535"/>
                </a:solidFill>
                <a:effectLst/>
                <a:latin typeface="Times New Roman" panose="02020603050405020304" pitchFamily="18" charset="0"/>
              </a:rPr>
              <a:t> </a:t>
            </a:r>
            <a:r>
              <a:rPr lang="en-US" sz="1800" b="0" i="0" u="none" strike="noStrike">
                <a:solidFill>
                  <a:srgbClr val="353535"/>
                </a:solidFill>
                <a:effectLst/>
                <a:latin typeface="Segoe UI Light" panose="020B0502040204020203" pitchFamily="34" charset="0"/>
              </a:rPr>
              <a:t>We will not use your email, chat, files or other personal content to target ads to you.</a:t>
            </a:r>
            <a:endParaRPr lang="en-US" sz="1800" b="0" i="0">
              <a:effectLst/>
              <a:latin typeface="Arial" panose="020B0604020202020204"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i="0">
              <a:cs typeface="Segoe UI Semibold" panose="020B07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b="1" i="0">
                <a:cs typeface="Segoe UI Semibold" panose="020B0702040204020203" pitchFamily="34" charset="0"/>
              </a:rPr>
              <a:t>&lt;click&g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7B1974D-3158-4F5C-AE63-8878FBF4D3B5}" type="datetime8">
              <a:rPr lang="en-US" smtClean="0"/>
              <a:t>10/8/2021 3:5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32797841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72" fontAlgn="base">
              <a:lnSpc>
                <a:spcPct val="90000"/>
              </a:lnSpc>
              <a:spcBef>
                <a:spcPct val="0"/>
              </a:spcBef>
              <a:spcAft>
                <a:spcPct val="0"/>
              </a:spcAft>
            </a:pPr>
            <a:r>
              <a:rPr lang="en-US" sz="1000" i="1">
                <a:cs typeface="Times New Roman"/>
              </a:rPr>
              <a:t>&lt;Note to sellers: this slide is meant to elicit context-setting conversation and help shape the areas of focus for the rest of the deck&gt;</a:t>
            </a:r>
          </a:p>
          <a:p>
            <a:pPr defTabSz="932472" fontAlgn="base">
              <a:lnSpc>
                <a:spcPct val="90000"/>
              </a:lnSpc>
              <a:spcBef>
                <a:spcPct val="0"/>
              </a:spcBef>
              <a:spcAft>
                <a:spcPct val="0"/>
              </a:spcAft>
            </a:pPr>
            <a:endParaRPr lang="en-US" sz="1000">
              <a:cs typeface="Times New Roman"/>
            </a:endParaRPr>
          </a:p>
          <a:p>
            <a:pPr defTabSz="932472" fontAlgn="base">
              <a:lnSpc>
                <a:spcPct val="90000"/>
              </a:lnSpc>
              <a:spcBef>
                <a:spcPct val="0"/>
              </a:spcBef>
              <a:spcAft>
                <a:spcPct val="0"/>
              </a:spcAft>
            </a:pPr>
            <a:r>
              <a:rPr lang="en-US" sz="1000">
                <a:cs typeface="Times New Roman"/>
              </a:rPr>
              <a:t>2020 was a year of planned—and unplanned—changes for school leaders, educators, and students. Even after schools navigated the initial disruption due to COVID-19, they’ve had to confront a range of challenges as they managed day-to-day uncertainty and worked to build teaching capacity for remote and hybrid learning. As they year went on, school leaders and IT administrators also had to contend with an increase in the number of sophisticated digital threats targeting schools as teachers and students spent more time online.</a:t>
            </a:r>
          </a:p>
          <a:p>
            <a:pPr defTabSz="932472" fontAlgn="base">
              <a:lnSpc>
                <a:spcPct val="90000"/>
              </a:lnSpc>
              <a:spcBef>
                <a:spcPct val="0"/>
              </a:spcBef>
              <a:spcAft>
                <a:spcPct val="0"/>
              </a:spcAft>
            </a:pPr>
            <a:endParaRPr lang="en-US" sz="1000">
              <a:cs typeface="Times New Roman"/>
            </a:endParaRPr>
          </a:p>
          <a:p>
            <a:pPr defTabSz="932472" fontAlgn="base">
              <a:lnSpc>
                <a:spcPct val="90000"/>
              </a:lnSpc>
              <a:spcBef>
                <a:spcPct val="0"/>
              </a:spcBef>
              <a:spcAft>
                <a:spcPct val="0"/>
              </a:spcAft>
            </a:pPr>
            <a:r>
              <a:rPr lang="en-US" sz="1000" b="1">
                <a:cs typeface="Times New Roman"/>
              </a:rPr>
              <a:t>What has your experience been this past year?</a:t>
            </a:r>
          </a:p>
          <a:p>
            <a:pPr marL="171450" indent="-171450" defTabSz="932472" fontAlgn="base">
              <a:lnSpc>
                <a:spcPct val="90000"/>
              </a:lnSpc>
              <a:spcBef>
                <a:spcPct val="0"/>
              </a:spcBef>
              <a:spcAft>
                <a:spcPct val="0"/>
              </a:spcAft>
              <a:buFont typeface="Arial" panose="020B0604020202020204" pitchFamily="34" charset="0"/>
              <a:buChar char="•"/>
            </a:pPr>
            <a:r>
              <a:rPr lang="en-US" sz="1000">
                <a:cs typeface="Times New Roman"/>
              </a:rPr>
              <a:t>Where is your organization at today? How did you address the crisis?</a:t>
            </a:r>
          </a:p>
          <a:p>
            <a:pPr marL="171450" indent="-171450" defTabSz="932472" fontAlgn="base">
              <a:lnSpc>
                <a:spcPct val="90000"/>
              </a:lnSpc>
              <a:spcBef>
                <a:spcPct val="0"/>
              </a:spcBef>
              <a:spcAft>
                <a:spcPct val="0"/>
              </a:spcAft>
              <a:buFont typeface="Arial" panose="020B0604020202020204" pitchFamily="34" charset="0"/>
              <a:buChar char="•"/>
            </a:pPr>
            <a:r>
              <a:rPr lang="en-US" sz="1000">
                <a:cs typeface="Times New Roman"/>
              </a:rPr>
              <a:t>How are you defining what comes next?</a:t>
            </a:r>
          </a:p>
          <a:p>
            <a:pPr marL="171450" indent="-171450" defTabSz="932472" fontAlgn="base">
              <a:lnSpc>
                <a:spcPct val="90000"/>
              </a:lnSpc>
              <a:spcBef>
                <a:spcPct val="0"/>
              </a:spcBef>
              <a:spcAft>
                <a:spcPct val="0"/>
              </a:spcAft>
              <a:buFont typeface="Arial" panose="020B0604020202020204" pitchFamily="34" charset="0"/>
              <a:buChar char="•"/>
            </a:pPr>
            <a:r>
              <a:rPr lang="en-US" sz="1000">
                <a:cs typeface="Times New Roman"/>
              </a:rPr>
              <a:t>Do you expect to go back to the way things were, or are you considering new ways of learning in the future?</a:t>
            </a:r>
          </a:p>
          <a:p>
            <a:pPr defTabSz="932472" fontAlgn="base">
              <a:lnSpc>
                <a:spcPct val="90000"/>
              </a:lnSpc>
              <a:spcBef>
                <a:spcPct val="0"/>
              </a:spcBef>
              <a:spcAft>
                <a:spcPct val="0"/>
              </a:spcAft>
            </a:pPr>
            <a:endParaRPr lang="en-US" sz="1000"/>
          </a:p>
          <a:p>
            <a:pPr marL="0" indent="0">
              <a:lnSpc>
                <a:spcPct val="90000"/>
              </a:lnSpc>
              <a:spcBef>
                <a:spcPts val="600"/>
              </a:spcBef>
              <a:buNone/>
            </a:pPr>
            <a:r>
              <a:rPr lang="en-US" sz="1000">
                <a:effectLst/>
                <a:latin typeface="+mn-lt"/>
                <a:ea typeface="Calibri" panose="020F0502020204030204" pitchFamily="34" charset="0"/>
              </a:rPr>
              <a:t>Wherever you are in the process, </a:t>
            </a:r>
            <a:r>
              <a:rPr lang="en-US" sz="1000">
                <a:latin typeface="+mn-lt"/>
              </a:rPr>
              <a:t>Microsoft is here to support your efforts throughout your journey. </a:t>
            </a:r>
            <a:r>
              <a:rPr lang="en-US" sz="1000" b="1">
                <a:latin typeface="+mn-lt"/>
              </a:rPr>
              <a:t>&lt;click&gt;</a:t>
            </a:r>
            <a:endParaRPr lang="en-US" sz="1000">
              <a:solidFill>
                <a:srgbClr val="000000"/>
              </a:solidFill>
              <a:ea typeface="Calibri" panose="020F0502020204030204" pitchFamily="34" charset="0"/>
              <a:cs typeface="Times New Roman"/>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7B1974D-3158-4F5C-AE63-8878FBF4D3B5}" type="datetime8">
              <a:rPr lang="en-US" smtClean="0"/>
              <a:t>10/8/2021 3:31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20767709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t Microsoft, we’ve also been deeply impacted by the shift to remote work necessitated by the COVID-19 crisis, so we understand the challenges that come along with this situation—and we want to help however we can. Now that education is shifting into the long-term reality of hybrid learning, we want to help you build a foundation to help all students succeed. Hybrid learning involves much more than virtual classes—it is a holistic, reimagined learning experience that enables all students to continue their education regardless of global health crises, weather, transportation limitations, or other obstacles they may be facing. </a:t>
            </a:r>
          </a:p>
          <a:p>
            <a:endParaRPr lang="en-US"/>
          </a:p>
          <a:p>
            <a:r>
              <a:rPr lang="en-US"/>
              <a:t>Hybrid learning is multimodal and interactive, meaning that the ideal learning environment offers a diverse selection of tools and features to keep learners actively engaged. It’s both synchronous and asynchronous, meaning that assignment workflows and class teams and other methods of offline engagement are included in addition to live class sessions. And perhaps most importantly, hybrid learning is all about thoughtfully planned infrastructure. It’s not a temporary response to a crisis—it’s the new normal for education, and it’s the path schools must follow to succeed in the future. </a:t>
            </a:r>
          </a:p>
          <a:p>
            <a:endParaRPr lang="en-US" b="1"/>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a:solidFill>
                  <a:srgbClr val="000000"/>
                </a:solidFill>
                <a:ea typeface="Calibri" panose="020F0502020204030204" pitchFamily="34" charset="0"/>
                <a:cs typeface="Times New Roman"/>
              </a:rPr>
              <a:t>As school leaders continue to reimagine learning while creating a more agile, hybrid system, three key areas of have emerged: ensuring student access to a consistent learning experience both in-person and remotely; providing professional development for teachers to build confidence in remote and hybrid teaching; and keeping students, teachers, and school data safe. </a:t>
            </a:r>
            <a:r>
              <a:rPr lang="en-US" b="1"/>
              <a:t>&lt;click&gt;</a:t>
            </a:r>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B1974D-3158-4F5C-AE63-8878FBF4D3B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8/2021 3: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993506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Microsoft Education is meeting schools around the world where they’re at on their hybrid learning journeys. We are helping schools achieve sustainable, systematic hybrid learning at scale, while recognizing the unique needs of specific learning communities. We are providing thousands of education users with affordable devices, offering free training for educators, and providing no-cost solutions that protect students online.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1" kern="120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kern="1200">
                <a:solidFill>
                  <a:schemeClr val="tx1"/>
                </a:solidFill>
                <a:effectLst/>
                <a:latin typeface="Segoe UI Light" pitchFamily="34" charset="0"/>
                <a:ea typeface="+mn-ea"/>
                <a:cs typeface="+mn-cs"/>
              </a:rPr>
              <a:t>Let’s look at how Microsoft can help with some of the challenges schools are facing. </a:t>
            </a:r>
            <a:r>
              <a:rPr lang="en-US" sz="900" b="1" kern="1200">
                <a:solidFill>
                  <a:schemeClr val="tx1"/>
                </a:solidFill>
                <a:effectLst/>
                <a:latin typeface="Segoe UI Light" pitchFamily="34" charset="0"/>
                <a:ea typeface="+mn-ea"/>
                <a:cs typeface="+mn-cs"/>
              </a:rPr>
              <a:t>&lt;click&gt;</a:t>
            </a:r>
            <a:endParaRPr lang="en-US" sz="900" kern="1200">
              <a:solidFill>
                <a:schemeClr val="tx1"/>
              </a:solidFill>
              <a:effectLst/>
              <a:latin typeface="Segoe UI Light" pitchFamily="34" charset="0"/>
              <a:ea typeface="+mn-ea"/>
              <a:cs typeface="+mn-cs"/>
            </a:endParaRPr>
          </a:p>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B1974D-3158-4F5C-AE63-8878FBF4D3B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8/2021 3: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631267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i="1">
                <a:solidFill>
                  <a:schemeClr val="tx2"/>
                </a:solidFill>
                <a:cs typeface="Segoe UI Semilight"/>
              </a:rPr>
              <a:t>&lt;Note to sellers: the third pillar in this section is focused on device security. Slides 16-19 address safety and security more broadly in Microsoft Education products&gt;</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a:solidFill>
                <a:schemeClr val="tx2"/>
              </a:solidFill>
              <a:cs typeface="Segoe UI Semilight"/>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a:solidFill>
                  <a:schemeClr val="tx2"/>
                </a:solidFill>
                <a:cs typeface="Segoe UI Semilight"/>
              </a:rPr>
              <a:t>Planning for an ever-changing mix of remote, hybrid, and in-person classrooms can be a challenge. Windows 10 puts innovative tools and personalized devices, built for both the classroom and remote learning, into the hands of educators and students. You can trust that students and teachers are always connected and prepared with devices trusted by more than a billion people around the world.</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a:solidFill>
                <a:schemeClr val="tx2"/>
              </a:solidFill>
              <a:cs typeface="Segoe UI Semilight"/>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a:cs typeface="Segoe UI"/>
              </a:rPr>
              <a:t>Windows 10 devices are built for learning. Deliver personalized learning with multi-modal 2-in-1 devices that combine pen, touch and type and built-in accessibility tools. Windows devices come with built-in accessibility tools, making it easier to deliver personalized instruction. And you can rest easy knowing that your devices are protected by comprehensive security with built-in anti-virus, anti-malware, and anti-phishing protection for students and teacher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1">
              <a:cs typeface="Segoe UI"/>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a:cs typeface="Segoe UI"/>
              </a:rPr>
              <a:t>Let’s take a close look together. &lt;</a:t>
            </a:r>
            <a:r>
              <a:rPr lang="en-US" sz="900" b="1">
                <a:cs typeface="Segoe UI"/>
              </a:rPr>
              <a:t>click&g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7B1974D-3158-4F5C-AE63-8878FBF4D3B5}" type="datetime8">
              <a:rPr lang="en-US" smtClean="0"/>
              <a:t>10/8/2021 3:3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4982204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800" b="0" i="1" u="none" strike="noStrike" baseline="0">
                <a:latin typeface="SegoePro"/>
              </a:rPr>
              <a:t>&lt;Note to sellers: the features listed on this slide are not available on every Windows 10 device&gt;</a:t>
            </a:r>
          </a:p>
          <a:p>
            <a:pPr algn="l"/>
            <a:endParaRPr lang="en-US" sz="1800" b="0" i="0" u="none" strike="noStrike" baseline="0">
              <a:latin typeface="SegoePro"/>
            </a:endParaRPr>
          </a:p>
          <a:p>
            <a:pPr algn="l"/>
            <a:r>
              <a:rPr lang="en-US" sz="1800" b="0" i="0" u="none" strike="noStrike" baseline="0">
                <a:latin typeface="SegoePro"/>
              </a:rPr>
              <a:t>With schools closing around the world, remote and hybrid learning have become the most viable options for delivering educational experiences. </a:t>
            </a:r>
            <a:r>
              <a:rPr lang="en-US" sz="1800" b="0" i="0" u="none" strike="noStrike" baseline="0">
                <a:solidFill>
                  <a:srgbClr val="000000"/>
                </a:solidFill>
                <a:latin typeface="SegoePro"/>
              </a:rPr>
              <a:t>With </a:t>
            </a:r>
            <a:r>
              <a:rPr lang="en-US" sz="1800" b="0" i="0" u="none" strike="noStrike" baseline="0">
                <a:latin typeface="SegoePro"/>
              </a:rPr>
              <a:t>Windows 10 devices, students can engage online with their teachers via built-in noise cancelling microphones, front-facing webcam, and other USB connected devices.</a:t>
            </a:r>
          </a:p>
          <a:p>
            <a:pPr algn="l"/>
            <a:endParaRPr lang="en-US" sz="1800" b="0" i="0" u="none" strike="noStrike" baseline="0">
              <a:latin typeface="SegoePro"/>
            </a:endParaRPr>
          </a:p>
          <a:p>
            <a:pPr algn="l"/>
            <a:r>
              <a:rPr lang="en-US" sz="1800" b="0" i="0" u="none" strike="noStrike" baseline="0">
                <a:latin typeface="SegoePro"/>
                <a:cs typeface="Segoe UI"/>
              </a:rPr>
              <a:t>Only 70% of students have broadband access at home</a:t>
            </a:r>
            <a:r>
              <a:rPr lang="en-US" sz="1800" b="0" i="0" u="none" strike="noStrike" baseline="30000">
                <a:latin typeface="SegoePro"/>
                <a:cs typeface="Segoe UI"/>
              </a:rPr>
              <a:t>1</a:t>
            </a:r>
            <a:r>
              <a:rPr lang="en-US" sz="1800" b="0" i="0" u="none" strike="noStrike" baseline="0">
                <a:latin typeface="SegoePro"/>
                <a:cs typeface="Segoe UI"/>
              </a:rPr>
              <a:t>, so schools can k</a:t>
            </a:r>
            <a:r>
              <a:rPr lang="en-US" sz="1800">
                <a:latin typeface="Segoe UI Light"/>
                <a:cs typeface="Segoe UI Light"/>
              </a:rPr>
              <a:t>eep students connected with Windows 10 Education devices built with Qualcomm Snapdragon processors. These devices provide LTE cell technology so students can join online classrooms even if they have a home internet connection.</a:t>
            </a:r>
          </a:p>
          <a:p>
            <a:pPr algn="l"/>
            <a:endParaRPr lang="en-US" sz="1800">
              <a:cs typeface="Segoe UI"/>
            </a:endParaRPr>
          </a:p>
          <a:p>
            <a:pPr algn="l"/>
            <a:r>
              <a:rPr lang="en-US" sz="1800" b="0" i="0" u="none" strike="noStrike" baseline="0">
                <a:latin typeface="SegoePro"/>
                <a:cs typeface="Segoe UI"/>
              </a:rPr>
              <a:t>Plus with a</a:t>
            </a:r>
            <a:r>
              <a:rPr lang="en-US" sz="1800" b="0" i="0" u="none" strike="noStrike" baseline="0">
                <a:latin typeface="SegoePro"/>
              </a:rPr>
              <a:t>ll-day battery life means students can work anywhere in the house without interruptions, and when they return in-person, they won’t have to worry about keeping a device plugged in.</a:t>
            </a:r>
          </a:p>
          <a:p>
            <a:pPr algn="l"/>
            <a:endParaRPr lang="en-US" sz="1800" b="0" i="0" u="none" strike="noStrike" baseline="0">
              <a:latin typeface="SegoePro"/>
              <a:cs typeface="Segoe UI"/>
            </a:endParaRPr>
          </a:p>
          <a:p>
            <a:pPr algn="l"/>
            <a:r>
              <a:rPr lang="en-US" sz="900" b="0" i="0" u="none" strike="noStrike" baseline="0">
                <a:latin typeface="SegoePro"/>
                <a:cs typeface="Segoe UI"/>
              </a:rPr>
              <a:t>With more time online, engaging students in different forms of learning is crucial. Devices with Windows Ink engage students in multi-modal learning to help unlock creativity and critical thinking. </a:t>
            </a:r>
            <a:r>
              <a:rPr lang="en-US" sz="1800" b="0" i="0" u="none" strike="noStrike" baseline="0">
                <a:latin typeface="SegoePro"/>
              </a:rPr>
              <a:t>Students can use the digital ink pen to take notes in OneNote, Teams, or on the Microsoft Whiteboard app. They can also write essays in Word and draw in PowerPoint and Paint. Students can use a pen and Windows Ink across 10+ applications in their Windows 10 2-in-1 devices</a:t>
            </a:r>
            <a:endParaRPr lang="en-US" sz="900" b="0" i="0" u="none" strike="noStrike" baseline="0">
              <a:latin typeface="SegoePro"/>
              <a:cs typeface="Segoe UI"/>
            </a:endParaRPr>
          </a:p>
          <a:p>
            <a:pPr algn="l"/>
            <a:endParaRPr lang="en-US" sz="900" b="0" i="0" u="none" strike="noStrike" baseline="0">
              <a:latin typeface="SegoePro"/>
              <a:cs typeface="Segoe UI"/>
            </a:endParaRPr>
          </a:p>
          <a:p>
            <a:pPr algn="l"/>
            <a:r>
              <a:rPr lang="en-US" sz="900" b="0" i="0" u="none" strike="noStrike" baseline="0">
                <a:latin typeface="SegoePro"/>
                <a:cs typeface="Segoe UI"/>
              </a:rPr>
              <a:t>Let’s take a deeper look at how Windows 10 devices support personalized learning with built-in accessibility tools.</a:t>
            </a:r>
            <a:r>
              <a:rPr lang="en-US" sz="900" b="1">
                <a:cs typeface="Segoe UI"/>
              </a:rPr>
              <a:t>&lt;click&gt;</a:t>
            </a:r>
          </a:p>
          <a:p>
            <a:pPr algn="l"/>
            <a:endParaRPr lang="en-US" sz="900" b="1">
              <a:cs typeface="Segoe UI"/>
            </a:endParaRPr>
          </a:p>
          <a:p>
            <a:pPr algn="l"/>
            <a:r>
              <a:rPr lang="en-US" sz="900" b="0">
                <a:cs typeface="Segoe UI"/>
              </a:rPr>
              <a:t>Reference:</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a:cs typeface="Segoe UI"/>
              </a:rPr>
              <a:t>1. </a:t>
            </a:r>
            <a:r>
              <a:rPr lang="en-US"/>
              <a:t>Spring 2020 Remote Learning Survey Results, </a:t>
            </a:r>
            <a:r>
              <a:rPr lang="en-US" err="1"/>
              <a:t>BrightBytes</a:t>
            </a:r>
            <a:r>
              <a:rPr lang="en-US"/>
              <a:t> &amp; ISTE, </a:t>
            </a:r>
            <a:r>
              <a:rPr lang="en-US">
                <a:hlinkClick r:id="rId3"/>
              </a:rPr>
              <a:t>https://static1.squarespace.com/static/5716af60356fb068327b23af/t/5f1765c386d7e37c7f58d891/1595368908363/BrightBytes+2020+Remote+Learning+Survey+Results.pdf</a:t>
            </a:r>
            <a:endParaRPr lang="en-US" b="1"/>
          </a:p>
          <a:p>
            <a:pPr algn="l"/>
            <a:endParaRPr lang="en-US" sz="900" b="0">
              <a:cs typeface="Segoe UI"/>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7B1974D-3158-4F5C-AE63-8878FBF4D3B5}" type="datetime8">
              <a:rPr lang="en-US" smtClean="0"/>
              <a:t>10/8/2021 3:3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10713596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s you plan for the transition back to school, it’s more important than ever to ensure that learning and resources are accessible for all students, including both those with physical disabilities and those with invisible disabilities like dyslexia or ADHD. Microsoft builds accessibility directly into every solution, including products like Teams that promote all students to make their voices heard through text, voice, or video.</a:t>
            </a:r>
          </a:p>
          <a:p>
            <a:endParaRPr lang="en-US"/>
          </a:p>
          <a:p>
            <a:r>
              <a:rPr lang="en-US"/>
              <a:t>On this slide are just a few examples of built-in accessibility tools you can find across Windows 10 and Office 365 with Teams. You can activate live captions for meetings and events in Teams, or for PowerPoint presentations. Automatically generate searchable meeting transcriptions for students to review later, and leverage Accessibility Checker to make sure your presentations, documents, and more are accessible. </a:t>
            </a:r>
          </a:p>
          <a:p>
            <a:endParaRPr lang="en-US"/>
          </a:p>
          <a:p>
            <a:r>
              <a:rPr lang="en-US"/>
              <a:t>There are a plethora of features to make homework and studying accessible. Students can use the Ease of Access center to change content size, apply color filters, and more across Windows 10. Focus Assist turns off notifications for chat and email, Immersive Reader offers innovative tools to aid reading comprehension, and other tools include text-to-speech and dictation. Microsoft solutions are also designed for compatibility with assistive technologies like screen readers. </a:t>
            </a:r>
            <a:r>
              <a:rPr lang="en-US" b="1"/>
              <a:t>&lt;click&gt;</a:t>
            </a:r>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B1974D-3158-4F5C-AE63-8878FBF4D3B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8/2021 3: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655374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a:cs typeface="Segoe UI"/>
              </a:rPr>
              <a:t>With students and teachers spending more time online, we know that student protection is top of mind for school leaders. </a:t>
            </a:r>
            <a:r>
              <a:rPr lang="en-US" sz="1800" b="0" i="0" u="none" strike="noStrike">
                <a:solidFill>
                  <a:srgbClr val="353535"/>
                </a:solidFill>
                <a:effectLst/>
                <a:latin typeface="Segoe UI Light" panose="020B0502040204020203" pitchFamily="34" charset="0"/>
              </a:rPr>
              <a:t>With Microsoft, you can rest assured that your students are protected from threats and breaches by leveraging the same industry-leading technology we provide to our enterprise customers. </a:t>
            </a:r>
            <a:r>
              <a:rPr lang="en-US" sz="900">
                <a:cs typeface="Segoe UI"/>
              </a:rPr>
              <a:t>For example, </a:t>
            </a:r>
            <a:r>
              <a:rPr lang="en-US"/>
              <a:t>Windows 10 provides comprehensive, built-in protection—at no extra cost. </a:t>
            </a:r>
            <a:r>
              <a:rPr lang="en-US" sz="1800">
                <a:effectLst/>
                <a:latin typeface="Calibri" panose="020F0502020204030204" pitchFamily="34" charset="0"/>
                <a:ea typeface="Calibri" panose="020F0502020204030204" pitchFamily="34" charset="0"/>
                <a:cs typeface="Times New Roman" panose="02020603050405020304" pitchFamily="18" charset="0"/>
              </a:rPr>
              <a:t>Windows devices come with built-in security features, so your students are protected from the moment the power button is pushed.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a:effectLst/>
                <a:latin typeface="Calibri" panose="020F0502020204030204" pitchFamily="34" charset="0"/>
                <a:ea typeface="Calibri" panose="020F0502020204030204" pitchFamily="34" charset="0"/>
                <a:cs typeface="Times New Roman" panose="02020603050405020304" pitchFamily="18" charset="0"/>
              </a:rPr>
              <a:t>Protection begins with BitLocker Drive Encryption so sensitive data is protected from theft or exposure from lost or stolen computers. Windows 10 devices come with built-in Microsoft Defender Antivirus to guard against malware and viruses. As students and teachers spend more time online, you can protect them with Microsoft Edge, which offers the highest rated protection </a:t>
            </a:r>
            <a:r>
              <a:rPr lang="en-US" sz="4400">
                <a:cs typeface="Segoe UI Semibold" panose="020B0702040204020203" pitchFamily="34" charset="0"/>
              </a:rPr>
              <a:t>against phishing and malware attempts. When combined with ad-free search on Bing, you can ensure that data is never sold to advertisers.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4400">
              <a:cs typeface="Segoe UI Semibold" panose="020B07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4400">
                <a:effectLst/>
                <a:latin typeface="Calibri" panose="020F0502020204030204" pitchFamily="34" charset="0"/>
                <a:ea typeface="Calibri" panose="020F0502020204030204" pitchFamily="34" charset="0"/>
                <a:cs typeface="Segoe UI Semibold" panose="020B0702040204020203" pitchFamily="34" charset="0"/>
              </a:rPr>
              <a:t>Your technology and devices are nothing without the teachers, so let’s take a look at how Microsoft is supporting teachers right now.</a:t>
            </a:r>
            <a:r>
              <a:rPr lang="en-US" sz="900" b="1">
                <a:cs typeface="Segoe UI"/>
              </a:rPr>
              <a:t>&lt;click&gt;</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1">
              <a:cs typeface="Segoe UI"/>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a:cs typeface="Segoe UI"/>
              </a:rPr>
              <a:t>Reference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a:cs typeface="Segoe UI"/>
              </a:rPr>
              <a:t>https://www.nsslabs.com/tested-technologies/web-browser-security-wb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a:cs typeface="Segoe UI"/>
              </a:rPr>
              <a:t>https://edgeconsumerproduction.blob.core.windows.net/hostingdocs/NSS_Labs_Browser_Phishing_Report_Q2_2020.pdf</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a:cs typeface="Segoe UI"/>
              </a:rPr>
              <a:t>https://edgeconsumerproduction.blob.core.windows.net/hostingdocs/NSS_Labs_Browser_Malware_Report_Q2_2020.pdf</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7B1974D-3158-4F5C-AE63-8878FBF4D3B5}" type="datetime8">
              <a:rPr lang="en-US" smtClean="0"/>
              <a:t>10/8/2021 3:32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108641019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1211264"/>
            <a:ext cx="9142769"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667" y="3040064"/>
            <a:ext cx="9142770"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04" y="3770246"/>
            <a:ext cx="9142833"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60630" y="6233445"/>
            <a:ext cx="1451658" cy="310896"/>
          </a:xfrm>
          <a:prstGeom prst="rect">
            <a:avLst/>
          </a:prstGeom>
        </p:spPr>
      </p:pic>
    </p:spTree>
    <p:extLst>
      <p:ext uri="{BB962C8B-B14F-4D97-AF65-F5344CB8AC3E}">
        <p14:creationId xmlns:p14="http://schemas.microsoft.com/office/powerpoint/2010/main" val="4116348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457235" y="502479"/>
            <a:ext cx="11520275" cy="917575"/>
          </a:xfrm>
        </p:spPr>
        <p:txBody>
          <a:bodyPr/>
          <a:lstStyle/>
          <a:p>
            <a:r>
              <a:rPr lang="en-US"/>
              <a:t>Click to edit Master title style</a:t>
            </a:r>
          </a:p>
        </p:txBody>
      </p:sp>
      <p:sp>
        <p:nvSpPr>
          <p:cNvPr id="4" name="Text Placeholder 3"/>
          <p:cNvSpPr>
            <a:spLocks noGrp="1"/>
          </p:cNvSpPr>
          <p:nvPr>
            <p:ph type="body" sz="quarter" idx="10"/>
          </p:nvPr>
        </p:nvSpPr>
        <p:spPr>
          <a:xfrm>
            <a:off x="457235" y="1635335"/>
            <a:ext cx="54856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491989" y="1635335"/>
            <a:ext cx="5485699" cy="2462213"/>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9549982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7195" y="502479"/>
            <a:ext cx="4891416" cy="738664"/>
          </a:xfrm>
        </p:spPr>
        <p:txBody>
          <a:bodyPr wrap="square" anchor="t">
            <a:spAutoFit/>
          </a:bodyPr>
          <a:lstStyle>
            <a:lvl1pPr>
              <a:defRPr sz="4000" baseline="0">
                <a:gradFill>
                  <a:gsLst>
                    <a:gs pos="1250">
                      <a:schemeClr val="tx1"/>
                    </a:gs>
                    <a:gs pos="100000">
                      <a:schemeClr val="tx1"/>
                    </a:gs>
                  </a:gsLst>
                  <a:lin ang="5400000" scaled="0"/>
                </a:gradFill>
              </a:defRPr>
            </a:lvl1pPr>
          </a:lstStyle>
          <a:p>
            <a:r>
              <a:rPr lang="en-US"/>
              <a:t>Square photo layout</a:t>
            </a:r>
          </a:p>
        </p:txBody>
      </p:sp>
    </p:spTree>
    <p:extLst>
      <p:ext uri="{BB962C8B-B14F-4D97-AF65-F5344CB8AC3E}">
        <p14:creationId xmlns:p14="http://schemas.microsoft.com/office/powerpoint/2010/main" val="1793478030"/>
      </p:ext>
    </p:extLst>
  </p:cSld>
  <p:clrMapOvr>
    <a:masterClrMapping/>
  </p:clrMapOvr>
  <p:transition>
    <p:fade/>
  </p:transition>
  <p:extLst>
    <p:ext uri="{DCECCB84-F9BA-43D5-87BE-67443E8EF086}">
      <p15:sldGuideLst xmlns:p15="http://schemas.microsoft.com/office/powerpoint/2012/main">
        <p15:guide id="1" pos="342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058872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9"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4" y="3954463"/>
            <a:ext cx="10057117"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461166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9"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064686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0" y="0"/>
            <a:ext cx="12434888" cy="6994526"/>
          </a:xfrm>
        </p:spPr>
        <p:txBody>
          <a:bodyPr>
            <a:noAutofit/>
          </a:bodyPr>
          <a:lstStyle>
            <a:lvl1pPr marL="0" indent="0">
              <a:buNone/>
              <a:defRPr>
                <a:solidFill>
                  <a:schemeClr val="bg1"/>
                </a:solidFill>
              </a:defRPr>
            </a:lvl1pPr>
          </a:lstStyle>
          <a:p>
            <a:r>
              <a:rPr lang="en-US"/>
              <a:t>Click icon to add picture then send to back.</a:t>
            </a:r>
          </a:p>
        </p:txBody>
      </p:sp>
      <p:sp>
        <p:nvSpPr>
          <p:cNvPr id="15" name="Text Placeholder 14"/>
          <p:cNvSpPr>
            <a:spLocks noGrp="1"/>
          </p:cNvSpPr>
          <p:nvPr>
            <p:ph type="body" sz="quarter" idx="12" hasCustomPrompt="1"/>
          </p:nvPr>
        </p:nvSpPr>
        <p:spPr>
          <a:xfrm>
            <a:off x="4816901" y="2137391"/>
            <a:ext cx="2797850" cy="932603"/>
          </a:xfrm>
        </p:spPr>
        <p:txBody>
          <a:bodyPr>
            <a:normAutofit/>
          </a:bodyPr>
          <a:lstStyle>
            <a:lvl1pPr marL="0" marR="0" indent="0" algn="ctr" defTabSz="932597" rtl="0" eaLnBrk="1" fontAlgn="auto" latinLnBrk="0" hangingPunct="1">
              <a:lnSpc>
                <a:spcPct val="100000"/>
              </a:lnSpc>
              <a:spcBef>
                <a:spcPts val="0"/>
              </a:spcBef>
              <a:spcAft>
                <a:spcPts val="0"/>
              </a:spcAft>
              <a:buClrTx/>
              <a:buSzTx/>
              <a:buFont typeface="Wingdings" pitchFamily="2" charset="2"/>
              <a:buNone/>
              <a:tabLst/>
              <a:defRPr lang="en-US" sz="6119"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 typeface="Wingdings" pitchFamily="2" charset="2"/>
              <a:buNone/>
              <a:tabLst/>
              <a:defRPr/>
            </a:pPr>
            <a:r>
              <a:rPr lang="en-US" sz="4488" b="1" kern="1200" spc="0" baseline="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3111821227"/>
      </p:ext>
    </p:extLst>
  </p:cSld>
  <p:clrMapOvr>
    <a:masterClrMapping/>
  </p:clrMapOvr>
  <p:transition>
    <p:fade/>
  </p:transition>
  <p:extLst>
    <p:ext uri="{DCECCB84-F9BA-43D5-87BE-67443E8EF086}">
      <p15:sldGuideLst xmlns:p15="http://schemas.microsoft.com/office/powerpoint/2012/main">
        <p15:guide id="1" pos="2975" userDrawn="1">
          <p15:clr>
            <a:srgbClr val="5ACBF0"/>
          </p15:clr>
        </p15:guide>
        <p15:guide id="2" pos="3551" userDrawn="1">
          <p15:clr>
            <a:srgbClr val="5ACBF0"/>
          </p15:clr>
        </p15:guide>
        <p15:guide id="3"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1311339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967136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28820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457199" y="1221158"/>
            <a:ext cx="11520489" cy="1758943"/>
          </a:xfrm>
        </p:spPr>
        <p:txBody>
          <a:bodyPr/>
          <a:lstStyle>
            <a:lvl1pPr marL="0" indent="0">
              <a:buNone/>
              <a:defRPr sz="3300">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1pPr>
            <a:lvl2pPr marL="346553"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2pPr>
            <a:lvl3pPr marL="584607"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3pPr>
            <a:lvl4pPr marL="814563"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4pPr>
            <a:lvl5pPr marL="1050997"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444585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119177"/>
            <a:ext cx="6399919" cy="1828800"/>
          </a:xfrm>
          <a:noFill/>
        </p:spPr>
        <p:txBody>
          <a:bodyPr lIns="146304" tIns="91440" rIns="146304" bIns="91440" anchor="t" anchorCtr="0"/>
          <a:lstStyle>
            <a:lvl1pPr>
              <a:defRPr sz="4800"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3"/>
            <a:ext cx="6401571" cy="664797"/>
          </a:xfrm>
        </p:spPr>
        <p:txBody>
          <a:bodyPr wrap="square" lIns="164592" tIns="109728" rIns="164592" bIns="109728">
            <a:spAutoFit/>
          </a:bodyPr>
          <a:lstStyle>
            <a:lvl1pPr marL="0" indent="0">
              <a:spcBef>
                <a:spcPts val="0"/>
              </a:spcBef>
              <a:buNone/>
              <a:defRPr sz="3200">
                <a:solidFill>
                  <a:schemeClr val="tx1"/>
                </a:solidFill>
                <a:latin typeface="+mn-lt"/>
              </a:defRPr>
            </a:lvl1pPr>
          </a:lstStyle>
          <a:p>
            <a:pPr lvl="0"/>
            <a:r>
              <a:rPr lang="en-US"/>
              <a:t>Speaker name</a:t>
            </a:r>
          </a:p>
        </p:txBody>
      </p:sp>
      <p:pic>
        <p:nvPicPr>
          <p:cNvPr id="17" name="MS logo gray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60630" y="6233445"/>
            <a:ext cx="1451658" cy="310896"/>
          </a:xfrm>
          <a:prstGeom prst="rect">
            <a:avLst/>
          </a:prstGeom>
        </p:spPr>
      </p:pic>
    </p:spTree>
    <p:extLst>
      <p:ext uri="{BB962C8B-B14F-4D97-AF65-F5344CB8AC3E}">
        <p14:creationId xmlns:p14="http://schemas.microsoft.com/office/powerpoint/2010/main" val="156160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04" y="6220609"/>
            <a:ext cx="4571417"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60630" y="479425"/>
            <a:ext cx="1451658" cy="310896"/>
          </a:xfrm>
          <a:prstGeom prst="rect">
            <a:avLst/>
          </a:prstGeom>
        </p:spPr>
      </p:pic>
    </p:spTree>
    <p:extLst>
      <p:ext uri="{BB962C8B-B14F-4D97-AF65-F5344CB8AC3E}">
        <p14:creationId xmlns:p14="http://schemas.microsoft.com/office/powerpoint/2010/main" val="1177866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04" y="6220609"/>
            <a:ext cx="4571417"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60630" y="3368481"/>
            <a:ext cx="1451658" cy="310896"/>
          </a:xfrm>
          <a:prstGeom prst="rect">
            <a:avLst/>
          </a:prstGeom>
        </p:spPr>
      </p:pic>
    </p:spTree>
    <p:extLst>
      <p:ext uri="{BB962C8B-B14F-4D97-AF65-F5344CB8AC3E}">
        <p14:creationId xmlns:p14="http://schemas.microsoft.com/office/powerpoint/2010/main" val="30271446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457200" y="1212851"/>
            <a:ext cx="11520488" cy="1960537"/>
          </a:xfrm>
          <a:prstGeom prst="rect">
            <a:avLst/>
          </a:prstGeom>
        </p:spPr>
        <p:txBody>
          <a:bodyPr/>
          <a:lstStyle>
            <a:lvl1pPr marL="0" indent="0">
              <a:buClr>
                <a:schemeClr val="tx1"/>
              </a:buClr>
              <a:buSzPct val="90000"/>
              <a:buFont typeface="Arial" pitchFamily="34" charset="0"/>
              <a:buNone/>
              <a:defRPr sz="2800" b="0" i="0">
                <a:gradFill>
                  <a:gsLst>
                    <a:gs pos="1250">
                      <a:schemeClr val="tx1"/>
                    </a:gs>
                    <a:gs pos="100000">
                      <a:schemeClr val="tx1"/>
                    </a:gs>
                  </a:gsLst>
                  <a:lin ang="5400000" scaled="0"/>
                </a:gradFill>
                <a:latin typeface="+mn-lt"/>
                <a:ea typeface="Segoe UI" pitchFamily="34" charset="0"/>
                <a:cs typeface="Segoe UI" pitchFamily="34" charset="0"/>
              </a:defRPr>
            </a:lvl1pPr>
            <a:lvl2pPr marL="290512" indent="0">
              <a:buClr>
                <a:schemeClr val="tx1"/>
              </a:buClr>
              <a:buSzPct val="90000"/>
              <a:buFont typeface="Arial" pitchFamily="34" charset="0"/>
              <a:buNone/>
              <a:defRPr sz="2400" b="0" i="0">
                <a:gradFill>
                  <a:gsLst>
                    <a:gs pos="1250">
                      <a:schemeClr val="tx1"/>
                    </a:gs>
                    <a:gs pos="100000">
                      <a:schemeClr val="tx1"/>
                    </a:gs>
                  </a:gsLst>
                  <a:lin ang="5400000" scaled="0"/>
                </a:gradFill>
                <a:latin typeface="+mn-lt"/>
                <a:ea typeface="Segoe UI" pitchFamily="34" charset="0"/>
                <a:cs typeface="Segoe UI" pitchFamily="34" charset="0"/>
              </a:defRPr>
            </a:lvl2pPr>
            <a:lvl3pPr marL="571500" indent="0">
              <a:buClr>
                <a:schemeClr val="tx1"/>
              </a:buClr>
              <a:buSzPct val="90000"/>
              <a:buFont typeface="Arial" pitchFamily="34" charset="0"/>
              <a:buNone/>
              <a:defRPr sz="2000" b="0" i="0">
                <a:gradFill>
                  <a:gsLst>
                    <a:gs pos="1250">
                      <a:schemeClr val="tx1"/>
                    </a:gs>
                    <a:gs pos="100000">
                      <a:schemeClr val="tx1"/>
                    </a:gs>
                  </a:gsLst>
                  <a:lin ang="5400000" scaled="0"/>
                </a:gradFill>
                <a:latin typeface="+mn-lt"/>
                <a:ea typeface="Segoe UI" pitchFamily="34" charset="0"/>
                <a:cs typeface="Segoe UI" pitchFamily="34" charset="0"/>
              </a:defRPr>
            </a:lvl3pPr>
            <a:lvl4pPr marL="862013" indent="0">
              <a:buClr>
                <a:schemeClr val="tx1"/>
              </a:buClr>
              <a:buSzPct val="90000"/>
              <a:buFont typeface="Arial" pitchFamily="34" charset="0"/>
              <a:buNone/>
              <a:defRPr sz="1800" b="0" i="0">
                <a:gradFill>
                  <a:gsLst>
                    <a:gs pos="1250">
                      <a:schemeClr val="tx1"/>
                    </a:gs>
                    <a:gs pos="100000">
                      <a:schemeClr val="tx1"/>
                    </a:gs>
                  </a:gsLst>
                  <a:lin ang="5400000" scaled="0"/>
                </a:gradFill>
                <a:latin typeface="+mn-lt"/>
                <a:ea typeface="Segoe UI" pitchFamily="34" charset="0"/>
                <a:cs typeface="Segoe UI" pitchFamily="34" charset="0"/>
              </a:defRPr>
            </a:lvl4pPr>
            <a:lvl5pPr marL="1090613" indent="0">
              <a:buClr>
                <a:schemeClr val="tx1"/>
              </a:buClr>
              <a:buSzPct val="90000"/>
              <a:buFont typeface="Arial" pitchFamily="34" charset="0"/>
              <a:buNone/>
              <a:defRPr sz="1600" b="0" i="0">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i="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774240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3" y="1624"/>
          <a:ext cx="1619" cy="1619"/>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p:cNvPicPr/>
                      <p:nvPr/>
                    </p:nvPicPr>
                    <p:blipFill>
                      <a:blip r:embed="rId4"/>
                      <a:stretch>
                        <a:fillRect/>
                      </a:stretch>
                    </p:blipFill>
                    <p:spPr>
                      <a:xfrm>
                        <a:off x="1623" y="1624"/>
                        <a:ext cx="1619" cy="1619"/>
                      </a:xfrm>
                      <a:prstGeom prst="rect">
                        <a:avLst/>
                      </a:prstGeom>
                    </p:spPr>
                  </p:pic>
                </p:oleObj>
              </mc:Fallback>
            </mc:AlternateContent>
          </a:graphicData>
        </a:graphic>
      </p:graphicFrame>
      <p:sp>
        <p:nvSpPr>
          <p:cNvPr id="2" name="Title 1"/>
          <p:cNvSpPr>
            <a:spLocks noGrp="1"/>
          </p:cNvSpPr>
          <p:nvPr>
            <p:ph type="title"/>
          </p:nvPr>
        </p:nvSpPr>
        <p:spPr>
          <a:xfrm>
            <a:off x="457200" y="502479"/>
            <a:ext cx="11666816" cy="828981"/>
          </a:xfrm>
          <a:prstGeom prst="rect">
            <a:avLst/>
          </a:prstGeom>
        </p:spPr>
        <p:txBody>
          <a:bodyPr lIns="0" tIns="45491" rIns="90980" bIns="45491"/>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914768598"/>
      </p:ext>
    </p:extLst>
  </p:cSld>
  <p:clrMapOvr>
    <a:masterClrMapping/>
  </p:clrMapOvr>
  <p:transition>
    <p:fade/>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57200" y="502479"/>
            <a:ext cx="11374084" cy="553998"/>
          </a:xfrm>
          <a:prstGeom prst="rect">
            <a:avLst/>
          </a:prstGeom>
        </p:spPr>
        <p:txBody>
          <a:bodyPr vert="horz" wrap="square" lIns="0" tIns="0" rIns="0" bIns="0" rtlCol="0" anchor="t">
            <a:spAutoFit/>
          </a:bodyPr>
          <a:lstStyle/>
          <a:p>
            <a:r>
              <a:rPr lang="en-US"/>
              <a:t>Click to edit Master title style</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33907" y="6308819"/>
            <a:ext cx="1958829" cy="720533"/>
          </a:xfrm>
          <a:prstGeom prst="rect">
            <a:avLst/>
          </a:prstGeom>
        </p:spPr>
      </p:pic>
    </p:spTree>
    <p:extLst>
      <p:ext uri="{BB962C8B-B14F-4D97-AF65-F5344CB8AC3E}">
        <p14:creationId xmlns:p14="http://schemas.microsoft.com/office/powerpoint/2010/main" val="3074350765"/>
      </p:ext>
    </p:extLst>
  </p:cSld>
  <p:clrMapOvr>
    <a:masterClrMapping/>
  </p:clrMapOvr>
  <p:transition spd="med">
    <p:push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457201" y="1510717"/>
            <a:ext cx="1152049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1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457235" y="502479"/>
            <a:ext cx="11520275" cy="917575"/>
          </a:xfrm>
        </p:spPr>
        <p:txBody>
          <a:bodyPr/>
          <a:lstStyle>
            <a:lvl1pPr>
              <a:defRPr sz="47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302739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1634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1634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1638593"/>
      </p:ext>
    </p:extLst>
  </p:cSld>
  <p:clrMapOvr>
    <a:masterClrMapping/>
  </p:clrMapOvr>
  <p:transition>
    <p:fade/>
  </p:transition>
  <p:extLst>
    <p:ext uri="{DCECCB84-F9BA-43D5-87BE-67443E8EF086}">
      <p15:sldGuideLst xmlns:p15="http://schemas.microsoft.com/office/powerpoint/2012/main">
        <p15:guide id="1" orient="horz" pos="294">
          <p15:clr>
            <a:srgbClr val="5ACBF0"/>
          </p15:clr>
        </p15:guide>
        <p15:guide id="2" orient="horz" pos="1301">
          <p15:clr>
            <a:srgbClr val="5ACBF0"/>
          </p15:clr>
        </p15:guide>
        <p15:guide id="3" orient="horz" pos="922">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with photo and tile">
    <p:spTree>
      <p:nvGrpSpPr>
        <p:cNvPr id="1" name=""/>
        <p:cNvGrpSpPr/>
        <p:nvPr/>
      </p:nvGrpSpPr>
      <p:grpSpPr>
        <a:xfrm>
          <a:off x="0" y="0"/>
          <a:ext cx="0" cy="0"/>
          <a:chOff x="0" y="0"/>
          <a:chExt cx="0" cy="0"/>
        </a:xfrm>
      </p:grpSpPr>
      <p:sp>
        <p:nvSpPr>
          <p:cNvPr id="10" name="Rectangle 9"/>
          <p:cNvSpPr/>
          <p:nvPr userDrawn="1"/>
        </p:nvSpPr>
        <p:spPr bwMode="auto">
          <a:xfrm>
            <a:off x="2" y="1"/>
            <a:ext cx="7050139" cy="6994525"/>
          </a:xfrm>
          <a:prstGeom prst="rect">
            <a:avLst/>
          </a:prstGeom>
          <a:gradFill flip="none" rotWithShape="1">
            <a:gsLst>
              <a:gs pos="22000">
                <a:srgbClr val="000000">
                  <a:alpha val="47000"/>
                </a:srgbClr>
              </a:gs>
              <a:gs pos="89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67" y="2701179"/>
            <a:ext cx="6399919" cy="1828800"/>
          </a:xfrm>
          <a:noFill/>
        </p:spPr>
        <p:txBody>
          <a:bodyPr lIns="146304" tIns="91440" rIns="146304" bIns="91440" anchor="t" anchorCtr="0"/>
          <a:lstStyle>
            <a:lvl1pPr>
              <a:defRPr sz="4800"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15" y="4868863"/>
            <a:ext cx="6401571" cy="553998"/>
          </a:xfrm>
        </p:spPr>
        <p:txBody>
          <a:bodyPr wrap="square" lIns="164592" tIns="109728" rIns="164592" bIns="109728">
            <a:spAutoFit/>
          </a:bodyPr>
          <a:lstStyle>
            <a:lvl1pPr marL="0" indent="0">
              <a:spcBef>
                <a:spcPts val="0"/>
              </a:spcBef>
              <a:buNone/>
              <a:defRPr sz="2400">
                <a:solidFill>
                  <a:schemeClr val="bg1"/>
                </a:solidFill>
                <a:latin typeface="+mn-lt"/>
              </a:defRPr>
            </a:lvl1pPr>
          </a:lstStyle>
          <a:p>
            <a:pPr lvl="0"/>
            <a:r>
              <a:rPr lang="en-US"/>
              <a:t>Speaker name</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60630" y="6233445"/>
            <a:ext cx="1451658" cy="310896"/>
          </a:xfrm>
          <a:prstGeom prst="rect">
            <a:avLst/>
          </a:prstGeom>
        </p:spPr>
      </p:pic>
    </p:spTree>
    <p:extLst>
      <p:ext uri="{BB962C8B-B14F-4D97-AF65-F5344CB8AC3E}">
        <p14:creationId xmlns:p14="http://schemas.microsoft.com/office/powerpoint/2010/main" val="1681052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with photo and til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701179"/>
            <a:ext cx="6399919" cy="1828800"/>
          </a:xfrm>
          <a:noFill/>
        </p:spPr>
        <p:txBody>
          <a:bodyPr lIns="146304" tIns="91440" rIns="146304" bIns="91440" anchor="t" anchorCtr="0"/>
          <a:lstStyle>
            <a:lvl1pPr>
              <a:defRPr sz="4800"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15" y="4868863"/>
            <a:ext cx="6401571" cy="553998"/>
          </a:xfrm>
        </p:spPr>
        <p:txBody>
          <a:bodyPr wrap="square" lIns="164592" tIns="109728" rIns="164592" bIns="109728">
            <a:spAutoFit/>
          </a:bodyPr>
          <a:lstStyle>
            <a:lvl1pPr marL="0" indent="0">
              <a:spcBef>
                <a:spcPts val="0"/>
              </a:spcBef>
              <a:buNone/>
              <a:defRPr sz="2400">
                <a:solidFill>
                  <a:schemeClr val="tx1"/>
                </a:solidFill>
                <a:latin typeface="+mn-lt"/>
              </a:defRPr>
            </a:lvl1pPr>
          </a:lstStyle>
          <a:p>
            <a:pPr lvl="0"/>
            <a:r>
              <a:rPr lang="en-US"/>
              <a:t>Speaker name</a:t>
            </a:r>
          </a:p>
        </p:txBody>
      </p:sp>
      <p:pic>
        <p:nvPicPr>
          <p:cNvPr id="8" name="MS logo white - EMF" descr="Microsoft Logo"/>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60630" y="6233445"/>
            <a:ext cx="1451658" cy="310896"/>
          </a:xfrm>
          <a:prstGeom prst="rect">
            <a:avLst/>
          </a:prstGeom>
        </p:spPr>
      </p:pic>
    </p:spTree>
    <p:extLst>
      <p:ext uri="{BB962C8B-B14F-4D97-AF65-F5344CB8AC3E}">
        <p14:creationId xmlns:p14="http://schemas.microsoft.com/office/powerpoint/2010/main" val="2628316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666" y="3955787"/>
            <a:ext cx="7314204"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60630" y="6233445"/>
            <a:ext cx="1451658" cy="310896"/>
          </a:xfrm>
          <a:prstGeom prst="rect">
            <a:avLst/>
          </a:prstGeom>
        </p:spPr>
      </p:pic>
    </p:spTree>
    <p:extLst>
      <p:ext uri="{BB962C8B-B14F-4D97-AF65-F5344CB8AC3E}">
        <p14:creationId xmlns:p14="http://schemas.microsoft.com/office/powerpoint/2010/main" val="3946563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119179"/>
            <a:ext cx="493713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3"/>
            <a:ext cx="493713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60630" y="6233445"/>
            <a:ext cx="1451658" cy="310896"/>
          </a:xfrm>
          <a:prstGeom prst="rect">
            <a:avLst/>
          </a:prstGeom>
        </p:spPr>
      </p:pic>
    </p:spTree>
    <p:extLst>
      <p:ext uri="{BB962C8B-B14F-4D97-AF65-F5344CB8AC3E}">
        <p14:creationId xmlns:p14="http://schemas.microsoft.com/office/powerpoint/2010/main" val="3553932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a:xfrm>
            <a:off x="457235" y="502479"/>
            <a:ext cx="11520275" cy="917575"/>
          </a:xfrm>
        </p:spPr>
        <p:txBody>
          <a:bodyPr lIns="0"/>
          <a:lstStyle/>
          <a:p>
            <a:r>
              <a:rPr lang="en-US"/>
              <a:t>Click to edit Master title style</a:t>
            </a:r>
          </a:p>
        </p:txBody>
      </p:sp>
      <p:sp>
        <p:nvSpPr>
          <p:cNvPr id="3" name="Text Placeholder 2"/>
          <p:cNvSpPr>
            <a:spLocks noGrp="1"/>
          </p:cNvSpPr>
          <p:nvPr>
            <p:ph type="body" sz="quarter" idx="10"/>
          </p:nvPr>
        </p:nvSpPr>
        <p:spPr>
          <a:xfrm>
            <a:off x="457199" y="1523804"/>
            <a:ext cx="11520489" cy="16342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34072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502479"/>
            <a:ext cx="11520487" cy="917575"/>
          </a:xfrm>
        </p:spPr>
        <p:txBody>
          <a:bodyPr lIns="0"/>
          <a:lstStyle/>
          <a:p>
            <a:r>
              <a:rPr lang="en-US"/>
              <a:t>Click to edit Master title style</a:t>
            </a:r>
          </a:p>
        </p:txBody>
      </p:sp>
    </p:spTree>
    <p:extLst>
      <p:ext uri="{BB962C8B-B14F-4D97-AF65-F5344CB8AC3E}">
        <p14:creationId xmlns:p14="http://schemas.microsoft.com/office/powerpoint/2010/main" val="139746103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457235" y="502479"/>
            <a:ext cx="11520275" cy="917575"/>
          </a:xfrm>
        </p:spPr>
        <p:txBody>
          <a:bodyPr/>
          <a:lstStyle/>
          <a:p>
            <a:r>
              <a:rPr lang="en-US"/>
              <a:t>Click to edit Master title style</a:t>
            </a:r>
          </a:p>
        </p:txBody>
      </p:sp>
      <p:sp>
        <p:nvSpPr>
          <p:cNvPr id="4" name="Text Placeholder 3"/>
          <p:cNvSpPr>
            <a:spLocks noGrp="1"/>
          </p:cNvSpPr>
          <p:nvPr>
            <p:ph type="body" sz="quarter" idx="10"/>
          </p:nvPr>
        </p:nvSpPr>
        <p:spPr>
          <a:xfrm>
            <a:off x="457200" y="1489079"/>
            <a:ext cx="54856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hasCustomPrompt="1"/>
          </p:nvPr>
        </p:nvSpPr>
        <p:spPr>
          <a:xfrm>
            <a:off x="6491989" y="1489079"/>
            <a:ext cx="5485699" cy="2462213"/>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17539189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35" y="402519"/>
            <a:ext cx="11520275" cy="917575"/>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57200" y="1590435"/>
            <a:ext cx="11517983" cy="144962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0460716"/>
      </p:ext>
    </p:extLst>
  </p:cSld>
  <p:clrMap bg1="lt1" tx1="dk1" bg2="lt2" tx2="dk2" accent1="accent1" accent2="accent2" accent3="accent3" accent4="accent4" accent5="accent5" accent6="accent6" hlink="hlink" folHlink="folHlink"/>
  <p:sldLayoutIdLst>
    <p:sldLayoutId id="2147485153" r:id="rId1"/>
    <p:sldLayoutId id="2147485154" r:id="rId2"/>
    <p:sldLayoutId id="2147485156" r:id="rId3"/>
    <p:sldLayoutId id="2147485209" r:id="rId4"/>
    <p:sldLayoutId id="2147485157" r:id="rId5"/>
    <p:sldLayoutId id="2147485158" r:id="rId6"/>
    <p:sldLayoutId id="2147485159" r:id="rId7"/>
    <p:sldLayoutId id="2147485160" r:id="rId8"/>
    <p:sldLayoutId id="2147485161" r:id="rId9"/>
    <p:sldLayoutId id="2147485162" r:id="rId10"/>
    <p:sldLayoutId id="2147485163" r:id="rId11"/>
    <p:sldLayoutId id="2147485164" r:id="rId12"/>
    <p:sldLayoutId id="2147485165" r:id="rId13"/>
    <p:sldLayoutId id="2147485166" r:id="rId14"/>
    <p:sldLayoutId id="2147485167" r:id="rId15"/>
    <p:sldLayoutId id="2147485168" r:id="rId16"/>
    <p:sldLayoutId id="2147485169" r:id="rId17"/>
    <p:sldLayoutId id="2147485170" r:id="rId18"/>
    <p:sldLayoutId id="2147485171" r:id="rId19"/>
    <p:sldLayoutId id="2147485172" r:id="rId20"/>
    <p:sldLayoutId id="2147485173" r:id="rId21"/>
    <p:sldLayoutId id="2147485174" r:id="rId22"/>
    <p:sldLayoutId id="2147485176" r:id="rId23"/>
    <p:sldLayoutId id="2147485177" r:id="rId24"/>
    <p:sldLayoutId id="2147485178" r:id="rId25"/>
    <p:sldLayoutId id="2147485208" r:id="rId26"/>
  </p:sldLayoutIdLst>
  <p:transition>
    <p:fade/>
  </p:transition>
  <p:hf hdr="0" ftr="0" dt="0"/>
  <p:txStyles>
    <p:titleStyle>
      <a:lvl1pPr algn="l" defTabSz="932742" rtl="0" eaLnBrk="1" latinLnBrk="0" hangingPunct="1">
        <a:lnSpc>
          <a:spcPct val="90000"/>
        </a:lnSpc>
        <a:spcBef>
          <a:spcPct val="0"/>
        </a:spcBef>
        <a:buNone/>
        <a:defRPr lang="en-US" sz="4000" b="0" kern="1200" cap="none" spc="-102" baseline="0" dirty="0" smtClean="0">
          <a:ln w="3175">
            <a:noFill/>
          </a:ln>
          <a:solidFill>
            <a:schemeClr val="accent2"/>
          </a:solidFill>
          <a:effectLst/>
          <a:latin typeface="+mj-lt"/>
          <a:ea typeface="+mn-ea"/>
          <a:cs typeface="Segoe UI" pitchFamily="34" charset="0"/>
        </a:defRPr>
      </a:lvl1pPr>
    </p:titleStyle>
    <p:body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b="0" i="0" kern="1200" spc="0" baseline="0">
          <a:solidFill>
            <a:schemeClr val="tx1"/>
          </a:solidFill>
          <a:latin typeface="+mn-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b="0" i="0" kern="1200" spc="0" baseline="0">
          <a:solidFill>
            <a:schemeClr val="tx1"/>
          </a:solidFill>
          <a:latin typeface="+mn-lt"/>
          <a:ea typeface="+mn-ea"/>
          <a:cs typeface="+mn-cs"/>
        </a:defRPr>
      </a:lvl2pPr>
      <a:lvl3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600" b="0" i="0" kern="1200" spc="0" baseline="0">
          <a:solidFill>
            <a:schemeClr val="tx1"/>
          </a:solidFill>
          <a:latin typeface="+mn-lt"/>
          <a:ea typeface="+mn-ea"/>
          <a:cs typeface="+mn-cs"/>
        </a:defRPr>
      </a:lvl3pPr>
      <a:lvl4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600" b="0" i="0" kern="1200" spc="0" baseline="0">
          <a:solidFill>
            <a:schemeClr val="tx1"/>
          </a:solidFill>
          <a:latin typeface="+mn-lt"/>
          <a:ea typeface="+mn-ea"/>
          <a:cs typeface="+mn-cs"/>
        </a:defRPr>
      </a:lvl4pPr>
      <a:lvl5pPr marL="9144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600" b="0" i="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4" userDrawn="1">
          <p15:clr>
            <a:srgbClr val="5ACBF0"/>
          </p15:clr>
        </p15:guide>
        <p15:guide id="10" pos="4780" userDrawn="1">
          <p15:clr>
            <a:srgbClr val="5ACBF0"/>
          </p15:clr>
        </p15:guide>
        <p15:guide id="11" pos="5356" userDrawn="1">
          <p15:clr>
            <a:srgbClr val="5ACBF0"/>
          </p15:clr>
        </p15:guide>
        <p15:guide id="12" pos="5932" userDrawn="1">
          <p15:clr>
            <a:srgbClr val="5ACBF0"/>
          </p15:clr>
        </p15:guide>
        <p15:guide id="13" pos="6508" userDrawn="1">
          <p15:clr>
            <a:srgbClr val="5ACBF0"/>
          </p15:clr>
        </p15:guide>
        <p15:guide id="14" pos="7084" userDrawn="1">
          <p15:clr>
            <a:srgbClr val="5ACBF0"/>
          </p15:clr>
        </p15:guide>
        <p15:guide id="15" pos="7660" userDrawn="1">
          <p15:clr>
            <a:srgbClr val="5ACBF0"/>
          </p15:clr>
        </p15:guide>
        <p15:guide id="16" pos="288" userDrawn="1">
          <p15:clr>
            <a:srgbClr val="C35EA4"/>
          </p15:clr>
        </p15:guide>
        <p15:guide id="17" pos="7545"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71" userDrawn="1">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9.xml"/><Relationship Id="rId1" Type="http://schemas.openxmlformats.org/officeDocument/2006/relationships/slideLayout" Target="../slideLayouts/slideLayout8.xml"/><Relationship Id="rId4" Type="http://schemas.openxmlformats.org/officeDocument/2006/relationships/hyperlink" Target="https://www.nsslabs.com/tested-technologies/web-browser-security-wbs/"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12.jpeg"/><Relationship Id="rId7" Type="http://schemas.openxmlformats.org/officeDocument/2006/relationships/image" Target="../media/image16.sv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s/_rels/slide2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8" Type="http://schemas.openxmlformats.org/officeDocument/2006/relationships/image" Target="../media/image28.jpeg"/><Relationship Id="rId13" Type="http://schemas.openxmlformats.org/officeDocument/2006/relationships/image" Target="../media/image33.svg"/><Relationship Id="rId18" Type="http://schemas.openxmlformats.org/officeDocument/2006/relationships/image" Target="../media/image38.png"/><Relationship Id="rId26" Type="http://schemas.openxmlformats.org/officeDocument/2006/relationships/image" Target="../media/image46.png"/><Relationship Id="rId3" Type="http://schemas.openxmlformats.org/officeDocument/2006/relationships/image" Target="../media/image24.png"/><Relationship Id="rId21" Type="http://schemas.openxmlformats.org/officeDocument/2006/relationships/image" Target="../media/image41.png"/><Relationship Id="rId7" Type="http://schemas.openxmlformats.org/officeDocument/2006/relationships/image" Target="../media/image27.png"/><Relationship Id="rId12" Type="http://schemas.openxmlformats.org/officeDocument/2006/relationships/image" Target="../media/image32.png"/><Relationship Id="rId17" Type="http://schemas.openxmlformats.org/officeDocument/2006/relationships/image" Target="../media/image37.svg"/><Relationship Id="rId25" Type="http://schemas.openxmlformats.org/officeDocument/2006/relationships/image" Target="../media/image45.png"/><Relationship Id="rId2" Type="http://schemas.openxmlformats.org/officeDocument/2006/relationships/notesSlide" Target="../notesSlides/notesSlide19.xml"/><Relationship Id="rId16" Type="http://schemas.openxmlformats.org/officeDocument/2006/relationships/image" Target="../media/image36.png"/><Relationship Id="rId20" Type="http://schemas.openxmlformats.org/officeDocument/2006/relationships/image" Target="../media/image40.svg"/><Relationship Id="rId1" Type="http://schemas.openxmlformats.org/officeDocument/2006/relationships/slideLayout" Target="../slideLayouts/slideLayout8.xml"/><Relationship Id="rId6" Type="http://schemas.microsoft.com/office/2007/relationships/hdphoto" Target="../media/hdphoto1.wdp"/><Relationship Id="rId11" Type="http://schemas.openxmlformats.org/officeDocument/2006/relationships/image" Target="../media/image31.svg"/><Relationship Id="rId24" Type="http://schemas.openxmlformats.org/officeDocument/2006/relationships/image" Target="../media/image44.svg"/><Relationship Id="rId5" Type="http://schemas.openxmlformats.org/officeDocument/2006/relationships/image" Target="../media/image26.png"/><Relationship Id="rId15" Type="http://schemas.openxmlformats.org/officeDocument/2006/relationships/image" Target="../media/image35.svg"/><Relationship Id="rId23" Type="http://schemas.openxmlformats.org/officeDocument/2006/relationships/image" Target="../media/image43.png"/><Relationship Id="rId10" Type="http://schemas.openxmlformats.org/officeDocument/2006/relationships/image" Target="../media/image30.png"/><Relationship Id="rId19" Type="http://schemas.openxmlformats.org/officeDocument/2006/relationships/image" Target="../media/image39.png"/><Relationship Id="rId4" Type="http://schemas.openxmlformats.org/officeDocument/2006/relationships/image" Target="../media/image25.png"/><Relationship Id="rId9" Type="http://schemas.openxmlformats.org/officeDocument/2006/relationships/image" Target="../media/image29.png"/><Relationship Id="rId14" Type="http://schemas.openxmlformats.org/officeDocument/2006/relationships/image" Target="../media/image34.png"/><Relationship Id="rId22" Type="http://schemas.openxmlformats.org/officeDocument/2006/relationships/image" Target="../media/image42.svg"/><Relationship Id="rId27" Type="http://schemas.openxmlformats.org/officeDocument/2006/relationships/image" Target="../media/image47.png"/></Relationships>
</file>

<file path=ppt/slides/_rels/slide22.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32.png"/><Relationship Id="rId18" Type="http://schemas.openxmlformats.org/officeDocument/2006/relationships/image" Target="../media/image37.svg"/><Relationship Id="rId26" Type="http://schemas.openxmlformats.org/officeDocument/2006/relationships/image" Target="../media/image47.png"/><Relationship Id="rId3" Type="http://schemas.openxmlformats.org/officeDocument/2006/relationships/image" Target="../media/image48.png"/><Relationship Id="rId21" Type="http://schemas.openxmlformats.org/officeDocument/2006/relationships/image" Target="../media/image41.png"/><Relationship Id="rId7" Type="http://schemas.openxmlformats.org/officeDocument/2006/relationships/image" Target="../media/image52.png"/><Relationship Id="rId12" Type="http://schemas.openxmlformats.org/officeDocument/2006/relationships/image" Target="../media/image31.svg"/><Relationship Id="rId17" Type="http://schemas.openxmlformats.org/officeDocument/2006/relationships/image" Target="../media/image36.png"/><Relationship Id="rId25" Type="http://schemas.openxmlformats.org/officeDocument/2006/relationships/image" Target="../media/image55.png"/><Relationship Id="rId2" Type="http://schemas.openxmlformats.org/officeDocument/2006/relationships/notesSlide" Target="../notesSlides/notesSlide20.xml"/><Relationship Id="rId16" Type="http://schemas.openxmlformats.org/officeDocument/2006/relationships/image" Target="../media/image35.svg"/><Relationship Id="rId20" Type="http://schemas.openxmlformats.org/officeDocument/2006/relationships/image" Target="../media/image44.svg"/><Relationship Id="rId1" Type="http://schemas.openxmlformats.org/officeDocument/2006/relationships/slideLayout" Target="../slideLayouts/slideLayout8.xml"/><Relationship Id="rId6" Type="http://schemas.openxmlformats.org/officeDocument/2006/relationships/image" Target="../media/image51.png"/><Relationship Id="rId11" Type="http://schemas.openxmlformats.org/officeDocument/2006/relationships/image" Target="../media/image30.png"/><Relationship Id="rId24" Type="http://schemas.openxmlformats.org/officeDocument/2006/relationships/image" Target="../media/image54.png"/><Relationship Id="rId5" Type="http://schemas.openxmlformats.org/officeDocument/2006/relationships/image" Target="../media/image50.png"/><Relationship Id="rId15" Type="http://schemas.openxmlformats.org/officeDocument/2006/relationships/image" Target="../media/image34.png"/><Relationship Id="rId23" Type="http://schemas.openxmlformats.org/officeDocument/2006/relationships/image" Target="../media/image53.png"/><Relationship Id="rId10" Type="http://schemas.openxmlformats.org/officeDocument/2006/relationships/image" Target="../media/image40.svg"/><Relationship Id="rId19" Type="http://schemas.openxmlformats.org/officeDocument/2006/relationships/image" Target="../media/image43.png"/><Relationship Id="rId4" Type="http://schemas.openxmlformats.org/officeDocument/2006/relationships/image" Target="../media/image49.png"/><Relationship Id="rId9" Type="http://schemas.openxmlformats.org/officeDocument/2006/relationships/image" Target="../media/image39.png"/><Relationship Id="rId14" Type="http://schemas.openxmlformats.org/officeDocument/2006/relationships/image" Target="../media/image33.svg"/><Relationship Id="rId22" Type="http://schemas.openxmlformats.org/officeDocument/2006/relationships/image" Target="../media/image42.svg"/></Relationships>
</file>

<file path=ppt/slides/_rels/slide2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1.xml"/><Relationship Id="rId1" Type="http://schemas.openxmlformats.org/officeDocument/2006/relationships/slideLayout" Target="../slideLayouts/slideLayout8.xml"/><Relationship Id="rId4" Type="http://schemas.openxmlformats.org/officeDocument/2006/relationships/image" Target="../media/image57.png"/></Relationships>
</file>

<file path=ppt/slides/_rels/slide24.xml.rels><?xml version="1.0" encoding="UTF-8" standalone="yes"?>
<Relationships xmlns="http://schemas.openxmlformats.org/package/2006/relationships"><Relationship Id="rId3" Type="http://schemas.openxmlformats.org/officeDocument/2006/relationships/hyperlink" Target="https://aka.ms/pd-devices-flyer" TargetMode="External"/><Relationship Id="rId2" Type="http://schemas.openxmlformats.org/officeDocument/2006/relationships/notesSlide" Target="../notesSlides/notesSlide22.xml"/><Relationship Id="rId1" Type="http://schemas.openxmlformats.org/officeDocument/2006/relationships/slideLayout" Target="../slideLayouts/slideLayout12.xml"/><Relationship Id="rId4" Type="http://schemas.openxmlformats.org/officeDocument/2006/relationships/hyperlink" Target="https://www.microsoft.com/en-us/education/products/windows/shapethefuture.aspx" TargetMode="External"/></Relationships>
</file>

<file path=ppt/slides/_rels/slide25.xml.rels><?xml version="1.0" encoding="UTF-8" standalone="yes"?>
<Relationships xmlns="http://schemas.openxmlformats.org/package/2006/relationships"><Relationship Id="rId8" Type="http://schemas.openxmlformats.org/officeDocument/2006/relationships/hyperlink" Target="https://aka.ms/MRSEDUtrain" TargetMode="External"/><Relationship Id="rId3" Type="http://schemas.openxmlformats.org/officeDocument/2006/relationships/hyperlink" Target="https://www.microsoft.com/en-us/education/devices/" TargetMode="External"/><Relationship Id="rId7" Type="http://schemas.openxmlformats.org/officeDocument/2006/relationships/hyperlink" Target="https://education.microsoft.com/en-us" TargetMode="External"/><Relationship Id="rId2" Type="http://schemas.openxmlformats.org/officeDocument/2006/relationships/notesSlide" Target="../notesSlides/notesSlide23.xml"/><Relationship Id="rId1" Type="http://schemas.openxmlformats.org/officeDocument/2006/relationships/slideLayout" Target="../slideLayouts/slideLayout12.xml"/><Relationship Id="rId6" Type="http://schemas.openxmlformats.org/officeDocument/2006/relationships/hyperlink" Target="https://aka.ms/TeamsEduRemote" TargetMode="External"/><Relationship Id="rId5" Type="http://schemas.openxmlformats.org/officeDocument/2006/relationships/hyperlink" Target="https://aka.ms/officeeducation" TargetMode="External"/><Relationship Id="rId4" Type="http://schemas.openxmlformats.org/officeDocument/2006/relationships/hyperlink" Target="aka.ms/educationsales" TargetMode="External"/><Relationship Id="rId9" Type="http://schemas.openxmlformats.org/officeDocument/2006/relationships/image" Target="../media/image58.jpeg"/></Relationships>
</file>

<file path=ppt/slides/_rels/slide2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hyperlink" Target="v" TargetMode="External"/><Relationship Id="rId2" Type="http://schemas.openxmlformats.org/officeDocument/2006/relationships/notesSlide" Target="../notesSlides/notesSlide25.xml"/><Relationship Id="rId1" Type="http://schemas.openxmlformats.org/officeDocument/2006/relationships/slideLayout" Target="../slideLayouts/slideLayout8.xml"/><Relationship Id="rId5" Type="http://schemas.openxmlformats.org/officeDocument/2006/relationships/hyperlink" Target="https://www.wired.com/story/over-a-billion-android-devices-are-at-risk-of-data-theft/" TargetMode="External"/><Relationship Id="rId4" Type="http://schemas.openxmlformats.org/officeDocument/2006/relationships/hyperlink" Target="https://www.washingtonpost.com/technology/2020/05/27/google-android-privacy-lawsuit/"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000">
                <a:solidFill>
                  <a:srgbClr val="FFFFFF"/>
                </a:solidFill>
                <a:latin typeface="+mj-lt"/>
                <a:ea typeface="+mn-ea"/>
              </a:rPr>
              <a:t>Seller guidance </a:t>
            </a:r>
            <a:r>
              <a:rPr lang="en-US" sz="4000">
                <a:latin typeface="Segoe UI Light" panose="020B0502040204020203" pitchFamily="34" charset="0"/>
                <a:cs typeface="Segoe UI Light" panose="020B0502040204020203" pitchFamily="34" charset="0"/>
              </a:rPr>
              <a:t>| K12 </a:t>
            </a:r>
            <a:r>
              <a:rPr lang="en-US" sz="4000">
                <a:solidFill>
                  <a:srgbClr val="FFFFFF"/>
                </a:solidFill>
                <a:latin typeface="+mj-lt"/>
                <a:ea typeface="+mn-ea"/>
              </a:rPr>
              <a:t>Buying Season Campaign deck</a:t>
            </a:r>
            <a:endParaRPr lang="en-US" sz="4000" b="1">
              <a:latin typeface="Segoe UI Light" panose="020B0502040204020203" pitchFamily="34" charset="0"/>
              <a:cs typeface="Segoe UI Light" panose="020B0502040204020203" pitchFamily="34" charset="0"/>
            </a:endParaRPr>
          </a:p>
        </p:txBody>
      </p:sp>
      <p:sp>
        <p:nvSpPr>
          <p:cNvPr id="12" name="Text Placeholder 3">
            <a:extLst>
              <a:ext uri="{FF2B5EF4-FFF2-40B4-BE49-F238E27FC236}">
                <a16:creationId xmlns:a16="http://schemas.microsoft.com/office/drawing/2014/main" id="{F0CCDB72-0FB9-405D-8518-C83E11F4C74F}"/>
              </a:ext>
            </a:extLst>
          </p:cNvPr>
          <p:cNvSpPr txBox="1">
            <a:spLocks/>
          </p:cNvSpPr>
          <p:nvPr/>
        </p:nvSpPr>
        <p:spPr bwMode="white">
          <a:xfrm>
            <a:off x="273848" y="1125539"/>
            <a:ext cx="7095030" cy="4716676"/>
          </a:xfrm>
          <a:prstGeom prst="rect">
            <a:avLst/>
          </a:prstGeom>
        </p:spPr>
        <p:txBody>
          <a:bodyPr vert="horz" wrap="square" lIns="146304" tIns="91440" rIns="146304" bIns="91440" rtlCol="0">
            <a:spAutoFit/>
          </a:bodyPr>
          <a:lstStyle>
            <a:lvl1pPr marL="290513" marR="0" indent="-290513" algn="l" defTabSz="932742" rtl="0" eaLnBrk="1" fontAlgn="auto" latinLnBrk="0" hangingPunct="1">
              <a:lnSpc>
                <a:spcPct val="90000"/>
              </a:lnSpc>
              <a:spcBef>
                <a:spcPct val="20000"/>
              </a:spcBef>
              <a:spcAft>
                <a:spcPts val="0"/>
              </a:spcAft>
              <a:buClr>
                <a:schemeClr val="tx1"/>
              </a:buClr>
              <a:buSzPct val="90000"/>
              <a:buFont typeface="Arial" pitchFamily="34" charset="0"/>
              <a:buChar char="•"/>
              <a:tabLst/>
              <a:defRPr sz="3600" kern="1200" spc="0" baseline="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marR="0" indent="-280988" algn="l" defTabSz="932742" rtl="0" eaLnBrk="1" fontAlgn="auto" latinLnBrk="0" hangingPunct="1">
              <a:lnSpc>
                <a:spcPct val="90000"/>
              </a:lnSpc>
              <a:spcBef>
                <a:spcPct val="20000"/>
              </a:spcBef>
              <a:spcAft>
                <a:spcPts val="0"/>
              </a:spcAft>
              <a:buClr>
                <a:schemeClr val="tx1"/>
              </a:buClr>
              <a:buSzPct val="90000"/>
              <a:buFont typeface="Arial" pitchFamily="34" charset="0"/>
              <a:buChar char="•"/>
              <a:tabLst/>
              <a:defRPr sz="3200" kern="1200" spc="0" baseline="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marR="0" indent="-290513" algn="l" defTabSz="932742" rtl="0" eaLnBrk="1" fontAlgn="auto" latinLnBrk="0" hangingPunct="1">
              <a:lnSpc>
                <a:spcPct val="90000"/>
              </a:lnSpc>
              <a:spcBef>
                <a:spcPct val="20000"/>
              </a:spcBef>
              <a:spcAft>
                <a:spcPts val="0"/>
              </a:spcAft>
              <a:buClr>
                <a:schemeClr val="tx1"/>
              </a:buClr>
              <a:buSzPct val="90000"/>
              <a:buFont typeface="Arial" pitchFamily="34" charset="0"/>
              <a:buChar char="•"/>
              <a:tabLst/>
              <a:defRPr sz="2800" kern="1200" spc="0" baseline="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marR="0" indent="-228600" algn="l" defTabSz="932742" rtl="0" eaLnBrk="1" fontAlgn="auto" latinLnBrk="0" hangingPunct="1">
              <a:lnSpc>
                <a:spcPct val="90000"/>
              </a:lnSpc>
              <a:spcBef>
                <a:spcPct val="20000"/>
              </a:spcBef>
              <a:spcAft>
                <a:spcPts val="0"/>
              </a:spcAft>
              <a:buClr>
                <a:schemeClr val="tx1"/>
              </a:buClr>
              <a:buSzPct val="90000"/>
              <a:buFont typeface="Arial" pitchFamily="34" charset="0"/>
              <a:buChar char="•"/>
              <a:tabLst/>
              <a:defRPr sz="2400" kern="1200" spc="0" baseline="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marR="0" indent="-228600" algn="l" defTabSz="932742" rtl="0" eaLnBrk="1" fontAlgn="auto" latinLnBrk="0" hangingPunct="1">
              <a:lnSpc>
                <a:spcPct val="90000"/>
              </a:lnSpc>
              <a:spcBef>
                <a:spcPct val="20000"/>
              </a:spcBef>
              <a:spcAft>
                <a:spcPts val="0"/>
              </a:spcAft>
              <a:buClr>
                <a:schemeClr val="tx1"/>
              </a:buClr>
              <a:buSzPct val="90000"/>
              <a:buFont typeface="Arial" pitchFamily="34" charset="0"/>
              <a:buChar char="•"/>
              <a:tabLst/>
              <a:defRPr sz="2000" kern="1200" spc="0" baseline="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lnSpc>
                <a:spcPct val="100000"/>
              </a:lnSpc>
              <a:spcBef>
                <a:spcPts val="0"/>
              </a:spcBef>
              <a:spcAft>
                <a:spcPts val="300"/>
              </a:spcAft>
              <a:buNone/>
            </a:pPr>
            <a:r>
              <a:rPr lang="en-US" sz="1600" b="1">
                <a:solidFill>
                  <a:schemeClr val="tx1"/>
                </a:solidFill>
                <a:latin typeface="+mn-lt"/>
              </a:rPr>
              <a:t>Deck Overview</a:t>
            </a:r>
          </a:p>
          <a:p>
            <a:pPr marL="288925" indent="-177800" defTabSz="932563">
              <a:lnSpc>
                <a:spcPct val="100000"/>
              </a:lnSpc>
              <a:spcBef>
                <a:spcPts val="0"/>
              </a:spcBef>
              <a:spcAft>
                <a:spcPts val="300"/>
              </a:spcAft>
            </a:pPr>
            <a:r>
              <a:rPr lang="en-US" sz="1600" b="1">
                <a:solidFill>
                  <a:schemeClr val="tx1"/>
                </a:solidFill>
                <a:latin typeface="+mn-lt"/>
              </a:rPr>
              <a:t>Purpose: </a:t>
            </a:r>
            <a:r>
              <a:rPr lang="en-US" sz="1600">
                <a:solidFill>
                  <a:schemeClr val="tx1"/>
                </a:solidFill>
                <a:latin typeface="+mn-lt"/>
              </a:rPr>
              <a:t>This deck positions Microsoft Education’s Hybrid Learning solutions for K-12 business decision-makers—both for the 2021 transition back to school and for the future. </a:t>
            </a:r>
          </a:p>
          <a:p>
            <a:pPr marL="288925" indent="-177800" defTabSz="932563">
              <a:lnSpc>
                <a:spcPct val="100000"/>
              </a:lnSpc>
              <a:spcBef>
                <a:spcPts val="0"/>
              </a:spcBef>
              <a:spcAft>
                <a:spcPts val="300"/>
              </a:spcAft>
            </a:pPr>
            <a:r>
              <a:rPr lang="en-US" sz="1600" b="1">
                <a:solidFill>
                  <a:schemeClr val="tx1"/>
                </a:solidFill>
                <a:latin typeface="+mn-lt"/>
              </a:rPr>
              <a:t>Audience: </a:t>
            </a:r>
            <a:r>
              <a:rPr lang="en-US" sz="1600">
                <a:solidFill>
                  <a:schemeClr val="tx1"/>
                </a:solidFill>
                <a:latin typeface="+mn-lt"/>
              </a:rPr>
              <a:t>The audience of this presentation is LOB decision-makers; this is not a technical conversation. Example titles to target include state/provincial/regional Department of Education, system leader, school leader, IT director/CTO.</a:t>
            </a:r>
          </a:p>
          <a:p>
            <a:pPr marL="0" indent="0" defTabSz="932563">
              <a:lnSpc>
                <a:spcPct val="100000"/>
              </a:lnSpc>
              <a:spcBef>
                <a:spcPts val="600"/>
              </a:spcBef>
              <a:buNone/>
            </a:pPr>
            <a:r>
              <a:rPr lang="en-US" sz="1600" b="1">
                <a:solidFill>
                  <a:schemeClr val="tx1"/>
                </a:solidFill>
                <a:latin typeface="+mn-lt"/>
              </a:rPr>
              <a:t>Deck Usage Guidance</a:t>
            </a:r>
            <a:br>
              <a:rPr lang="en-US" sz="1600" b="1">
                <a:solidFill>
                  <a:schemeClr val="tx1"/>
                </a:solidFill>
                <a:latin typeface="+mn-lt"/>
              </a:rPr>
            </a:br>
            <a:r>
              <a:rPr lang="en-US" sz="1600">
                <a:solidFill>
                  <a:schemeClr val="tx1"/>
                </a:solidFill>
                <a:latin typeface="+mn-lt"/>
              </a:rPr>
              <a:t>This deck introduces schools’ key needs and challenges while adapting to remote and hybrid learning and how Microsoft solutions can help meet them, including three value pillars around driving better learning outcomes with affordable devices, building teacher confidence, and protecting students and data online. The deck provides information about Windows 10 and Surface devices before transitioning information about how to get started.</a:t>
            </a:r>
          </a:p>
          <a:p>
            <a:pPr marL="0" indent="0" defTabSz="932563">
              <a:lnSpc>
                <a:spcPct val="100000"/>
              </a:lnSpc>
              <a:spcBef>
                <a:spcPts val="600"/>
              </a:spcBef>
              <a:buNone/>
            </a:pPr>
            <a:endParaRPr lang="en-US" sz="1600" b="1">
              <a:solidFill>
                <a:schemeClr val="tx1"/>
              </a:solidFill>
              <a:latin typeface="+mn-lt"/>
            </a:endParaRPr>
          </a:p>
          <a:p>
            <a:pPr marL="0" indent="0" defTabSz="932563">
              <a:lnSpc>
                <a:spcPct val="100000"/>
              </a:lnSpc>
              <a:spcBef>
                <a:spcPts val="600"/>
              </a:spcBef>
              <a:buNone/>
            </a:pPr>
            <a:r>
              <a:rPr lang="en-US" sz="1600" b="1">
                <a:solidFill>
                  <a:schemeClr val="tx1"/>
                </a:solidFill>
                <a:latin typeface="+mn-lt"/>
              </a:rPr>
              <a:t>For more information,</a:t>
            </a:r>
            <a:r>
              <a:rPr lang="en-US" sz="1600">
                <a:solidFill>
                  <a:schemeClr val="tx1"/>
                </a:solidFill>
                <a:latin typeface="+mn-lt"/>
              </a:rPr>
              <a:t> contact Frank Chiappone.</a:t>
            </a:r>
          </a:p>
        </p:txBody>
      </p:sp>
      <p:sp>
        <p:nvSpPr>
          <p:cNvPr id="6" name="Text Placeholder 3">
            <a:extLst>
              <a:ext uri="{FF2B5EF4-FFF2-40B4-BE49-F238E27FC236}">
                <a16:creationId xmlns:a16="http://schemas.microsoft.com/office/drawing/2014/main" id="{16C09475-B2F8-4F05-A85F-435BD9DED8C3}"/>
              </a:ext>
            </a:extLst>
          </p:cNvPr>
          <p:cNvSpPr txBox="1">
            <a:spLocks/>
          </p:cNvSpPr>
          <p:nvPr/>
        </p:nvSpPr>
        <p:spPr bwMode="white">
          <a:xfrm>
            <a:off x="7475634" y="1138924"/>
            <a:ext cx="4501876" cy="4485843"/>
          </a:xfrm>
          <a:prstGeom prst="rect">
            <a:avLst/>
          </a:prstGeom>
        </p:spPr>
        <p:txBody>
          <a:bodyPr vert="horz" wrap="square" lIns="146304" tIns="91440" rIns="146304" bIns="91440" rtlCol="0">
            <a:spAutoFit/>
          </a:bodyPr>
          <a:lstStyle>
            <a:lvl1pPr marL="290513" marR="0" indent="-290513" algn="l" defTabSz="932742" rtl="0" eaLnBrk="1" fontAlgn="auto" latinLnBrk="0" hangingPunct="1">
              <a:lnSpc>
                <a:spcPct val="90000"/>
              </a:lnSpc>
              <a:spcBef>
                <a:spcPct val="20000"/>
              </a:spcBef>
              <a:spcAft>
                <a:spcPts val="0"/>
              </a:spcAft>
              <a:buClr>
                <a:schemeClr val="tx1"/>
              </a:buClr>
              <a:buSzPct val="90000"/>
              <a:buFont typeface="Arial" pitchFamily="34" charset="0"/>
              <a:buChar char="•"/>
              <a:tabLst/>
              <a:defRPr sz="3600" kern="1200" spc="0" baseline="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marR="0" indent="-280988" algn="l" defTabSz="932742" rtl="0" eaLnBrk="1" fontAlgn="auto" latinLnBrk="0" hangingPunct="1">
              <a:lnSpc>
                <a:spcPct val="90000"/>
              </a:lnSpc>
              <a:spcBef>
                <a:spcPct val="20000"/>
              </a:spcBef>
              <a:spcAft>
                <a:spcPts val="0"/>
              </a:spcAft>
              <a:buClr>
                <a:schemeClr val="tx1"/>
              </a:buClr>
              <a:buSzPct val="90000"/>
              <a:buFont typeface="Arial" pitchFamily="34" charset="0"/>
              <a:buChar char="•"/>
              <a:tabLst/>
              <a:defRPr sz="3200" kern="1200" spc="0" baseline="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marR="0" indent="-290513" algn="l" defTabSz="932742" rtl="0" eaLnBrk="1" fontAlgn="auto" latinLnBrk="0" hangingPunct="1">
              <a:lnSpc>
                <a:spcPct val="90000"/>
              </a:lnSpc>
              <a:spcBef>
                <a:spcPct val="20000"/>
              </a:spcBef>
              <a:spcAft>
                <a:spcPts val="0"/>
              </a:spcAft>
              <a:buClr>
                <a:schemeClr val="tx1"/>
              </a:buClr>
              <a:buSzPct val="90000"/>
              <a:buFont typeface="Arial" pitchFamily="34" charset="0"/>
              <a:buChar char="•"/>
              <a:tabLst/>
              <a:defRPr sz="2800" kern="1200" spc="0" baseline="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marR="0" indent="-228600" algn="l" defTabSz="932742" rtl="0" eaLnBrk="1" fontAlgn="auto" latinLnBrk="0" hangingPunct="1">
              <a:lnSpc>
                <a:spcPct val="90000"/>
              </a:lnSpc>
              <a:spcBef>
                <a:spcPct val="20000"/>
              </a:spcBef>
              <a:spcAft>
                <a:spcPts val="0"/>
              </a:spcAft>
              <a:buClr>
                <a:schemeClr val="tx1"/>
              </a:buClr>
              <a:buSzPct val="90000"/>
              <a:buFont typeface="Arial" pitchFamily="34" charset="0"/>
              <a:buChar char="•"/>
              <a:tabLst/>
              <a:defRPr sz="2400" kern="1200" spc="0" baseline="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marR="0" indent="-228600" algn="l" defTabSz="932742" rtl="0" eaLnBrk="1" fontAlgn="auto" latinLnBrk="0" hangingPunct="1">
              <a:lnSpc>
                <a:spcPct val="90000"/>
              </a:lnSpc>
              <a:spcBef>
                <a:spcPct val="20000"/>
              </a:spcBef>
              <a:spcAft>
                <a:spcPts val="0"/>
              </a:spcAft>
              <a:buClr>
                <a:schemeClr val="tx1"/>
              </a:buClr>
              <a:buSzPct val="90000"/>
              <a:buFont typeface="Arial" pitchFamily="34" charset="0"/>
              <a:buChar char="•"/>
              <a:tabLst/>
              <a:defRPr sz="2000" kern="1200" spc="0" baseline="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lnSpc>
                <a:spcPct val="100000"/>
              </a:lnSpc>
              <a:spcBef>
                <a:spcPts val="0"/>
              </a:spcBef>
              <a:spcAft>
                <a:spcPts val="300"/>
              </a:spcAft>
              <a:buNone/>
            </a:pPr>
            <a:r>
              <a:rPr lang="en-US" sz="1600" b="1">
                <a:solidFill>
                  <a:schemeClr val="tx1"/>
                </a:solidFill>
                <a:latin typeface="+mn-lt"/>
              </a:rPr>
              <a:t>Security Solutions</a:t>
            </a:r>
            <a:br>
              <a:rPr lang="en-US" sz="1600" b="1">
                <a:solidFill>
                  <a:schemeClr val="tx1"/>
                </a:solidFill>
                <a:latin typeface="+mn-lt"/>
              </a:rPr>
            </a:br>
            <a:r>
              <a:rPr lang="en-US" sz="1600">
                <a:solidFill>
                  <a:schemeClr val="tx1"/>
                </a:solidFill>
                <a:latin typeface="+mn-lt"/>
              </a:rPr>
              <a:t>This deck addresses security and privacy in two of the sections: devices (slides 6-10) and a security and privacy section (slides 16-19). </a:t>
            </a:r>
          </a:p>
          <a:p>
            <a:pPr marL="0" indent="0" defTabSz="932563">
              <a:lnSpc>
                <a:spcPct val="100000"/>
              </a:lnSpc>
              <a:spcBef>
                <a:spcPts val="0"/>
              </a:spcBef>
              <a:spcAft>
                <a:spcPts val="300"/>
              </a:spcAft>
              <a:buNone/>
            </a:pPr>
            <a:endParaRPr lang="en-US" sz="1600">
              <a:solidFill>
                <a:schemeClr val="tx1"/>
              </a:solidFill>
              <a:latin typeface="+mn-lt"/>
            </a:endParaRPr>
          </a:p>
          <a:p>
            <a:pPr marL="0" indent="0" defTabSz="932563">
              <a:lnSpc>
                <a:spcPct val="100000"/>
              </a:lnSpc>
              <a:spcBef>
                <a:spcPts val="0"/>
              </a:spcBef>
              <a:spcAft>
                <a:spcPts val="300"/>
              </a:spcAft>
              <a:buNone/>
            </a:pPr>
            <a:r>
              <a:rPr lang="en-US" sz="1600">
                <a:solidFill>
                  <a:schemeClr val="tx1"/>
                </a:solidFill>
                <a:latin typeface="+mn-lt"/>
              </a:rPr>
              <a:t>The first section on security (slide 10) is about on-device security and privacy protections that are built into Windows 10. The section on all-up security and privacy is based on Microsoft Office 365 with Teams, which is free for schools. This last section primarily focused on meeting controls and admin policies</a:t>
            </a:r>
            <a:r>
              <a:rPr lang="en-US" sz="1600" b="1">
                <a:solidFill>
                  <a:schemeClr val="tx1"/>
                </a:solidFill>
                <a:latin typeface="+mn-lt"/>
              </a:rPr>
              <a:t>.</a:t>
            </a:r>
            <a:br>
              <a:rPr lang="en-US" sz="1600" b="1">
                <a:solidFill>
                  <a:schemeClr val="tx1"/>
                </a:solidFill>
                <a:latin typeface="+mn-lt"/>
              </a:rPr>
            </a:br>
            <a:br>
              <a:rPr lang="en-US" sz="1600" b="1">
                <a:solidFill>
                  <a:schemeClr val="tx1"/>
                </a:solidFill>
                <a:latin typeface="+mn-lt"/>
              </a:rPr>
            </a:br>
            <a:r>
              <a:rPr lang="en-US" sz="1600" b="1">
                <a:solidFill>
                  <a:schemeClr val="tx1"/>
                </a:solidFill>
                <a:latin typeface="+mn-lt"/>
              </a:rPr>
              <a:t>Optional Slides</a:t>
            </a:r>
          </a:p>
          <a:p>
            <a:pPr marL="0" indent="0" defTabSz="932563">
              <a:lnSpc>
                <a:spcPct val="100000"/>
              </a:lnSpc>
              <a:spcBef>
                <a:spcPts val="0"/>
              </a:spcBef>
              <a:spcAft>
                <a:spcPts val="300"/>
              </a:spcAft>
              <a:buNone/>
            </a:pPr>
            <a:r>
              <a:rPr lang="en-US" sz="1600">
                <a:solidFill>
                  <a:schemeClr val="tx1"/>
                </a:solidFill>
                <a:latin typeface="+mn-lt"/>
              </a:rPr>
              <a:t>There is an optional privacy slide at the end of the deck that you can include, if useful. It might fit best after slide 19.</a:t>
            </a:r>
          </a:p>
        </p:txBody>
      </p:sp>
      <p:sp>
        <p:nvSpPr>
          <p:cNvPr id="5" name="Text Placeholder 4"/>
          <p:cNvSpPr>
            <a:spLocks noGrp="1"/>
          </p:cNvSpPr>
          <p:nvPr>
            <p:ph type="body" sz="quarter" idx="11"/>
          </p:nvPr>
        </p:nvSpPr>
        <p:spPr/>
        <p:txBody>
          <a:bodyPr/>
          <a:lstStyle/>
          <a:p>
            <a:r>
              <a:rPr lang="en-US"/>
              <a:t>SELLER REFERENCE ONLY</a:t>
            </a:r>
          </a:p>
        </p:txBody>
      </p:sp>
    </p:spTree>
    <p:extLst>
      <p:ext uri="{BB962C8B-B14F-4D97-AF65-F5344CB8AC3E}">
        <p14:creationId xmlns:p14="http://schemas.microsoft.com/office/powerpoint/2010/main" val="154490162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32FB81-6D9E-4841-8F84-B94F89C83F5C}"/>
              </a:ext>
            </a:extLst>
          </p:cNvPr>
          <p:cNvSpPr>
            <a:spLocks noGrp="1"/>
          </p:cNvSpPr>
          <p:nvPr>
            <p:ph type="title"/>
          </p:nvPr>
        </p:nvSpPr>
        <p:spPr>
          <a:xfrm>
            <a:off x="457200" y="503238"/>
            <a:ext cx="11520488" cy="917575"/>
          </a:xfrm>
        </p:spPr>
        <p:txBody>
          <a:bodyPr/>
          <a:lstStyle/>
          <a:p>
            <a:r>
              <a:rPr lang="en-US"/>
              <a:t>Secure devices and protect privacy with </a:t>
            </a:r>
            <a:br>
              <a:rPr lang="en-US"/>
            </a:br>
            <a:r>
              <a:rPr lang="en-US">
                <a:solidFill>
                  <a:schemeClr val="tx2"/>
                </a:solidFill>
                <a:latin typeface="Segoe UI Semibold" panose="020B0702040204020203" pitchFamily="34" charset="0"/>
                <a:cs typeface="Segoe UI Semibold" panose="020B0702040204020203" pitchFamily="34" charset="0"/>
              </a:rPr>
              <a:t>comprehensive security</a:t>
            </a:r>
          </a:p>
        </p:txBody>
      </p:sp>
      <p:pic>
        <p:nvPicPr>
          <p:cNvPr id="5" name="Picture 4" descr="Two young students using a computer with Microsoft Teams">
            <a:extLst>
              <a:ext uri="{FF2B5EF4-FFF2-40B4-BE49-F238E27FC236}">
                <a16:creationId xmlns:a16="http://schemas.microsoft.com/office/drawing/2014/main" id="{960518B1-9725-44D6-998D-75094641746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82635" y="1827676"/>
            <a:ext cx="5627930" cy="4786213"/>
          </a:xfrm>
          <a:prstGeom prst="rect">
            <a:avLst/>
          </a:prstGeom>
        </p:spPr>
      </p:pic>
      <p:sp>
        <p:nvSpPr>
          <p:cNvPr id="41" name="TextBox 40">
            <a:extLst>
              <a:ext uri="{FF2B5EF4-FFF2-40B4-BE49-F238E27FC236}">
                <a16:creationId xmlns:a16="http://schemas.microsoft.com/office/drawing/2014/main" id="{C336F06E-E982-4158-A040-E86514519FB1}"/>
              </a:ext>
            </a:extLst>
          </p:cNvPr>
          <p:cNvSpPr txBox="1"/>
          <p:nvPr/>
        </p:nvSpPr>
        <p:spPr>
          <a:xfrm>
            <a:off x="6451969" y="1791491"/>
            <a:ext cx="5599708" cy="830997"/>
          </a:xfrm>
          <a:prstGeom prst="rect">
            <a:avLst/>
          </a:prstGeom>
          <a:noFill/>
        </p:spPr>
        <p:txBody>
          <a:bodyPr wrap="square" lIns="0" tIns="0" rIns="0" bIns="0">
            <a:spAutoFit/>
          </a:bodyPr>
          <a:lstStyle/>
          <a:p>
            <a:pPr>
              <a:spcAft>
                <a:spcPts val="3000"/>
              </a:spcAft>
            </a:pPr>
            <a:r>
              <a:rPr lang="en-US">
                <a:solidFill>
                  <a:srgbClr val="0078D7"/>
                </a:solidFill>
                <a:latin typeface="Segoe UI Semibold" panose="020B0702040204020203" pitchFamily="34" charset="0"/>
                <a:cs typeface="Segoe UI Semibold" panose="020B0702040204020203" pitchFamily="34" charset="0"/>
              </a:rPr>
              <a:t>Block threats in the browser. </a:t>
            </a:r>
            <a:r>
              <a:rPr lang="en-US">
                <a:cs typeface="Segoe UI Semibold" panose="020B0702040204020203" pitchFamily="34" charset="0"/>
              </a:rPr>
              <a:t>Microsoft Edge offers the highest rated protection against phishing and malware attempts to help safeguard students online.</a:t>
            </a:r>
            <a:r>
              <a:rPr lang="en-US" baseline="30000">
                <a:cs typeface="Segoe UI Semibold" panose="020B0702040204020203" pitchFamily="34" charset="0"/>
              </a:rPr>
              <a:t>1</a:t>
            </a:r>
          </a:p>
        </p:txBody>
      </p:sp>
      <p:sp>
        <p:nvSpPr>
          <p:cNvPr id="40" name="Rectangle 39">
            <a:extLst>
              <a:ext uri="{FF2B5EF4-FFF2-40B4-BE49-F238E27FC236}">
                <a16:creationId xmlns:a16="http://schemas.microsoft.com/office/drawing/2014/main" id="{BB81D7A1-CD3D-4CB1-BB84-CEE3A1F101C9}"/>
              </a:ext>
            </a:extLst>
          </p:cNvPr>
          <p:cNvSpPr/>
          <p:nvPr/>
        </p:nvSpPr>
        <p:spPr>
          <a:xfrm>
            <a:off x="6452146" y="2933269"/>
            <a:ext cx="5599531" cy="830997"/>
          </a:xfrm>
          <a:prstGeom prst="rect">
            <a:avLst/>
          </a:prstGeom>
        </p:spPr>
        <p:txBody>
          <a:bodyPr wrap="square" lIns="0" tIns="0" rIns="0" bIns="0" anchor="ctr">
            <a:spAutoFit/>
          </a:bodyPr>
          <a:lstStyle/>
          <a:p>
            <a:pPr lvl="0"/>
            <a:r>
              <a:rPr lang="en-US" kern="0">
                <a:solidFill>
                  <a:schemeClr val="tx2"/>
                </a:solidFill>
                <a:latin typeface="Segoe UI Semibold" panose="020B0702040204020203" pitchFamily="34" charset="0"/>
                <a:cs typeface="Segoe UI Semibold" panose="020B0702040204020203" pitchFamily="34" charset="0"/>
              </a:rPr>
              <a:t>Protect privacy online. </a:t>
            </a:r>
            <a:r>
              <a:rPr lang="en-US"/>
              <a:t>Ensure data is never sold to advertisers with clear privacy controls and ad-free search experiences with Microsoft Edge and Bing.</a:t>
            </a:r>
          </a:p>
        </p:txBody>
      </p:sp>
      <p:sp>
        <p:nvSpPr>
          <p:cNvPr id="20" name="Rectangle 19">
            <a:extLst>
              <a:ext uri="{FF2B5EF4-FFF2-40B4-BE49-F238E27FC236}">
                <a16:creationId xmlns:a16="http://schemas.microsoft.com/office/drawing/2014/main" id="{E62F3DF1-277F-4AC5-9E1D-275B9DF6BB1B}"/>
              </a:ext>
            </a:extLst>
          </p:cNvPr>
          <p:cNvSpPr/>
          <p:nvPr/>
        </p:nvSpPr>
        <p:spPr>
          <a:xfrm>
            <a:off x="6452146" y="4066645"/>
            <a:ext cx="5599531" cy="830997"/>
          </a:xfrm>
          <a:prstGeom prst="rect">
            <a:avLst/>
          </a:prstGeom>
        </p:spPr>
        <p:txBody>
          <a:bodyPr wrap="square" lIns="0" tIns="0" rIns="0" bIns="0" anchor="ctr">
            <a:spAutoFit/>
          </a:bodyPr>
          <a:lstStyle/>
          <a:p>
            <a:pPr lvl="0"/>
            <a:r>
              <a:rPr lang="en-US" kern="0">
                <a:solidFill>
                  <a:schemeClr val="tx2"/>
                </a:solidFill>
                <a:latin typeface="Segoe UI Semibold" panose="020B0702040204020203" pitchFamily="34" charset="0"/>
                <a:cs typeface="Segoe UI Semibold" panose="020B0702040204020203" pitchFamily="34" charset="0"/>
              </a:rPr>
              <a:t>Defend devices from malware. </a:t>
            </a:r>
            <a:r>
              <a:rPr lang="en-US"/>
              <a:t>Defend teachers and students from malware and viruses with Microsoft Defender Antivirus.</a:t>
            </a:r>
          </a:p>
        </p:txBody>
      </p:sp>
      <p:grpSp>
        <p:nvGrpSpPr>
          <p:cNvPr id="23" name="Group 22">
            <a:extLst>
              <a:ext uri="{FF2B5EF4-FFF2-40B4-BE49-F238E27FC236}">
                <a16:creationId xmlns:a16="http://schemas.microsoft.com/office/drawing/2014/main" id="{4EC82A44-9C06-4E62-90AF-CC01BD7E3BD8}"/>
              </a:ext>
              <a:ext uri="{C183D7F6-B498-43B3-948B-1728B52AA6E4}">
                <adec:decorative xmlns:adec="http://schemas.microsoft.com/office/drawing/2017/decorative" val="1"/>
              </a:ext>
            </a:extLst>
          </p:cNvPr>
          <p:cNvGrpSpPr/>
          <p:nvPr/>
        </p:nvGrpSpPr>
        <p:grpSpPr>
          <a:xfrm>
            <a:off x="11488324" y="162790"/>
            <a:ext cx="777240" cy="778243"/>
            <a:chOff x="1517398" y="3231556"/>
            <a:chExt cx="1466268" cy="1466264"/>
          </a:xfrm>
        </p:grpSpPr>
        <p:sp>
          <p:nvSpPr>
            <p:cNvPr id="26" name="Oval 25">
              <a:extLst>
                <a:ext uri="{FF2B5EF4-FFF2-40B4-BE49-F238E27FC236}">
                  <a16:creationId xmlns:a16="http://schemas.microsoft.com/office/drawing/2014/main" id="{3F2F244A-0FE1-4D71-A5B8-0EFB71884015}"/>
                </a:ext>
              </a:extLst>
            </p:cNvPr>
            <p:cNvSpPr/>
            <p:nvPr/>
          </p:nvSpPr>
          <p:spPr bwMode="auto">
            <a:xfrm>
              <a:off x="1517398" y="3231556"/>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nvGrpSpPr>
            <p:cNvPr id="27" name="Group 26">
              <a:extLst>
                <a:ext uri="{FF2B5EF4-FFF2-40B4-BE49-F238E27FC236}">
                  <a16:creationId xmlns:a16="http://schemas.microsoft.com/office/drawing/2014/main" id="{41AC1E3C-443F-47A7-BC77-2F5E20DF370B}"/>
                </a:ext>
              </a:extLst>
            </p:cNvPr>
            <p:cNvGrpSpPr/>
            <p:nvPr/>
          </p:nvGrpSpPr>
          <p:grpSpPr>
            <a:xfrm>
              <a:off x="1867655" y="3505713"/>
              <a:ext cx="765754" cy="917950"/>
              <a:chOff x="1867655" y="3505713"/>
              <a:chExt cx="765754" cy="917950"/>
            </a:xfrm>
          </p:grpSpPr>
          <p:sp>
            <p:nvSpPr>
              <p:cNvPr id="28" name="Freeform: Shape 27">
                <a:extLst>
                  <a:ext uri="{FF2B5EF4-FFF2-40B4-BE49-F238E27FC236}">
                    <a16:creationId xmlns:a16="http://schemas.microsoft.com/office/drawing/2014/main" id="{398F5647-1438-4D59-A654-987D920858DD}"/>
                  </a:ext>
                </a:extLst>
              </p:cNvPr>
              <p:cNvSpPr/>
              <p:nvPr/>
            </p:nvSpPr>
            <p:spPr>
              <a:xfrm>
                <a:off x="2117907" y="3505713"/>
                <a:ext cx="248887" cy="335759"/>
              </a:xfrm>
              <a:custGeom>
                <a:avLst/>
                <a:gdLst>
                  <a:gd name="connsiteX0" fmla="*/ 164021 w 173831"/>
                  <a:gd name="connsiteY0" fmla="*/ 231172 h 234505"/>
                  <a:gd name="connsiteX1" fmla="*/ 173831 w 173831"/>
                  <a:gd name="connsiteY1" fmla="*/ 174784 h 234505"/>
                  <a:gd name="connsiteX2" fmla="*/ 0 w 173831"/>
                  <a:gd name="connsiteY2" fmla="*/ 0 h 234505"/>
                  <a:gd name="connsiteX3" fmla="*/ 88487 w 173831"/>
                  <a:gd name="connsiteY3" fmla="*/ 174784 h 234505"/>
                  <a:gd name="connsiteX4" fmla="*/ 83058 w 173831"/>
                  <a:gd name="connsiteY4" fmla="*/ 234506 h 234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831" h="234505">
                    <a:moveTo>
                      <a:pt x="164021" y="231172"/>
                    </a:moveTo>
                    <a:cubicBezTo>
                      <a:pt x="170212" y="213455"/>
                      <a:pt x="173831" y="194596"/>
                      <a:pt x="173831" y="174784"/>
                    </a:cubicBezTo>
                    <a:cubicBezTo>
                      <a:pt x="173831" y="78010"/>
                      <a:pt x="95822" y="0"/>
                      <a:pt x="0" y="0"/>
                    </a:cubicBezTo>
                    <a:cubicBezTo>
                      <a:pt x="48863" y="0"/>
                      <a:pt x="88487" y="78010"/>
                      <a:pt x="88487" y="174784"/>
                    </a:cubicBezTo>
                    <a:cubicBezTo>
                      <a:pt x="88487" y="195739"/>
                      <a:pt x="86487" y="215837"/>
                      <a:pt x="83058" y="234506"/>
                    </a:cubicBezTo>
                  </a:path>
                </a:pathLst>
              </a:custGeom>
              <a:noFill/>
              <a:ln w="19050" cap="flat">
                <a:solidFill>
                  <a:schemeClr val="tx2"/>
                </a:solidFill>
                <a:prstDash val="solid"/>
                <a:round/>
              </a:ln>
            </p:spPr>
            <p:txBody>
              <a:bodyPr rtlCol="0" anchor="ctr"/>
              <a:lstStyle/>
              <a:p>
                <a:endParaRPr lang="en-IN"/>
              </a:p>
            </p:txBody>
          </p:sp>
          <p:sp>
            <p:nvSpPr>
              <p:cNvPr id="29" name="Freeform: Shape 28">
                <a:extLst>
                  <a:ext uri="{FF2B5EF4-FFF2-40B4-BE49-F238E27FC236}">
                    <a16:creationId xmlns:a16="http://schemas.microsoft.com/office/drawing/2014/main" id="{15814279-7A66-46B5-91B0-CA755E6F416C}"/>
                  </a:ext>
                </a:extLst>
              </p:cNvPr>
              <p:cNvSpPr/>
              <p:nvPr/>
            </p:nvSpPr>
            <p:spPr>
              <a:xfrm>
                <a:off x="1867655" y="3505713"/>
                <a:ext cx="250386" cy="463135"/>
              </a:xfrm>
              <a:custGeom>
                <a:avLst/>
                <a:gdLst>
                  <a:gd name="connsiteX0" fmla="*/ 116300 w 174878"/>
                  <a:gd name="connsiteY0" fmla="*/ 306419 h 323469"/>
                  <a:gd name="connsiteX1" fmla="*/ 85344 w 174878"/>
                  <a:gd name="connsiteY1" fmla="*/ 174784 h 323469"/>
                  <a:gd name="connsiteX2" fmla="*/ 174879 w 174878"/>
                  <a:gd name="connsiteY2" fmla="*/ 0 h 323469"/>
                  <a:gd name="connsiteX3" fmla="*/ 0 w 174878"/>
                  <a:gd name="connsiteY3" fmla="*/ 174784 h 323469"/>
                  <a:gd name="connsiteX4" fmla="*/ 84868 w 174878"/>
                  <a:gd name="connsiteY4" fmla="*/ 323469 h 32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78" h="323469">
                    <a:moveTo>
                      <a:pt x="116300" y="306419"/>
                    </a:moveTo>
                    <a:cubicBezTo>
                      <a:pt x="97250" y="274606"/>
                      <a:pt x="85344" y="227362"/>
                      <a:pt x="85344" y="174784"/>
                    </a:cubicBezTo>
                    <a:cubicBezTo>
                      <a:pt x="85344" y="78010"/>
                      <a:pt x="124873" y="0"/>
                      <a:pt x="174879" y="0"/>
                    </a:cubicBezTo>
                    <a:cubicBezTo>
                      <a:pt x="78010" y="0"/>
                      <a:pt x="0" y="78010"/>
                      <a:pt x="0" y="174784"/>
                    </a:cubicBezTo>
                    <a:cubicBezTo>
                      <a:pt x="0" y="237935"/>
                      <a:pt x="34004" y="293180"/>
                      <a:pt x="84868" y="323469"/>
                    </a:cubicBezTo>
                  </a:path>
                </a:pathLst>
              </a:custGeom>
              <a:noFill/>
              <a:ln w="19050" cap="flat">
                <a:solidFill>
                  <a:schemeClr val="tx2"/>
                </a:solidFill>
                <a:prstDash val="solid"/>
                <a:round/>
              </a:ln>
            </p:spPr>
            <p:txBody>
              <a:bodyPr rtlCol="0" anchor="ctr"/>
              <a:lstStyle/>
              <a:p>
                <a:endParaRPr lang="en-IN"/>
              </a:p>
            </p:txBody>
          </p:sp>
          <p:sp>
            <p:nvSpPr>
              <p:cNvPr id="30" name="Freeform: Shape 29">
                <a:extLst>
                  <a:ext uri="{FF2B5EF4-FFF2-40B4-BE49-F238E27FC236}">
                    <a16:creationId xmlns:a16="http://schemas.microsoft.com/office/drawing/2014/main" id="{A195B528-E77A-47BD-8E19-2EB4D4DA0CDE}"/>
                  </a:ext>
                </a:extLst>
              </p:cNvPr>
              <p:cNvSpPr/>
              <p:nvPr/>
            </p:nvSpPr>
            <p:spPr>
              <a:xfrm>
                <a:off x="1879520" y="3678503"/>
                <a:ext cx="475272" cy="13638"/>
              </a:xfrm>
              <a:custGeom>
                <a:avLst/>
                <a:gdLst>
                  <a:gd name="connsiteX0" fmla="*/ 0 w 331946"/>
                  <a:gd name="connsiteY0" fmla="*/ 0 h 9525"/>
                  <a:gd name="connsiteX1" fmla="*/ 331946 w 331946"/>
                  <a:gd name="connsiteY1" fmla="*/ 0 h 9525"/>
                </a:gdLst>
                <a:ahLst/>
                <a:cxnLst>
                  <a:cxn ang="0">
                    <a:pos x="connsiteX0" y="connsiteY0"/>
                  </a:cxn>
                  <a:cxn ang="0">
                    <a:pos x="connsiteX1" y="connsiteY1"/>
                  </a:cxn>
                </a:cxnLst>
                <a:rect l="l" t="t" r="r" b="b"/>
                <a:pathLst>
                  <a:path w="331946" h="9525">
                    <a:moveTo>
                      <a:pt x="0" y="0"/>
                    </a:moveTo>
                    <a:cubicBezTo>
                      <a:pt x="331946" y="0"/>
                      <a:pt x="331946" y="0"/>
                      <a:pt x="331946" y="0"/>
                    </a:cubicBezTo>
                  </a:path>
                </a:pathLst>
              </a:custGeom>
              <a:noFill/>
              <a:ln w="19050" cap="flat">
                <a:solidFill>
                  <a:schemeClr val="tx2"/>
                </a:solidFill>
                <a:prstDash val="solid"/>
                <a:round/>
              </a:ln>
            </p:spPr>
            <p:txBody>
              <a:bodyPr rtlCol="0" anchor="ctr"/>
              <a:lstStyle/>
              <a:p>
                <a:endParaRPr lang="en-IN"/>
              </a:p>
            </p:txBody>
          </p:sp>
          <p:sp>
            <p:nvSpPr>
              <p:cNvPr id="31" name="Freeform: Shape 30">
                <a:extLst>
                  <a:ext uri="{FF2B5EF4-FFF2-40B4-BE49-F238E27FC236}">
                    <a16:creationId xmlns:a16="http://schemas.microsoft.com/office/drawing/2014/main" id="{78342528-AB65-47C9-8745-C832D6B8CFBF}"/>
                  </a:ext>
                </a:extLst>
              </p:cNvPr>
              <p:cNvSpPr/>
              <p:nvPr/>
            </p:nvSpPr>
            <p:spPr>
              <a:xfrm>
                <a:off x="1881021" y="3834927"/>
                <a:ext cx="355397" cy="13638"/>
              </a:xfrm>
              <a:custGeom>
                <a:avLst/>
                <a:gdLst>
                  <a:gd name="connsiteX0" fmla="*/ 0 w 248221"/>
                  <a:gd name="connsiteY0" fmla="*/ 0 h 9525"/>
                  <a:gd name="connsiteX1" fmla="*/ 248222 w 248221"/>
                  <a:gd name="connsiteY1" fmla="*/ 0 h 9525"/>
                </a:gdLst>
                <a:ahLst/>
                <a:cxnLst>
                  <a:cxn ang="0">
                    <a:pos x="connsiteX0" y="connsiteY0"/>
                  </a:cxn>
                  <a:cxn ang="0">
                    <a:pos x="connsiteX1" y="connsiteY1"/>
                  </a:cxn>
                </a:cxnLst>
                <a:rect l="l" t="t" r="r" b="b"/>
                <a:pathLst>
                  <a:path w="248221" h="9525">
                    <a:moveTo>
                      <a:pt x="0" y="0"/>
                    </a:moveTo>
                    <a:cubicBezTo>
                      <a:pt x="122777" y="0"/>
                      <a:pt x="199835" y="0"/>
                      <a:pt x="248222" y="0"/>
                    </a:cubicBezTo>
                  </a:path>
                </a:pathLst>
              </a:custGeom>
              <a:noFill/>
              <a:ln w="19050" cap="flat">
                <a:solidFill>
                  <a:schemeClr val="tx2"/>
                </a:solidFill>
                <a:prstDash val="solid"/>
                <a:round/>
              </a:ln>
            </p:spPr>
            <p:txBody>
              <a:bodyPr rtlCol="0" anchor="ctr"/>
              <a:lstStyle/>
              <a:p>
                <a:endParaRPr lang="en-IN"/>
              </a:p>
            </p:txBody>
          </p:sp>
          <p:grpSp>
            <p:nvGrpSpPr>
              <p:cNvPr id="32" name="Graphic 70">
                <a:extLst>
                  <a:ext uri="{FF2B5EF4-FFF2-40B4-BE49-F238E27FC236}">
                    <a16:creationId xmlns:a16="http://schemas.microsoft.com/office/drawing/2014/main" id="{62D43D10-DCAB-4E14-90FF-454D12AB8F8A}"/>
                  </a:ext>
                </a:extLst>
              </p:cNvPr>
              <p:cNvGrpSpPr/>
              <p:nvPr/>
            </p:nvGrpSpPr>
            <p:grpSpPr>
              <a:xfrm>
                <a:off x="1927798" y="3811606"/>
                <a:ext cx="705611" cy="612057"/>
                <a:chOff x="4091871" y="3894026"/>
                <a:chExt cx="492822" cy="427481"/>
              </a:xfrm>
              <a:noFill/>
            </p:grpSpPr>
            <p:sp>
              <p:nvSpPr>
                <p:cNvPr id="33" name="Freeform: Shape 32">
                  <a:extLst>
                    <a:ext uri="{FF2B5EF4-FFF2-40B4-BE49-F238E27FC236}">
                      <a16:creationId xmlns:a16="http://schemas.microsoft.com/office/drawing/2014/main" id="{542EEF09-1E50-483C-945B-4BFF15A8F089}"/>
                    </a:ext>
                  </a:extLst>
                </p:cNvPr>
                <p:cNvSpPr/>
                <p:nvPr/>
              </p:nvSpPr>
              <p:spPr>
                <a:xfrm>
                  <a:off x="4091871" y="4217495"/>
                  <a:ext cx="91439" cy="104012"/>
                </a:xfrm>
                <a:custGeom>
                  <a:avLst/>
                  <a:gdLst>
                    <a:gd name="connsiteX0" fmla="*/ 91440 w 91439"/>
                    <a:gd name="connsiteY0" fmla="*/ 104013 h 104012"/>
                    <a:gd name="connsiteX1" fmla="*/ 91440 w 91439"/>
                    <a:gd name="connsiteY1" fmla="*/ 37433 h 104012"/>
                    <a:gd name="connsiteX2" fmla="*/ 45720 w 91439"/>
                    <a:gd name="connsiteY2" fmla="*/ 0 h 104012"/>
                    <a:gd name="connsiteX3" fmla="*/ 45720 w 91439"/>
                    <a:gd name="connsiteY3" fmla="*/ 0 h 104012"/>
                    <a:gd name="connsiteX4" fmla="*/ 0 w 91439"/>
                    <a:gd name="connsiteY4" fmla="*/ 37433 h 104012"/>
                    <a:gd name="connsiteX5" fmla="*/ 0 w 91439"/>
                    <a:gd name="connsiteY5" fmla="*/ 104013 h 104012"/>
                    <a:gd name="connsiteX6" fmla="*/ 91440 w 91439"/>
                    <a:gd name="connsiteY6" fmla="*/ 104013 h 104012"/>
                    <a:gd name="connsiteX7" fmla="*/ 91440 w 91439"/>
                    <a:gd name="connsiteY7" fmla="*/ 104013 h 104012"/>
                    <a:gd name="connsiteX8" fmla="*/ 91440 w 91439"/>
                    <a:gd name="connsiteY8" fmla="*/ 104013 h 104012"/>
                    <a:gd name="connsiteX9" fmla="*/ 91440 w 91439"/>
                    <a:gd name="connsiteY9" fmla="*/ 104013 h 104012"/>
                    <a:gd name="connsiteX10" fmla="*/ 91440 w 91439"/>
                    <a:gd name="connsiteY10" fmla="*/ 104013 h 10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39" h="104012">
                      <a:moveTo>
                        <a:pt x="91440" y="104013"/>
                      </a:moveTo>
                      <a:cubicBezTo>
                        <a:pt x="91440" y="37433"/>
                        <a:pt x="91440" y="37433"/>
                        <a:pt x="91440" y="37433"/>
                      </a:cubicBezTo>
                      <a:cubicBezTo>
                        <a:pt x="91440" y="16669"/>
                        <a:pt x="68485" y="0"/>
                        <a:pt x="45720" y="0"/>
                      </a:cubicBezTo>
                      <a:lnTo>
                        <a:pt x="45720" y="0"/>
                      </a:lnTo>
                      <a:cubicBezTo>
                        <a:pt x="18383" y="0"/>
                        <a:pt x="0" y="16669"/>
                        <a:pt x="0" y="37433"/>
                      </a:cubicBezTo>
                      <a:cubicBezTo>
                        <a:pt x="0" y="104013"/>
                        <a:pt x="0" y="104013"/>
                        <a:pt x="0" y="104013"/>
                      </a:cubicBezTo>
                      <a:cubicBezTo>
                        <a:pt x="91440" y="104013"/>
                        <a:pt x="91440" y="104013"/>
                        <a:pt x="91440" y="104013"/>
                      </a:cubicBezTo>
                      <a:lnTo>
                        <a:pt x="91440" y="104013"/>
                      </a:lnTo>
                      <a:lnTo>
                        <a:pt x="91440" y="104013"/>
                      </a:lnTo>
                      <a:lnTo>
                        <a:pt x="91440" y="104013"/>
                      </a:lnTo>
                      <a:lnTo>
                        <a:pt x="91440" y="104013"/>
                      </a:lnTo>
                      <a:close/>
                    </a:path>
                  </a:pathLst>
                </a:custGeom>
                <a:noFill/>
                <a:ln w="19050" cap="flat">
                  <a:solidFill>
                    <a:schemeClr val="tx2"/>
                  </a:solidFill>
                  <a:prstDash val="solid"/>
                  <a:round/>
                </a:ln>
              </p:spPr>
              <p:txBody>
                <a:bodyPr rtlCol="0" anchor="ctr"/>
                <a:lstStyle/>
                <a:p>
                  <a:endParaRPr lang="en-IN"/>
                </a:p>
              </p:txBody>
            </p:sp>
            <p:grpSp>
              <p:nvGrpSpPr>
                <p:cNvPr id="34" name="Graphic 70">
                  <a:extLst>
                    <a:ext uri="{FF2B5EF4-FFF2-40B4-BE49-F238E27FC236}">
                      <a16:creationId xmlns:a16="http://schemas.microsoft.com/office/drawing/2014/main" id="{6405E590-1B57-4677-8813-3E091620A726}"/>
                    </a:ext>
                  </a:extLst>
                </p:cNvPr>
                <p:cNvGrpSpPr/>
                <p:nvPr/>
              </p:nvGrpSpPr>
              <p:grpSpPr>
                <a:xfrm>
                  <a:off x="4117302" y="3894026"/>
                  <a:ext cx="467391" cy="359540"/>
                  <a:chOff x="4117302" y="3894026"/>
                  <a:chExt cx="467391" cy="359540"/>
                </a:xfrm>
                <a:noFill/>
              </p:grpSpPr>
              <p:sp>
                <p:nvSpPr>
                  <p:cNvPr id="35" name="Freeform: Shape 34">
                    <a:extLst>
                      <a:ext uri="{FF2B5EF4-FFF2-40B4-BE49-F238E27FC236}">
                        <a16:creationId xmlns:a16="http://schemas.microsoft.com/office/drawing/2014/main" id="{92D60238-A0E5-4D24-8EB8-DCC1A20392D6}"/>
                      </a:ext>
                    </a:extLst>
                  </p:cNvPr>
                  <p:cNvSpPr/>
                  <p:nvPr/>
                </p:nvSpPr>
                <p:spPr>
                  <a:xfrm>
                    <a:off x="4130733" y="4023185"/>
                    <a:ext cx="9525" cy="194310"/>
                  </a:xfrm>
                  <a:custGeom>
                    <a:avLst/>
                    <a:gdLst>
                      <a:gd name="connsiteX0" fmla="*/ 0 w 9525"/>
                      <a:gd name="connsiteY0" fmla="*/ 0 h 194310"/>
                      <a:gd name="connsiteX1" fmla="*/ 0 w 9525"/>
                      <a:gd name="connsiteY1" fmla="*/ 194310 h 194310"/>
                    </a:gdLst>
                    <a:ahLst/>
                    <a:cxnLst>
                      <a:cxn ang="0">
                        <a:pos x="connsiteX0" y="connsiteY0"/>
                      </a:cxn>
                      <a:cxn ang="0">
                        <a:pos x="connsiteX1" y="connsiteY1"/>
                      </a:cxn>
                    </a:cxnLst>
                    <a:rect l="l" t="t" r="r" b="b"/>
                    <a:pathLst>
                      <a:path w="9525" h="194310">
                        <a:moveTo>
                          <a:pt x="0" y="0"/>
                        </a:moveTo>
                        <a:cubicBezTo>
                          <a:pt x="0" y="194310"/>
                          <a:pt x="0" y="194310"/>
                          <a:pt x="0" y="194310"/>
                        </a:cubicBezTo>
                      </a:path>
                    </a:pathLst>
                  </a:custGeom>
                  <a:noFill/>
                  <a:ln w="19050" cap="flat">
                    <a:solidFill>
                      <a:schemeClr val="tx2"/>
                    </a:solidFill>
                    <a:prstDash val="solid"/>
                    <a:round/>
                  </a:ln>
                </p:spPr>
                <p:txBody>
                  <a:bodyPr rtlCol="0" anchor="ctr"/>
                  <a:lstStyle/>
                  <a:p>
                    <a:endParaRPr lang="en-IN"/>
                  </a:p>
                </p:txBody>
              </p:sp>
              <p:grpSp>
                <p:nvGrpSpPr>
                  <p:cNvPr id="36" name="Graphic 70">
                    <a:extLst>
                      <a:ext uri="{FF2B5EF4-FFF2-40B4-BE49-F238E27FC236}">
                        <a16:creationId xmlns:a16="http://schemas.microsoft.com/office/drawing/2014/main" id="{6AB0C069-9261-431C-9CFB-256612633794}"/>
                      </a:ext>
                    </a:extLst>
                  </p:cNvPr>
                  <p:cNvGrpSpPr/>
                  <p:nvPr/>
                </p:nvGrpSpPr>
                <p:grpSpPr>
                  <a:xfrm>
                    <a:off x="4117302" y="3894026"/>
                    <a:ext cx="467391" cy="359540"/>
                    <a:chOff x="4117302" y="3894026"/>
                    <a:chExt cx="467391" cy="359540"/>
                  </a:xfrm>
                  <a:noFill/>
                </p:grpSpPr>
                <p:sp>
                  <p:nvSpPr>
                    <p:cNvPr id="37" name="Freeform: Shape 36">
                      <a:extLst>
                        <a:ext uri="{FF2B5EF4-FFF2-40B4-BE49-F238E27FC236}">
                          <a16:creationId xmlns:a16="http://schemas.microsoft.com/office/drawing/2014/main" id="{C2CC8CC9-36CF-4FCD-A903-1A2BD78600DD}"/>
                        </a:ext>
                      </a:extLst>
                    </p:cNvPr>
                    <p:cNvSpPr/>
                    <p:nvPr/>
                  </p:nvSpPr>
                  <p:spPr>
                    <a:xfrm>
                      <a:off x="4117302" y="3894026"/>
                      <a:ext cx="467391" cy="233267"/>
                    </a:xfrm>
                    <a:custGeom>
                      <a:avLst/>
                      <a:gdLst>
                        <a:gd name="connsiteX0" fmla="*/ 128587 w 467391"/>
                        <a:gd name="connsiteY0" fmla="*/ 51911 h 233267"/>
                        <a:gd name="connsiteX1" fmla="*/ 231553 w 467391"/>
                        <a:gd name="connsiteY1" fmla="*/ 0 h 233267"/>
                        <a:gd name="connsiteX2" fmla="*/ 467392 w 467391"/>
                        <a:gd name="connsiteY2" fmla="*/ 120967 h 233267"/>
                        <a:gd name="connsiteX3" fmla="*/ 231553 w 467391"/>
                        <a:gd name="connsiteY3" fmla="*/ 233267 h 233267"/>
                        <a:gd name="connsiteX4" fmla="*/ 0 w 467391"/>
                        <a:gd name="connsiteY4" fmla="*/ 120967 h 233267"/>
                        <a:gd name="connsiteX5" fmla="*/ 128587 w 467391"/>
                        <a:gd name="connsiteY5" fmla="*/ 51911 h 233267"/>
                        <a:gd name="connsiteX6" fmla="*/ 128587 w 467391"/>
                        <a:gd name="connsiteY6" fmla="*/ 51911 h 233267"/>
                        <a:gd name="connsiteX7" fmla="*/ 128587 w 467391"/>
                        <a:gd name="connsiteY7" fmla="*/ 51911 h 233267"/>
                        <a:gd name="connsiteX8" fmla="*/ 128587 w 467391"/>
                        <a:gd name="connsiteY8" fmla="*/ 51911 h 233267"/>
                        <a:gd name="connsiteX9" fmla="*/ 128587 w 467391"/>
                        <a:gd name="connsiteY9" fmla="*/ 51911 h 233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7391" h="233267">
                          <a:moveTo>
                            <a:pt x="128587" y="51911"/>
                          </a:moveTo>
                          <a:cubicBezTo>
                            <a:pt x="231553" y="0"/>
                            <a:pt x="231553" y="0"/>
                            <a:pt x="231553" y="0"/>
                          </a:cubicBezTo>
                          <a:cubicBezTo>
                            <a:pt x="467392" y="120967"/>
                            <a:pt x="467392" y="120967"/>
                            <a:pt x="467392" y="120967"/>
                          </a:cubicBezTo>
                          <a:cubicBezTo>
                            <a:pt x="231553" y="233267"/>
                            <a:pt x="231553" y="233267"/>
                            <a:pt x="231553" y="233267"/>
                          </a:cubicBezTo>
                          <a:cubicBezTo>
                            <a:pt x="0" y="120967"/>
                            <a:pt x="0" y="120967"/>
                            <a:pt x="0" y="120967"/>
                          </a:cubicBezTo>
                          <a:cubicBezTo>
                            <a:pt x="128587" y="51911"/>
                            <a:pt x="128587" y="51911"/>
                            <a:pt x="128587" y="51911"/>
                          </a:cubicBezTo>
                          <a:lnTo>
                            <a:pt x="128587" y="51911"/>
                          </a:lnTo>
                          <a:lnTo>
                            <a:pt x="128587" y="51911"/>
                          </a:lnTo>
                          <a:lnTo>
                            <a:pt x="128587" y="51911"/>
                          </a:lnTo>
                          <a:lnTo>
                            <a:pt x="128587" y="51911"/>
                          </a:lnTo>
                          <a:close/>
                        </a:path>
                      </a:pathLst>
                    </a:custGeom>
                    <a:noFill/>
                    <a:ln w="19050" cap="flat">
                      <a:solidFill>
                        <a:schemeClr val="tx2"/>
                      </a:solidFill>
                      <a:prstDash val="solid"/>
                      <a:round/>
                    </a:ln>
                  </p:spPr>
                  <p:txBody>
                    <a:bodyPr rtlCol="0" anchor="ctr"/>
                    <a:lstStyle/>
                    <a:p>
                      <a:endParaRPr lang="en-IN"/>
                    </a:p>
                  </p:txBody>
                </p:sp>
                <p:sp>
                  <p:nvSpPr>
                    <p:cNvPr id="38" name="Freeform: Shape 37">
                      <a:extLst>
                        <a:ext uri="{FF2B5EF4-FFF2-40B4-BE49-F238E27FC236}">
                          <a16:creationId xmlns:a16="http://schemas.microsoft.com/office/drawing/2014/main" id="{D92CA00E-DDDC-40C2-A3A5-9EEB64DE8186}"/>
                        </a:ext>
                      </a:extLst>
                    </p:cNvPr>
                    <p:cNvSpPr/>
                    <p:nvPr/>
                  </p:nvSpPr>
                  <p:spPr>
                    <a:xfrm>
                      <a:off x="4195026" y="4071830"/>
                      <a:ext cx="299466" cy="181736"/>
                    </a:xfrm>
                    <a:custGeom>
                      <a:avLst/>
                      <a:gdLst>
                        <a:gd name="connsiteX0" fmla="*/ 25337 w 299466"/>
                        <a:gd name="connsiteY0" fmla="*/ 0 h 181736"/>
                        <a:gd name="connsiteX1" fmla="*/ 0 w 299466"/>
                        <a:gd name="connsiteY1" fmla="*/ 101346 h 181736"/>
                        <a:gd name="connsiteX2" fmla="*/ 151829 w 299466"/>
                        <a:gd name="connsiteY2" fmla="*/ 181737 h 181736"/>
                        <a:gd name="connsiteX3" fmla="*/ 299466 w 299466"/>
                        <a:gd name="connsiteY3" fmla="*/ 101346 h 181736"/>
                        <a:gd name="connsiteX4" fmla="*/ 274130 w 299466"/>
                        <a:gd name="connsiteY4" fmla="*/ 0 h 181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466" h="181736">
                          <a:moveTo>
                            <a:pt x="25337" y="0"/>
                          </a:moveTo>
                          <a:cubicBezTo>
                            <a:pt x="0" y="33814"/>
                            <a:pt x="0" y="101346"/>
                            <a:pt x="0" y="101346"/>
                          </a:cubicBezTo>
                          <a:cubicBezTo>
                            <a:pt x="151829" y="181737"/>
                            <a:pt x="151829" y="181737"/>
                            <a:pt x="151829" y="181737"/>
                          </a:cubicBezTo>
                          <a:cubicBezTo>
                            <a:pt x="299466" y="101346"/>
                            <a:pt x="299466" y="101346"/>
                            <a:pt x="299466" y="101346"/>
                          </a:cubicBezTo>
                          <a:cubicBezTo>
                            <a:pt x="299466" y="101346"/>
                            <a:pt x="299466" y="37909"/>
                            <a:pt x="274130" y="0"/>
                          </a:cubicBezTo>
                        </a:path>
                      </a:pathLst>
                    </a:custGeom>
                    <a:noFill/>
                    <a:ln w="19050" cap="flat">
                      <a:solidFill>
                        <a:schemeClr val="tx2"/>
                      </a:solidFill>
                      <a:prstDash val="solid"/>
                      <a:round/>
                    </a:ln>
                  </p:spPr>
                  <p:txBody>
                    <a:bodyPr rtlCol="0" anchor="ctr"/>
                    <a:lstStyle/>
                    <a:p>
                      <a:endParaRPr lang="en-IN"/>
                    </a:p>
                  </p:txBody>
                </p:sp>
              </p:grpSp>
            </p:grpSp>
          </p:grpSp>
        </p:grpSp>
      </p:grpSp>
      <p:sp>
        <p:nvSpPr>
          <p:cNvPr id="42" name="TextBox 41">
            <a:extLst>
              <a:ext uri="{FF2B5EF4-FFF2-40B4-BE49-F238E27FC236}">
                <a16:creationId xmlns:a16="http://schemas.microsoft.com/office/drawing/2014/main" id="{530FE540-D684-4263-8593-BA9B814484B3}"/>
              </a:ext>
            </a:extLst>
          </p:cNvPr>
          <p:cNvSpPr txBox="1"/>
          <p:nvPr/>
        </p:nvSpPr>
        <p:spPr>
          <a:xfrm>
            <a:off x="6451969" y="5138940"/>
            <a:ext cx="5760244" cy="830997"/>
          </a:xfrm>
          <a:prstGeom prst="rect">
            <a:avLst/>
          </a:prstGeom>
          <a:noFill/>
        </p:spPr>
        <p:txBody>
          <a:bodyPr wrap="square" lIns="0" tIns="0" rIns="0" bIns="0">
            <a:spAutoFit/>
          </a:bodyPr>
          <a:lstStyle/>
          <a:p>
            <a:pPr marL="0" lvl="1">
              <a:spcBef>
                <a:spcPts val="600"/>
              </a:spcBef>
              <a:spcAft>
                <a:spcPts val="3000"/>
              </a:spcAft>
              <a:defRPr/>
            </a:pPr>
            <a:r>
              <a:rPr lang="en-US">
                <a:solidFill>
                  <a:srgbClr val="0078D7"/>
                </a:solidFill>
                <a:latin typeface="Segoe UI Semibold" panose="020B0702040204020203" pitchFamily="34" charset="0"/>
                <a:cs typeface="Segoe UI Semibold" panose="020B0702040204020203" pitchFamily="34" charset="0"/>
              </a:rPr>
              <a:t>Encrypt data on the device. </a:t>
            </a:r>
            <a:r>
              <a:rPr lang="en-US">
                <a:cs typeface="Segoe UI Semibold" panose="020B0702040204020203" pitchFamily="34" charset="0"/>
              </a:rPr>
              <a:t>Protect students against sensitive data theft or exposure from lost or stolen computers with BitLocker Drive Encryption.</a:t>
            </a:r>
          </a:p>
        </p:txBody>
      </p:sp>
      <p:sp>
        <p:nvSpPr>
          <p:cNvPr id="3" name="TextBox 2">
            <a:extLst>
              <a:ext uri="{FF2B5EF4-FFF2-40B4-BE49-F238E27FC236}">
                <a16:creationId xmlns:a16="http://schemas.microsoft.com/office/drawing/2014/main" id="{555BE788-99F4-4A23-BFD2-5BA0912F7D0A}"/>
              </a:ext>
            </a:extLst>
          </p:cNvPr>
          <p:cNvSpPr txBox="1"/>
          <p:nvPr/>
        </p:nvSpPr>
        <p:spPr>
          <a:xfrm>
            <a:off x="6304279" y="6064039"/>
            <a:ext cx="5627930" cy="649409"/>
          </a:xfrm>
          <a:prstGeom prst="rect">
            <a:avLst/>
          </a:prstGeom>
          <a:noFill/>
        </p:spPr>
        <p:txBody>
          <a:bodyPr wrap="square" lIns="182880" tIns="146304" rIns="182880" bIns="146304" rtlCol="0">
            <a:spAutoFit/>
          </a:bodyPr>
          <a:lstStyle/>
          <a:p>
            <a:pPr>
              <a:lnSpc>
                <a:spcPct val="90000"/>
              </a:lnSpc>
              <a:spcAft>
                <a:spcPts val="600"/>
              </a:spcAft>
            </a:pPr>
            <a:r>
              <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References:</a:t>
            </a:r>
          </a:p>
          <a:p>
            <a:pPr>
              <a:lnSpc>
                <a:spcPct val="90000"/>
              </a:lnSpc>
              <a:spcAft>
                <a:spcPts val="600"/>
              </a:spcAft>
            </a:pPr>
            <a:r>
              <a:rPr lang="en-US" sz="1000">
                <a:gradFill>
                  <a:gsLst>
                    <a:gs pos="2917">
                      <a:schemeClr val="tx1"/>
                    </a:gs>
                    <a:gs pos="30000">
                      <a:schemeClr val="tx1"/>
                    </a:gs>
                  </a:gsLst>
                  <a:lin ang="5400000" scaled="0"/>
                </a:gradFill>
              </a:rPr>
              <a:t>1. </a:t>
            </a:r>
            <a:r>
              <a:rPr lang="en-US" sz="1000">
                <a:gradFill>
                  <a:gsLst>
                    <a:gs pos="2917">
                      <a:schemeClr val="tx1"/>
                    </a:gs>
                    <a:gs pos="30000">
                      <a:schemeClr val="tx1"/>
                    </a:gs>
                  </a:gsLst>
                  <a:lin ang="5400000" scaled="0"/>
                </a:gradFill>
                <a:hlinkClick r:id="rId4"/>
              </a:rPr>
              <a:t>Microsoft Edge blocks more phishing and malware attempts than Chrome</a:t>
            </a:r>
            <a:r>
              <a:rPr lang="en-US" sz="1000">
                <a:gradFill>
                  <a:gsLst>
                    <a:gs pos="2917">
                      <a:schemeClr val="tx1"/>
                    </a:gs>
                    <a:gs pos="30000">
                      <a:schemeClr val="tx1"/>
                    </a:gs>
                  </a:gsLst>
                  <a:lin ang="5400000" scaled="0"/>
                </a:gradFill>
              </a:rPr>
              <a:t> (NSS Labs)</a:t>
            </a:r>
          </a:p>
        </p:txBody>
      </p:sp>
    </p:spTree>
    <p:extLst>
      <p:ext uri="{BB962C8B-B14F-4D97-AF65-F5344CB8AC3E}">
        <p14:creationId xmlns:p14="http://schemas.microsoft.com/office/powerpoint/2010/main" val="296445375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3DBB8CFA-61FE-4865-9595-9C822B609D63}"/>
              </a:ext>
            </a:extLst>
          </p:cNvPr>
          <p:cNvSpPr>
            <a:spLocks noGrp="1"/>
          </p:cNvSpPr>
          <p:nvPr>
            <p:ph type="title"/>
          </p:nvPr>
        </p:nvSpPr>
        <p:spPr>
          <a:xfrm>
            <a:off x="285236" y="2492230"/>
            <a:ext cx="7774244" cy="2012859"/>
          </a:xfrm>
        </p:spPr>
        <p:txBody>
          <a:bodyPr/>
          <a:lstStyle/>
          <a:p>
            <a:r>
              <a:rPr lang="en-US" sz="4400">
                <a:latin typeface="Segoe UI Semibold" panose="020B0702040204020203" pitchFamily="34" charset="0"/>
                <a:cs typeface="Segoe UI Semibold" panose="020B0702040204020203" pitchFamily="34" charset="0"/>
              </a:rPr>
              <a:t>Empower teachers to transform their classrooms </a:t>
            </a:r>
            <a:r>
              <a:rPr lang="en-US" sz="4400"/>
              <a:t>with training, tools, and resources</a:t>
            </a:r>
            <a:endParaRPr lang="en-IN" sz="4400"/>
          </a:p>
        </p:txBody>
      </p:sp>
    </p:spTree>
    <p:extLst>
      <p:ext uri="{BB962C8B-B14F-4D97-AF65-F5344CB8AC3E}">
        <p14:creationId xmlns:p14="http://schemas.microsoft.com/office/powerpoint/2010/main" val="334127487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758BBE78-EFAD-4DD2-966F-34784C1AF37F}"/>
              </a:ext>
            </a:extLst>
          </p:cNvPr>
          <p:cNvSpPr>
            <a:spLocks noGrp="1"/>
          </p:cNvSpPr>
          <p:nvPr>
            <p:ph type="title"/>
          </p:nvPr>
        </p:nvSpPr>
        <p:spPr>
          <a:xfrm>
            <a:off x="5501640" y="502479"/>
            <a:ext cx="6476047" cy="1623184"/>
          </a:xfrm>
        </p:spPr>
        <p:txBody>
          <a:bodyPr/>
          <a:lstStyle/>
          <a:p>
            <a:r>
              <a:rPr lang="en-US">
                <a:solidFill>
                  <a:schemeClr val="tx2"/>
                </a:solidFill>
                <a:latin typeface="Segoe UI Semibold" panose="020B0702040204020203" pitchFamily="34" charset="0"/>
                <a:cs typeface="Segoe UI Semibold" panose="020B0702040204020203" pitchFamily="34" charset="0"/>
              </a:rPr>
              <a:t>Ensure teacher readiness</a:t>
            </a:r>
            <a:br>
              <a:rPr lang="en-US"/>
            </a:br>
            <a:r>
              <a:rPr lang="en-US"/>
              <a:t>for any type of learning</a:t>
            </a:r>
            <a:endParaRPr lang="en-US">
              <a:solidFill>
                <a:schemeClr val="tx2"/>
              </a:solidFill>
              <a:latin typeface="Segoe UI Semibold" panose="020B0702040204020203" pitchFamily="34" charset="0"/>
              <a:cs typeface="Segoe UI Semibold" panose="020B0702040204020203" pitchFamily="34" charset="0"/>
            </a:endParaRPr>
          </a:p>
        </p:txBody>
      </p:sp>
      <p:grpSp>
        <p:nvGrpSpPr>
          <p:cNvPr id="68" name="Group 67">
            <a:extLst>
              <a:ext uri="{FF2B5EF4-FFF2-40B4-BE49-F238E27FC236}">
                <a16:creationId xmlns:a16="http://schemas.microsoft.com/office/drawing/2014/main" id="{D549A63D-4888-4EF8-A2D3-F7A0C7FAE2AA}"/>
              </a:ext>
              <a:ext uri="{C183D7F6-B498-43B3-948B-1728B52AA6E4}">
                <adec:decorative xmlns:adec="http://schemas.microsoft.com/office/drawing/2017/decorative" val="1"/>
              </a:ext>
            </a:extLst>
          </p:cNvPr>
          <p:cNvGrpSpPr/>
          <p:nvPr/>
        </p:nvGrpSpPr>
        <p:grpSpPr>
          <a:xfrm>
            <a:off x="11488324" y="162790"/>
            <a:ext cx="777240" cy="778243"/>
            <a:chOff x="1517398" y="3231556"/>
            <a:chExt cx="1466268" cy="1466264"/>
          </a:xfrm>
        </p:grpSpPr>
        <p:sp>
          <p:nvSpPr>
            <p:cNvPr id="69" name="Oval 68">
              <a:extLst>
                <a:ext uri="{FF2B5EF4-FFF2-40B4-BE49-F238E27FC236}">
                  <a16:creationId xmlns:a16="http://schemas.microsoft.com/office/drawing/2014/main" id="{49535375-1FB6-4B8E-BE90-2BF478AD498E}"/>
                </a:ext>
              </a:extLst>
            </p:cNvPr>
            <p:cNvSpPr/>
            <p:nvPr/>
          </p:nvSpPr>
          <p:spPr bwMode="auto">
            <a:xfrm>
              <a:off x="1517398" y="3231556"/>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nvGrpSpPr>
            <p:cNvPr id="70" name="Group 69">
              <a:extLst>
                <a:ext uri="{FF2B5EF4-FFF2-40B4-BE49-F238E27FC236}">
                  <a16:creationId xmlns:a16="http://schemas.microsoft.com/office/drawing/2014/main" id="{0B806352-06C9-4C6C-B7CE-37C36C6A17B5}"/>
                </a:ext>
              </a:extLst>
            </p:cNvPr>
            <p:cNvGrpSpPr/>
            <p:nvPr/>
          </p:nvGrpSpPr>
          <p:grpSpPr>
            <a:xfrm>
              <a:off x="1867655" y="3505713"/>
              <a:ext cx="765754" cy="917950"/>
              <a:chOff x="1867655" y="3505713"/>
              <a:chExt cx="765754" cy="917950"/>
            </a:xfrm>
          </p:grpSpPr>
          <p:sp>
            <p:nvSpPr>
              <p:cNvPr id="71" name="Freeform: Shape 70">
                <a:extLst>
                  <a:ext uri="{FF2B5EF4-FFF2-40B4-BE49-F238E27FC236}">
                    <a16:creationId xmlns:a16="http://schemas.microsoft.com/office/drawing/2014/main" id="{731FE8A5-9FCD-4C0D-809F-337C291AC928}"/>
                  </a:ext>
                </a:extLst>
              </p:cNvPr>
              <p:cNvSpPr/>
              <p:nvPr/>
            </p:nvSpPr>
            <p:spPr>
              <a:xfrm>
                <a:off x="2117907" y="3505713"/>
                <a:ext cx="248887" cy="335759"/>
              </a:xfrm>
              <a:custGeom>
                <a:avLst/>
                <a:gdLst>
                  <a:gd name="connsiteX0" fmla="*/ 164021 w 173831"/>
                  <a:gd name="connsiteY0" fmla="*/ 231172 h 234505"/>
                  <a:gd name="connsiteX1" fmla="*/ 173831 w 173831"/>
                  <a:gd name="connsiteY1" fmla="*/ 174784 h 234505"/>
                  <a:gd name="connsiteX2" fmla="*/ 0 w 173831"/>
                  <a:gd name="connsiteY2" fmla="*/ 0 h 234505"/>
                  <a:gd name="connsiteX3" fmla="*/ 88487 w 173831"/>
                  <a:gd name="connsiteY3" fmla="*/ 174784 h 234505"/>
                  <a:gd name="connsiteX4" fmla="*/ 83058 w 173831"/>
                  <a:gd name="connsiteY4" fmla="*/ 234506 h 234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831" h="234505">
                    <a:moveTo>
                      <a:pt x="164021" y="231172"/>
                    </a:moveTo>
                    <a:cubicBezTo>
                      <a:pt x="170212" y="213455"/>
                      <a:pt x="173831" y="194596"/>
                      <a:pt x="173831" y="174784"/>
                    </a:cubicBezTo>
                    <a:cubicBezTo>
                      <a:pt x="173831" y="78010"/>
                      <a:pt x="95822" y="0"/>
                      <a:pt x="0" y="0"/>
                    </a:cubicBezTo>
                    <a:cubicBezTo>
                      <a:pt x="48863" y="0"/>
                      <a:pt x="88487" y="78010"/>
                      <a:pt x="88487" y="174784"/>
                    </a:cubicBezTo>
                    <a:cubicBezTo>
                      <a:pt x="88487" y="195739"/>
                      <a:pt x="86487" y="215837"/>
                      <a:pt x="83058" y="234506"/>
                    </a:cubicBezTo>
                  </a:path>
                </a:pathLst>
              </a:custGeom>
              <a:noFill/>
              <a:ln w="19050" cap="flat">
                <a:solidFill>
                  <a:schemeClr val="tx2"/>
                </a:solidFill>
                <a:prstDash val="solid"/>
                <a:round/>
              </a:ln>
            </p:spPr>
            <p:txBody>
              <a:bodyPr rtlCol="0" anchor="ctr"/>
              <a:lstStyle/>
              <a:p>
                <a:endParaRPr lang="en-IN"/>
              </a:p>
            </p:txBody>
          </p:sp>
          <p:sp>
            <p:nvSpPr>
              <p:cNvPr id="72" name="Freeform: Shape 71">
                <a:extLst>
                  <a:ext uri="{FF2B5EF4-FFF2-40B4-BE49-F238E27FC236}">
                    <a16:creationId xmlns:a16="http://schemas.microsoft.com/office/drawing/2014/main" id="{5B544B3D-1616-4E37-94B8-79E89A199B60}"/>
                  </a:ext>
                </a:extLst>
              </p:cNvPr>
              <p:cNvSpPr/>
              <p:nvPr/>
            </p:nvSpPr>
            <p:spPr>
              <a:xfrm>
                <a:off x="1867655" y="3505713"/>
                <a:ext cx="250386" cy="463135"/>
              </a:xfrm>
              <a:custGeom>
                <a:avLst/>
                <a:gdLst>
                  <a:gd name="connsiteX0" fmla="*/ 116300 w 174878"/>
                  <a:gd name="connsiteY0" fmla="*/ 306419 h 323469"/>
                  <a:gd name="connsiteX1" fmla="*/ 85344 w 174878"/>
                  <a:gd name="connsiteY1" fmla="*/ 174784 h 323469"/>
                  <a:gd name="connsiteX2" fmla="*/ 174879 w 174878"/>
                  <a:gd name="connsiteY2" fmla="*/ 0 h 323469"/>
                  <a:gd name="connsiteX3" fmla="*/ 0 w 174878"/>
                  <a:gd name="connsiteY3" fmla="*/ 174784 h 323469"/>
                  <a:gd name="connsiteX4" fmla="*/ 84868 w 174878"/>
                  <a:gd name="connsiteY4" fmla="*/ 323469 h 32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78" h="323469">
                    <a:moveTo>
                      <a:pt x="116300" y="306419"/>
                    </a:moveTo>
                    <a:cubicBezTo>
                      <a:pt x="97250" y="274606"/>
                      <a:pt x="85344" y="227362"/>
                      <a:pt x="85344" y="174784"/>
                    </a:cubicBezTo>
                    <a:cubicBezTo>
                      <a:pt x="85344" y="78010"/>
                      <a:pt x="124873" y="0"/>
                      <a:pt x="174879" y="0"/>
                    </a:cubicBezTo>
                    <a:cubicBezTo>
                      <a:pt x="78010" y="0"/>
                      <a:pt x="0" y="78010"/>
                      <a:pt x="0" y="174784"/>
                    </a:cubicBezTo>
                    <a:cubicBezTo>
                      <a:pt x="0" y="237935"/>
                      <a:pt x="34004" y="293180"/>
                      <a:pt x="84868" y="323469"/>
                    </a:cubicBezTo>
                  </a:path>
                </a:pathLst>
              </a:custGeom>
              <a:noFill/>
              <a:ln w="19050" cap="flat">
                <a:solidFill>
                  <a:schemeClr val="tx2"/>
                </a:solidFill>
                <a:prstDash val="solid"/>
                <a:round/>
              </a:ln>
            </p:spPr>
            <p:txBody>
              <a:bodyPr rtlCol="0" anchor="ctr"/>
              <a:lstStyle/>
              <a:p>
                <a:endParaRPr lang="en-IN"/>
              </a:p>
            </p:txBody>
          </p:sp>
          <p:sp>
            <p:nvSpPr>
              <p:cNvPr id="73" name="Freeform: Shape 72">
                <a:extLst>
                  <a:ext uri="{FF2B5EF4-FFF2-40B4-BE49-F238E27FC236}">
                    <a16:creationId xmlns:a16="http://schemas.microsoft.com/office/drawing/2014/main" id="{15C09E06-9B66-4713-8206-FAED4FA2E8CC}"/>
                  </a:ext>
                </a:extLst>
              </p:cNvPr>
              <p:cNvSpPr/>
              <p:nvPr/>
            </p:nvSpPr>
            <p:spPr>
              <a:xfrm>
                <a:off x="1879520" y="3678503"/>
                <a:ext cx="475272" cy="13638"/>
              </a:xfrm>
              <a:custGeom>
                <a:avLst/>
                <a:gdLst>
                  <a:gd name="connsiteX0" fmla="*/ 0 w 331946"/>
                  <a:gd name="connsiteY0" fmla="*/ 0 h 9525"/>
                  <a:gd name="connsiteX1" fmla="*/ 331946 w 331946"/>
                  <a:gd name="connsiteY1" fmla="*/ 0 h 9525"/>
                </a:gdLst>
                <a:ahLst/>
                <a:cxnLst>
                  <a:cxn ang="0">
                    <a:pos x="connsiteX0" y="connsiteY0"/>
                  </a:cxn>
                  <a:cxn ang="0">
                    <a:pos x="connsiteX1" y="connsiteY1"/>
                  </a:cxn>
                </a:cxnLst>
                <a:rect l="l" t="t" r="r" b="b"/>
                <a:pathLst>
                  <a:path w="331946" h="9525">
                    <a:moveTo>
                      <a:pt x="0" y="0"/>
                    </a:moveTo>
                    <a:cubicBezTo>
                      <a:pt x="331946" y="0"/>
                      <a:pt x="331946" y="0"/>
                      <a:pt x="331946" y="0"/>
                    </a:cubicBezTo>
                  </a:path>
                </a:pathLst>
              </a:custGeom>
              <a:noFill/>
              <a:ln w="19050" cap="flat">
                <a:solidFill>
                  <a:schemeClr val="tx2"/>
                </a:solidFill>
                <a:prstDash val="solid"/>
                <a:round/>
              </a:ln>
            </p:spPr>
            <p:txBody>
              <a:bodyPr rtlCol="0" anchor="ctr"/>
              <a:lstStyle/>
              <a:p>
                <a:endParaRPr lang="en-IN"/>
              </a:p>
            </p:txBody>
          </p:sp>
          <p:sp>
            <p:nvSpPr>
              <p:cNvPr id="74" name="Freeform: Shape 73">
                <a:extLst>
                  <a:ext uri="{FF2B5EF4-FFF2-40B4-BE49-F238E27FC236}">
                    <a16:creationId xmlns:a16="http://schemas.microsoft.com/office/drawing/2014/main" id="{CE77CF72-36D3-48A3-9D44-8092BDE68B14}"/>
                  </a:ext>
                </a:extLst>
              </p:cNvPr>
              <p:cNvSpPr/>
              <p:nvPr/>
            </p:nvSpPr>
            <p:spPr>
              <a:xfrm>
                <a:off x="1881021" y="3834927"/>
                <a:ext cx="355397" cy="13638"/>
              </a:xfrm>
              <a:custGeom>
                <a:avLst/>
                <a:gdLst>
                  <a:gd name="connsiteX0" fmla="*/ 0 w 248221"/>
                  <a:gd name="connsiteY0" fmla="*/ 0 h 9525"/>
                  <a:gd name="connsiteX1" fmla="*/ 248222 w 248221"/>
                  <a:gd name="connsiteY1" fmla="*/ 0 h 9525"/>
                </a:gdLst>
                <a:ahLst/>
                <a:cxnLst>
                  <a:cxn ang="0">
                    <a:pos x="connsiteX0" y="connsiteY0"/>
                  </a:cxn>
                  <a:cxn ang="0">
                    <a:pos x="connsiteX1" y="connsiteY1"/>
                  </a:cxn>
                </a:cxnLst>
                <a:rect l="l" t="t" r="r" b="b"/>
                <a:pathLst>
                  <a:path w="248221" h="9525">
                    <a:moveTo>
                      <a:pt x="0" y="0"/>
                    </a:moveTo>
                    <a:cubicBezTo>
                      <a:pt x="122777" y="0"/>
                      <a:pt x="199835" y="0"/>
                      <a:pt x="248222" y="0"/>
                    </a:cubicBezTo>
                  </a:path>
                </a:pathLst>
              </a:custGeom>
              <a:noFill/>
              <a:ln w="19050" cap="flat">
                <a:solidFill>
                  <a:schemeClr val="tx2"/>
                </a:solidFill>
                <a:prstDash val="solid"/>
                <a:round/>
              </a:ln>
            </p:spPr>
            <p:txBody>
              <a:bodyPr rtlCol="0" anchor="ctr"/>
              <a:lstStyle/>
              <a:p>
                <a:endParaRPr lang="en-IN"/>
              </a:p>
            </p:txBody>
          </p:sp>
          <p:grpSp>
            <p:nvGrpSpPr>
              <p:cNvPr id="75" name="Graphic 70">
                <a:extLst>
                  <a:ext uri="{FF2B5EF4-FFF2-40B4-BE49-F238E27FC236}">
                    <a16:creationId xmlns:a16="http://schemas.microsoft.com/office/drawing/2014/main" id="{8B95FD04-4A00-41FD-9433-02D489C41A57}"/>
                  </a:ext>
                </a:extLst>
              </p:cNvPr>
              <p:cNvGrpSpPr/>
              <p:nvPr/>
            </p:nvGrpSpPr>
            <p:grpSpPr>
              <a:xfrm>
                <a:off x="1927798" y="3811606"/>
                <a:ext cx="705611" cy="612057"/>
                <a:chOff x="4091871" y="3894026"/>
                <a:chExt cx="492822" cy="427481"/>
              </a:xfrm>
              <a:noFill/>
            </p:grpSpPr>
            <p:sp>
              <p:nvSpPr>
                <p:cNvPr id="76" name="Freeform: Shape 75">
                  <a:extLst>
                    <a:ext uri="{FF2B5EF4-FFF2-40B4-BE49-F238E27FC236}">
                      <a16:creationId xmlns:a16="http://schemas.microsoft.com/office/drawing/2014/main" id="{E48502E5-3DEB-45D5-9AF8-2E9BC77A73B7}"/>
                    </a:ext>
                  </a:extLst>
                </p:cNvPr>
                <p:cNvSpPr/>
                <p:nvPr/>
              </p:nvSpPr>
              <p:spPr>
                <a:xfrm>
                  <a:off x="4091871" y="4217495"/>
                  <a:ext cx="91439" cy="104012"/>
                </a:xfrm>
                <a:custGeom>
                  <a:avLst/>
                  <a:gdLst>
                    <a:gd name="connsiteX0" fmla="*/ 91440 w 91439"/>
                    <a:gd name="connsiteY0" fmla="*/ 104013 h 104012"/>
                    <a:gd name="connsiteX1" fmla="*/ 91440 w 91439"/>
                    <a:gd name="connsiteY1" fmla="*/ 37433 h 104012"/>
                    <a:gd name="connsiteX2" fmla="*/ 45720 w 91439"/>
                    <a:gd name="connsiteY2" fmla="*/ 0 h 104012"/>
                    <a:gd name="connsiteX3" fmla="*/ 45720 w 91439"/>
                    <a:gd name="connsiteY3" fmla="*/ 0 h 104012"/>
                    <a:gd name="connsiteX4" fmla="*/ 0 w 91439"/>
                    <a:gd name="connsiteY4" fmla="*/ 37433 h 104012"/>
                    <a:gd name="connsiteX5" fmla="*/ 0 w 91439"/>
                    <a:gd name="connsiteY5" fmla="*/ 104013 h 104012"/>
                    <a:gd name="connsiteX6" fmla="*/ 91440 w 91439"/>
                    <a:gd name="connsiteY6" fmla="*/ 104013 h 104012"/>
                    <a:gd name="connsiteX7" fmla="*/ 91440 w 91439"/>
                    <a:gd name="connsiteY7" fmla="*/ 104013 h 104012"/>
                    <a:gd name="connsiteX8" fmla="*/ 91440 w 91439"/>
                    <a:gd name="connsiteY8" fmla="*/ 104013 h 104012"/>
                    <a:gd name="connsiteX9" fmla="*/ 91440 w 91439"/>
                    <a:gd name="connsiteY9" fmla="*/ 104013 h 104012"/>
                    <a:gd name="connsiteX10" fmla="*/ 91440 w 91439"/>
                    <a:gd name="connsiteY10" fmla="*/ 104013 h 10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39" h="104012">
                      <a:moveTo>
                        <a:pt x="91440" y="104013"/>
                      </a:moveTo>
                      <a:cubicBezTo>
                        <a:pt x="91440" y="37433"/>
                        <a:pt x="91440" y="37433"/>
                        <a:pt x="91440" y="37433"/>
                      </a:cubicBezTo>
                      <a:cubicBezTo>
                        <a:pt x="91440" y="16669"/>
                        <a:pt x="68485" y="0"/>
                        <a:pt x="45720" y="0"/>
                      </a:cubicBezTo>
                      <a:lnTo>
                        <a:pt x="45720" y="0"/>
                      </a:lnTo>
                      <a:cubicBezTo>
                        <a:pt x="18383" y="0"/>
                        <a:pt x="0" y="16669"/>
                        <a:pt x="0" y="37433"/>
                      </a:cubicBezTo>
                      <a:cubicBezTo>
                        <a:pt x="0" y="104013"/>
                        <a:pt x="0" y="104013"/>
                        <a:pt x="0" y="104013"/>
                      </a:cubicBezTo>
                      <a:cubicBezTo>
                        <a:pt x="91440" y="104013"/>
                        <a:pt x="91440" y="104013"/>
                        <a:pt x="91440" y="104013"/>
                      </a:cubicBezTo>
                      <a:lnTo>
                        <a:pt x="91440" y="104013"/>
                      </a:lnTo>
                      <a:lnTo>
                        <a:pt x="91440" y="104013"/>
                      </a:lnTo>
                      <a:lnTo>
                        <a:pt x="91440" y="104013"/>
                      </a:lnTo>
                      <a:lnTo>
                        <a:pt x="91440" y="104013"/>
                      </a:lnTo>
                      <a:close/>
                    </a:path>
                  </a:pathLst>
                </a:custGeom>
                <a:noFill/>
                <a:ln w="19050" cap="flat">
                  <a:solidFill>
                    <a:schemeClr val="tx2"/>
                  </a:solidFill>
                  <a:prstDash val="solid"/>
                  <a:round/>
                </a:ln>
              </p:spPr>
              <p:txBody>
                <a:bodyPr rtlCol="0" anchor="ctr"/>
                <a:lstStyle/>
                <a:p>
                  <a:endParaRPr lang="en-IN"/>
                </a:p>
              </p:txBody>
            </p:sp>
            <p:grpSp>
              <p:nvGrpSpPr>
                <p:cNvPr id="77" name="Graphic 70">
                  <a:extLst>
                    <a:ext uri="{FF2B5EF4-FFF2-40B4-BE49-F238E27FC236}">
                      <a16:creationId xmlns:a16="http://schemas.microsoft.com/office/drawing/2014/main" id="{C5D0A860-96F8-4E6A-A04C-518D10E384F7}"/>
                    </a:ext>
                  </a:extLst>
                </p:cNvPr>
                <p:cNvGrpSpPr/>
                <p:nvPr/>
              </p:nvGrpSpPr>
              <p:grpSpPr>
                <a:xfrm>
                  <a:off x="4117302" y="3894026"/>
                  <a:ext cx="467391" cy="359540"/>
                  <a:chOff x="4117302" y="3894026"/>
                  <a:chExt cx="467391" cy="359540"/>
                </a:xfrm>
                <a:noFill/>
              </p:grpSpPr>
              <p:sp>
                <p:nvSpPr>
                  <p:cNvPr id="78" name="Freeform: Shape 77">
                    <a:extLst>
                      <a:ext uri="{FF2B5EF4-FFF2-40B4-BE49-F238E27FC236}">
                        <a16:creationId xmlns:a16="http://schemas.microsoft.com/office/drawing/2014/main" id="{E4675785-620F-4DA8-81DF-BC691638BC87}"/>
                      </a:ext>
                    </a:extLst>
                  </p:cNvPr>
                  <p:cNvSpPr/>
                  <p:nvPr/>
                </p:nvSpPr>
                <p:spPr>
                  <a:xfrm>
                    <a:off x="4130733" y="4023185"/>
                    <a:ext cx="9525" cy="194310"/>
                  </a:xfrm>
                  <a:custGeom>
                    <a:avLst/>
                    <a:gdLst>
                      <a:gd name="connsiteX0" fmla="*/ 0 w 9525"/>
                      <a:gd name="connsiteY0" fmla="*/ 0 h 194310"/>
                      <a:gd name="connsiteX1" fmla="*/ 0 w 9525"/>
                      <a:gd name="connsiteY1" fmla="*/ 194310 h 194310"/>
                    </a:gdLst>
                    <a:ahLst/>
                    <a:cxnLst>
                      <a:cxn ang="0">
                        <a:pos x="connsiteX0" y="connsiteY0"/>
                      </a:cxn>
                      <a:cxn ang="0">
                        <a:pos x="connsiteX1" y="connsiteY1"/>
                      </a:cxn>
                    </a:cxnLst>
                    <a:rect l="l" t="t" r="r" b="b"/>
                    <a:pathLst>
                      <a:path w="9525" h="194310">
                        <a:moveTo>
                          <a:pt x="0" y="0"/>
                        </a:moveTo>
                        <a:cubicBezTo>
                          <a:pt x="0" y="194310"/>
                          <a:pt x="0" y="194310"/>
                          <a:pt x="0" y="194310"/>
                        </a:cubicBezTo>
                      </a:path>
                    </a:pathLst>
                  </a:custGeom>
                  <a:noFill/>
                  <a:ln w="19050" cap="flat">
                    <a:solidFill>
                      <a:schemeClr val="tx2"/>
                    </a:solidFill>
                    <a:prstDash val="solid"/>
                    <a:round/>
                  </a:ln>
                </p:spPr>
                <p:txBody>
                  <a:bodyPr rtlCol="0" anchor="ctr"/>
                  <a:lstStyle/>
                  <a:p>
                    <a:endParaRPr lang="en-IN"/>
                  </a:p>
                </p:txBody>
              </p:sp>
              <p:grpSp>
                <p:nvGrpSpPr>
                  <p:cNvPr id="79" name="Graphic 70">
                    <a:extLst>
                      <a:ext uri="{FF2B5EF4-FFF2-40B4-BE49-F238E27FC236}">
                        <a16:creationId xmlns:a16="http://schemas.microsoft.com/office/drawing/2014/main" id="{8229192A-4D87-4E8B-ABD9-C407723E726F}"/>
                      </a:ext>
                    </a:extLst>
                  </p:cNvPr>
                  <p:cNvGrpSpPr/>
                  <p:nvPr/>
                </p:nvGrpSpPr>
                <p:grpSpPr>
                  <a:xfrm>
                    <a:off x="4117302" y="3894026"/>
                    <a:ext cx="467391" cy="359540"/>
                    <a:chOff x="4117302" y="3894026"/>
                    <a:chExt cx="467391" cy="359540"/>
                  </a:xfrm>
                  <a:noFill/>
                </p:grpSpPr>
                <p:sp>
                  <p:nvSpPr>
                    <p:cNvPr id="80" name="Freeform: Shape 79">
                      <a:extLst>
                        <a:ext uri="{FF2B5EF4-FFF2-40B4-BE49-F238E27FC236}">
                          <a16:creationId xmlns:a16="http://schemas.microsoft.com/office/drawing/2014/main" id="{EB1EECD9-FF09-40A1-8BD1-F29F4BA07587}"/>
                        </a:ext>
                      </a:extLst>
                    </p:cNvPr>
                    <p:cNvSpPr/>
                    <p:nvPr/>
                  </p:nvSpPr>
                  <p:spPr>
                    <a:xfrm>
                      <a:off x="4117302" y="3894026"/>
                      <a:ext cx="467391" cy="233267"/>
                    </a:xfrm>
                    <a:custGeom>
                      <a:avLst/>
                      <a:gdLst>
                        <a:gd name="connsiteX0" fmla="*/ 128587 w 467391"/>
                        <a:gd name="connsiteY0" fmla="*/ 51911 h 233267"/>
                        <a:gd name="connsiteX1" fmla="*/ 231553 w 467391"/>
                        <a:gd name="connsiteY1" fmla="*/ 0 h 233267"/>
                        <a:gd name="connsiteX2" fmla="*/ 467392 w 467391"/>
                        <a:gd name="connsiteY2" fmla="*/ 120967 h 233267"/>
                        <a:gd name="connsiteX3" fmla="*/ 231553 w 467391"/>
                        <a:gd name="connsiteY3" fmla="*/ 233267 h 233267"/>
                        <a:gd name="connsiteX4" fmla="*/ 0 w 467391"/>
                        <a:gd name="connsiteY4" fmla="*/ 120967 h 233267"/>
                        <a:gd name="connsiteX5" fmla="*/ 128587 w 467391"/>
                        <a:gd name="connsiteY5" fmla="*/ 51911 h 233267"/>
                        <a:gd name="connsiteX6" fmla="*/ 128587 w 467391"/>
                        <a:gd name="connsiteY6" fmla="*/ 51911 h 233267"/>
                        <a:gd name="connsiteX7" fmla="*/ 128587 w 467391"/>
                        <a:gd name="connsiteY7" fmla="*/ 51911 h 233267"/>
                        <a:gd name="connsiteX8" fmla="*/ 128587 w 467391"/>
                        <a:gd name="connsiteY8" fmla="*/ 51911 h 233267"/>
                        <a:gd name="connsiteX9" fmla="*/ 128587 w 467391"/>
                        <a:gd name="connsiteY9" fmla="*/ 51911 h 233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7391" h="233267">
                          <a:moveTo>
                            <a:pt x="128587" y="51911"/>
                          </a:moveTo>
                          <a:cubicBezTo>
                            <a:pt x="231553" y="0"/>
                            <a:pt x="231553" y="0"/>
                            <a:pt x="231553" y="0"/>
                          </a:cubicBezTo>
                          <a:cubicBezTo>
                            <a:pt x="467392" y="120967"/>
                            <a:pt x="467392" y="120967"/>
                            <a:pt x="467392" y="120967"/>
                          </a:cubicBezTo>
                          <a:cubicBezTo>
                            <a:pt x="231553" y="233267"/>
                            <a:pt x="231553" y="233267"/>
                            <a:pt x="231553" y="233267"/>
                          </a:cubicBezTo>
                          <a:cubicBezTo>
                            <a:pt x="0" y="120967"/>
                            <a:pt x="0" y="120967"/>
                            <a:pt x="0" y="120967"/>
                          </a:cubicBezTo>
                          <a:cubicBezTo>
                            <a:pt x="128587" y="51911"/>
                            <a:pt x="128587" y="51911"/>
                            <a:pt x="128587" y="51911"/>
                          </a:cubicBezTo>
                          <a:lnTo>
                            <a:pt x="128587" y="51911"/>
                          </a:lnTo>
                          <a:lnTo>
                            <a:pt x="128587" y="51911"/>
                          </a:lnTo>
                          <a:lnTo>
                            <a:pt x="128587" y="51911"/>
                          </a:lnTo>
                          <a:lnTo>
                            <a:pt x="128587" y="51911"/>
                          </a:lnTo>
                          <a:close/>
                        </a:path>
                      </a:pathLst>
                    </a:custGeom>
                    <a:noFill/>
                    <a:ln w="19050" cap="flat">
                      <a:solidFill>
                        <a:schemeClr val="tx2"/>
                      </a:solidFill>
                      <a:prstDash val="solid"/>
                      <a:round/>
                    </a:ln>
                  </p:spPr>
                  <p:txBody>
                    <a:bodyPr rtlCol="0" anchor="ctr"/>
                    <a:lstStyle/>
                    <a:p>
                      <a:endParaRPr lang="en-IN"/>
                    </a:p>
                  </p:txBody>
                </p:sp>
                <p:sp>
                  <p:nvSpPr>
                    <p:cNvPr id="81" name="Freeform: Shape 80">
                      <a:extLst>
                        <a:ext uri="{FF2B5EF4-FFF2-40B4-BE49-F238E27FC236}">
                          <a16:creationId xmlns:a16="http://schemas.microsoft.com/office/drawing/2014/main" id="{4469FE5E-121E-4AC8-95B0-51D157C54604}"/>
                        </a:ext>
                      </a:extLst>
                    </p:cNvPr>
                    <p:cNvSpPr/>
                    <p:nvPr/>
                  </p:nvSpPr>
                  <p:spPr>
                    <a:xfrm>
                      <a:off x="4195026" y="4071830"/>
                      <a:ext cx="299466" cy="181736"/>
                    </a:xfrm>
                    <a:custGeom>
                      <a:avLst/>
                      <a:gdLst>
                        <a:gd name="connsiteX0" fmla="*/ 25337 w 299466"/>
                        <a:gd name="connsiteY0" fmla="*/ 0 h 181736"/>
                        <a:gd name="connsiteX1" fmla="*/ 0 w 299466"/>
                        <a:gd name="connsiteY1" fmla="*/ 101346 h 181736"/>
                        <a:gd name="connsiteX2" fmla="*/ 151829 w 299466"/>
                        <a:gd name="connsiteY2" fmla="*/ 181737 h 181736"/>
                        <a:gd name="connsiteX3" fmla="*/ 299466 w 299466"/>
                        <a:gd name="connsiteY3" fmla="*/ 101346 h 181736"/>
                        <a:gd name="connsiteX4" fmla="*/ 274130 w 299466"/>
                        <a:gd name="connsiteY4" fmla="*/ 0 h 181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466" h="181736">
                          <a:moveTo>
                            <a:pt x="25337" y="0"/>
                          </a:moveTo>
                          <a:cubicBezTo>
                            <a:pt x="0" y="33814"/>
                            <a:pt x="0" y="101346"/>
                            <a:pt x="0" y="101346"/>
                          </a:cubicBezTo>
                          <a:cubicBezTo>
                            <a:pt x="151829" y="181737"/>
                            <a:pt x="151829" y="181737"/>
                            <a:pt x="151829" y="181737"/>
                          </a:cubicBezTo>
                          <a:cubicBezTo>
                            <a:pt x="299466" y="101346"/>
                            <a:pt x="299466" y="101346"/>
                            <a:pt x="299466" y="101346"/>
                          </a:cubicBezTo>
                          <a:cubicBezTo>
                            <a:pt x="299466" y="101346"/>
                            <a:pt x="299466" y="37909"/>
                            <a:pt x="274130" y="0"/>
                          </a:cubicBezTo>
                        </a:path>
                      </a:pathLst>
                    </a:custGeom>
                    <a:noFill/>
                    <a:ln w="19050" cap="flat">
                      <a:solidFill>
                        <a:schemeClr val="tx2"/>
                      </a:solidFill>
                      <a:prstDash val="solid"/>
                      <a:round/>
                    </a:ln>
                  </p:spPr>
                  <p:txBody>
                    <a:bodyPr rtlCol="0" anchor="ctr"/>
                    <a:lstStyle/>
                    <a:p>
                      <a:endParaRPr lang="en-IN"/>
                    </a:p>
                  </p:txBody>
                </p:sp>
              </p:grpSp>
            </p:grpSp>
          </p:grpSp>
        </p:grpSp>
      </p:grpSp>
      <p:pic>
        <p:nvPicPr>
          <p:cNvPr id="83" name="Picture 82" descr="A teacher teaching in a classroom">
            <a:extLst>
              <a:ext uri="{FF2B5EF4-FFF2-40B4-BE49-F238E27FC236}">
                <a16:creationId xmlns:a16="http://schemas.microsoft.com/office/drawing/2014/main" id="{1BCC5499-82CD-49A4-A336-C220EDDB7DF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5029200" cy="6994525"/>
          </a:xfrm>
          <a:prstGeom prst="rect">
            <a:avLst/>
          </a:prstGeom>
        </p:spPr>
      </p:pic>
      <p:grpSp>
        <p:nvGrpSpPr>
          <p:cNvPr id="37" name="Group 36">
            <a:extLst>
              <a:ext uri="{FF2B5EF4-FFF2-40B4-BE49-F238E27FC236}">
                <a16:creationId xmlns:a16="http://schemas.microsoft.com/office/drawing/2014/main" id="{2D7179DB-3C5E-4537-935D-44EB62DCAE3B}"/>
              </a:ext>
              <a:ext uri="{C183D7F6-B498-43B3-948B-1728B52AA6E4}">
                <adec:decorative xmlns:adec="http://schemas.microsoft.com/office/drawing/2017/decorative" val="1"/>
              </a:ext>
            </a:extLst>
          </p:cNvPr>
          <p:cNvGrpSpPr/>
          <p:nvPr/>
        </p:nvGrpSpPr>
        <p:grpSpPr>
          <a:xfrm>
            <a:off x="5538809" y="3429867"/>
            <a:ext cx="6438879" cy="1262186"/>
            <a:chOff x="5538809" y="3595775"/>
            <a:chExt cx="6438879" cy="1262186"/>
          </a:xfrm>
        </p:grpSpPr>
        <p:sp>
          <p:nvSpPr>
            <p:cNvPr id="52" name="Rectangle 51">
              <a:extLst>
                <a:ext uri="{FF2B5EF4-FFF2-40B4-BE49-F238E27FC236}">
                  <a16:creationId xmlns:a16="http://schemas.microsoft.com/office/drawing/2014/main" id="{EA170A74-1F40-4062-807E-2BD2B8D44921}"/>
                </a:ext>
              </a:extLst>
            </p:cNvPr>
            <p:cNvSpPr/>
            <p:nvPr/>
          </p:nvSpPr>
          <p:spPr>
            <a:xfrm>
              <a:off x="6455229" y="3595775"/>
              <a:ext cx="5522459" cy="1262186"/>
            </a:xfrm>
            <a:prstGeom prst="rect">
              <a:avLst/>
            </a:prstGeom>
          </p:spPr>
          <p:txBody>
            <a:bodyPr wrap="square" lIns="0" tIns="0" rIns="0" bIns="0" anchor="ctr">
              <a:noAutofit/>
            </a:bodyPr>
            <a:lstStyle/>
            <a:p>
              <a:pPr lvl="0"/>
              <a:r>
                <a:rPr lang="en-US" kern="0">
                  <a:solidFill>
                    <a:schemeClr val="tx2"/>
                  </a:solidFill>
                  <a:latin typeface="Segoe UI Semibold" panose="020B0702040204020203" pitchFamily="34" charset="0"/>
                  <a:cs typeface="Segoe UI Semibold" panose="020B0702040204020203" pitchFamily="34" charset="0"/>
                </a:rPr>
                <a:t>Personalize learning. </a:t>
              </a:r>
              <a:r>
                <a:rPr lang="en-US" kern="0">
                  <a:latin typeface="Segoe UI" panose="020B0502040204020203" pitchFamily="34" charset="0"/>
                  <a:cs typeface="Segoe UI" panose="020B0502040204020203" pitchFamily="34" charset="0"/>
                </a:rPr>
                <a:t>Support a student-centered approach to learning across remote, hybrid, and in-person environments, centralized in Microsoft Teams.</a:t>
              </a:r>
            </a:p>
          </p:txBody>
        </p:sp>
        <p:grpSp>
          <p:nvGrpSpPr>
            <p:cNvPr id="3" name="Group 2">
              <a:extLst>
                <a:ext uri="{FF2B5EF4-FFF2-40B4-BE49-F238E27FC236}">
                  <a16:creationId xmlns:a16="http://schemas.microsoft.com/office/drawing/2014/main" id="{B23756FB-CFE3-46C1-8DF3-C92E8F27D733}"/>
                </a:ext>
              </a:extLst>
            </p:cNvPr>
            <p:cNvGrpSpPr/>
            <p:nvPr/>
          </p:nvGrpSpPr>
          <p:grpSpPr>
            <a:xfrm>
              <a:off x="5538809" y="3862387"/>
              <a:ext cx="728964" cy="728962"/>
              <a:chOff x="5538809" y="3862387"/>
              <a:chExt cx="728964" cy="728962"/>
            </a:xfrm>
          </p:grpSpPr>
          <p:sp>
            <p:nvSpPr>
              <p:cNvPr id="54" name="Oval 53">
                <a:extLst>
                  <a:ext uri="{FF2B5EF4-FFF2-40B4-BE49-F238E27FC236}">
                    <a16:creationId xmlns:a16="http://schemas.microsoft.com/office/drawing/2014/main" id="{F7A61729-A2FA-4B62-B388-B04ACAEDC272}"/>
                  </a:ext>
                  <a:ext uri="{C183D7F6-B498-43B3-948B-1728B52AA6E4}">
                    <adec:decorative xmlns:adec="http://schemas.microsoft.com/office/drawing/2017/decorative" val="1"/>
                  </a:ext>
                </a:extLst>
              </p:cNvPr>
              <p:cNvSpPr/>
              <p:nvPr/>
            </p:nvSpPr>
            <p:spPr bwMode="auto">
              <a:xfrm>
                <a:off x="5538809" y="3862387"/>
                <a:ext cx="728964" cy="728962"/>
              </a:xfrm>
              <a:prstGeom prst="ellipse">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pic>
            <p:nvPicPr>
              <p:cNvPr id="24" name="Graphic 23">
                <a:extLst>
                  <a:ext uri="{FF2B5EF4-FFF2-40B4-BE49-F238E27FC236}">
                    <a16:creationId xmlns:a16="http://schemas.microsoft.com/office/drawing/2014/main" id="{D692F7EC-E506-4474-AEF7-69A700AB9FC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73910" y="4043363"/>
                <a:ext cx="458764" cy="367010"/>
              </a:xfrm>
              <a:prstGeom prst="rect">
                <a:avLst/>
              </a:prstGeom>
            </p:spPr>
          </p:pic>
        </p:grpSp>
      </p:grpSp>
      <p:grpSp>
        <p:nvGrpSpPr>
          <p:cNvPr id="36" name="Group 35">
            <a:extLst>
              <a:ext uri="{FF2B5EF4-FFF2-40B4-BE49-F238E27FC236}">
                <a16:creationId xmlns:a16="http://schemas.microsoft.com/office/drawing/2014/main" id="{4370EDC6-D78B-401C-8044-FC7DE89DB2FE}"/>
              </a:ext>
              <a:ext uri="{C183D7F6-B498-43B3-948B-1728B52AA6E4}">
                <adec:decorative xmlns:adec="http://schemas.microsoft.com/office/drawing/2017/decorative" val="1"/>
              </a:ext>
            </a:extLst>
          </p:cNvPr>
          <p:cNvGrpSpPr/>
          <p:nvPr/>
        </p:nvGrpSpPr>
        <p:grpSpPr>
          <a:xfrm>
            <a:off x="5538809" y="1935460"/>
            <a:ext cx="6438878" cy="1262186"/>
            <a:chOff x="5538809" y="1830685"/>
            <a:chExt cx="6438878" cy="1262186"/>
          </a:xfrm>
        </p:grpSpPr>
        <p:sp>
          <p:nvSpPr>
            <p:cNvPr id="47" name="Rectangle 46">
              <a:extLst>
                <a:ext uri="{FF2B5EF4-FFF2-40B4-BE49-F238E27FC236}">
                  <a16:creationId xmlns:a16="http://schemas.microsoft.com/office/drawing/2014/main" id="{2426AF31-7310-4D16-9864-F2B957EBA935}"/>
                </a:ext>
              </a:extLst>
            </p:cNvPr>
            <p:cNvSpPr/>
            <p:nvPr/>
          </p:nvSpPr>
          <p:spPr>
            <a:xfrm>
              <a:off x="6455228" y="1830685"/>
              <a:ext cx="5522459" cy="1262186"/>
            </a:xfrm>
            <a:prstGeom prst="rect">
              <a:avLst/>
            </a:prstGeom>
          </p:spPr>
          <p:txBody>
            <a:bodyPr wrap="square" lIns="0" tIns="0" rIns="0" bIns="0" anchor="ctr">
              <a:noAutofit/>
            </a:bodyPr>
            <a:lstStyle/>
            <a:p>
              <a:pPr lvl="0"/>
              <a:r>
                <a:rPr lang="en-US" kern="0">
                  <a:solidFill>
                    <a:schemeClr val="tx2"/>
                  </a:solidFill>
                  <a:latin typeface="Segoe UI Semibold" panose="020B0702040204020203" pitchFamily="34" charset="0"/>
                  <a:cs typeface="Segoe UI Semibold" panose="020B0702040204020203" pitchFamily="34" charset="0"/>
                </a:rPr>
                <a:t>Build confidence. </a:t>
              </a:r>
              <a:r>
                <a:rPr lang="en-US" kern="0">
                  <a:latin typeface="Segoe UI" panose="020B0502040204020203" pitchFamily="34" charset="0"/>
                  <a:cs typeface="Segoe UI" panose="020B0502040204020203" pitchFamily="34" charset="0"/>
                </a:rPr>
                <a:t>Prepare teachers for remote learning with free training on the Microsoft Educator Center and support from Microsoft Store specialists.</a:t>
              </a:r>
            </a:p>
          </p:txBody>
        </p:sp>
        <p:grpSp>
          <p:nvGrpSpPr>
            <p:cNvPr id="4" name="Group 3">
              <a:extLst>
                <a:ext uri="{FF2B5EF4-FFF2-40B4-BE49-F238E27FC236}">
                  <a16:creationId xmlns:a16="http://schemas.microsoft.com/office/drawing/2014/main" id="{46BD14CB-DE10-4545-97B3-427AB02DF1BE}"/>
                </a:ext>
              </a:extLst>
            </p:cNvPr>
            <p:cNvGrpSpPr/>
            <p:nvPr/>
          </p:nvGrpSpPr>
          <p:grpSpPr>
            <a:xfrm>
              <a:off x="5538809" y="2097297"/>
              <a:ext cx="728964" cy="728962"/>
              <a:chOff x="5538809" y="2097297"/>
              <a:chExt cx="728964" cy="728962"/>
            </a:xfrm>
          </p:grpSpPr>
          <p:sp>
            <p:nvSpPr>
              <p:cNvPr id="49" name="Oval 48">
                <a:extLst>
                  <a:ext uri="{FF2B5EF4-FFF2-40B4-BE49-F238E27FC236}">
                    <a16:creationId xmlns:a16="http://schemas.microsoft.com/office/drawing/2014/main" id="{C80F50C7-980D-408C-A205-6EE3D44DACC6}"/>
                  </a:ext>
                  <a:ext uri="{C183D7F6-B498-43B3-948B-1728B52AA6E4}">
                    <adec:decorative xmlns:adec="http://schemas.microsoft.com/office/drawing/2017/decorative" val="1"/>
                  </a:ext>
                </a:extLst>
              </p:cNvPr>
              <p:cNvSpPr/>
              <p:nvPr/>
            </p:nvSpPr>
            <p:spPr bwMode="auto">
              <a:xfrm>
                <a:off x="5538809" y="2097297"/>
                <a:ext cx="728964" cy="728962"/>
              </a:xfrm>
              <a:prstGeom prst="ellipse">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pic>
            <p:nvPicPr>
              <p:cNvPr id="26" name="Graphic 25">
                <a:extLst>
                  <a:ext uri="{FF2B5EF4-FFF2-40B4-BE49-F238E27FC236}">
                    <a16:creationId xmlns:a16="http://schemas.microsoft.com/office/drawing/2014/main" id="{DA05E60B-B1DE-4575-986D-83C3CAA7C01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22316" y="2280803"/>
                <a:ext cx="361950" cy="361950"/>
              </a:xfrm>
              <a:prstGeom prst="rect">
                <a:avLst/>
              </a:prstGeom>
            </p:spPr>
          </p:pic>
        </p:grpSp>
      </p:grpSp>
      <p:grpSp>
        <p:nvGrpSpPr>
          <p:cNvPr id="35" name="Group 34">
            <a:extLst>
              <a:ext uri="{FF2B5EF4-FFF2-40B4-BE49-F238E27FC236}">
                <a16:creationId xmlns:a16="http://schemas.microsoft.com/office/drawing/2014/main" id="{B2D4E070-9F14-41B4-A3E7-1FDE4628A5DF}"/>
              </a:ext>
              <a:ext uri="{C183D7F6-B498-43B3-948B-1728B52AA6E4}">
                <adec:decorative xmlns:adec="http://schemas.microsoft.com/office/drawing/2017/decorative" val="1"/>
              </a:ext>
            </a:extLst>
          </p:cNvPr>
          <p:cNvGrpSpPr/>
          <p:nvPr/>
        </p:nvGrpSpPr>
        <p:grpSpPr>
          <a:xfrm>
            <a:off x="5538809" y="4924274"/>
            <a:ext cx="6438879" cy="1262186"/>
            <a:chOff x="5538809" y="5360865"/>
            <a:chExt cx="6438879" cy="1262186"/>
          </a:xfrm>
        </p:grpSpPr>
        <p:sp>
          <p:nvSpPr>
            <p:cNvPr id="64" name="Rectangle 63">
              <a:extLst>
                <a:ext uri="{FF2B5EF4-FFF2-40B4-BE49-F238E27FC236}">
                  <a16:creationId xmlns:a16="http://schemas.microsoft.com/office/drawing/2014/main" id="{381C4973-BC09-4A8C-8322-1BF2D435F8D4}"/>
                </a:ext>
              </a:extLst>
            </p:cNvPr>
            <p:cNvSpPr/>
            <p:nvPr/>
          </p:nvSpPr>
          <p:spPr>
            <a:xfrm>
              <a:off x="6455229" y="5360865"/>
              <a:ext cx="5522459" cy="1262186"/>
            </a:xfrm>
            <a:prstGeom prst="rect">
              <a:avLst/>
            </a:prstGeom>
          </p:spPr>
          <p:txBody>
            <a:bodyPr wrap="square" lIns="0" tIns="0" rIns="0" bIns="0" anchor="ctr">
              <a:noAutofit/>
            </a:bodyPr>
            <a:lstStyle/>
            <a:p>
              <a:pPr lvl="0"/>
              <a:r>
                <a:rPr lang="en-US" kern="0">
                  <a:solidFill>
                    <a:schemeClr val="tx2"/>
                  </a:solidFill>
                  <a:latin typeface="Segoe UI Semibold" panose="020B0702040204020203" pitchFamily="34" charset="0"/>
                  <a:cs typeface="Segoe UI Semibold" panose="020B0702040204020203" pitchFamily="34" charset="0"/>
                </a:rPr>
                <a:t>Streamline collaboration. </a:t>
              </a:r>
              <a:r>
                <a:rPr lang="en-US" kern="0">
                  <a:latin typeface="Segoe UI" panose="020B0502040204020203" pitchFamily="34" charset="0"/>
                  <a:cs typeface="Segoe UI" panose="020B0502040204020203" pitchFamily="34" charset="0"/>
                </a:rPr>
                <a:t>Build professional learning communities and help teachers stay connected with Microsoft Office 365 and Teams.</a:t>
              </a:r>
            </a:p>
          </p:txBody>
        </p:sp>
        <p:grpSp>
          <p:nvGrpSpPr>
            <p:cNvPr id="34" name="Group 33">
              <a:extLst>
                <a:ext uri="{FF2B5EF4-FFF2-40B4-BE49-F238E27FC236}">
                  <a16:creationId xmlns:a16="http://schemas.microsoft.com/office/drawing/2014/main" id="{E84C51CB-F5DB-43D3-BCD4-78F949E43DAE}"/>
                </a:ext>
              </a:extLst>
            </p:cNvPr>
            <p:cNvGrpSpPr/>
            <p:nvPr/>
          </p:nvGrpSpPr>
          <p:grpSpPr>
            <a:xfrm>
              <a:off x="5538809" y="5627477"/>
              <a:ext cx="728964" cy="728962"/>
              <a:chOff x="5538809" y="5627477"/>
              <a:chExt cx="728964" cy="728962"/>
            </a:xfrm>
          </p:grpSpPr>
          <p:sp>
            <p:nvSpPr>
              <p:cNvPr id="66" name="Oval 65">
                <a:extLst>
                  <a:ext uri="{FF2B5EF4-FFF2-40B4-BE49-F238E27FC236}">
                    <a16:creationId xmlns:a16="http://schemas.microsoft.com/office/drawing/2014/main" id="{63EBD8BD-1124-4C66-B0F2-4815B2EDC3F8}"/>
                  </a:ext>
                  <a:ext uri="{C183D7F6-B498-43B3-948B-1728B52AA6E4}">
                    <adec:decorative xmlns:adec="http://schemas.microsoft.com/office/drawing/2017/decorative" val="1"/>
                  </a:ext>
                </a:extLst>
              </p:cNvPr>
              <p:cNvSpPr/>
              <p:nvPr/>
            </p:nvSpPr>
            <p:spPr bwMode="auto">
              <a:xfrm>
                <a:off x="5538809" y="5627477"/>
                <a:ext cx="728964" cy="728962"/>
              </a:xfrm>
              <a:prstGeom prst="ellipse">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grpSp>
            <p:nvGrpSpPr>
              <p:cNvPr id="5" name="Graphic 24">
                <a:extLst>
                  <a:ext uri="{FF2B5EF4-FFF2-40B4-BE49-F238E27FC236}">
                    <a16:creationId xmlns:a16="http://schemas.microsoft.com/office/drawing/2014/main" id="{D485A030-2CD7-47C0-9B8A-EA6CF1493EC8}"/>
                  </a:ext>
                </a:extLst>
              </p:cNvPr>
              <p:cNvGrpSpPr/>
              <p:nvPr/>
            </p:nvGrpSpPr>
            <p:grpSpPr>
              <a:xfrm>
                <a:off x="5665593" y="5760263"/>
                <a:ext cx="474597" cy="463390"/>
                <a:chOff x="5665593" y="5760263"/>
                <a:chExt cx="474597" cy="463390"/>
              </a:xfrm>
              <a:noFill/>
            </p:grpSpPr>
            <p:grpSp>
              <p:nvGrpSpPr>
                <p:cNvPr id="6" name="Graphic 24">
                  <a:extLst>
                    <a:ext uri="{FF2B5EF4-FFF2-40B4-BE49-F238E27FC236}">
                      <a16:creationId xmlns:a16="http://schemas.microsoft.com/office/drawing/2014/main" id="{D485A030-2CD7-47C0-9B8A-EA6CF1493EC8}"/>
                    </a:ext>
                  </a:extLst>
                </p:cNvPr>
                <p:cNvGrpSpPr/>
                <p:nvPr/>
              </p:nvGrpSpPr>
              <p:grpSpPr>
                <a:xfrm>
                  <a:off x="5665593" y="5861105"/>
                  <a:ext cx="92038" cy="92037"/>
                  <a:chOff x="5665593" y="5861105"/>
                  <a:chExt cx="92038" cy="92037"/>
                </a:xfrm>
                <a:noFill/>
              </p:grpSpPr>
              <p:sp>
                <p:nvSpPr>
                  <p:cNvPr id="7" name="Freeform: Shape 6">
                    <a:extLst>
                      <a:ext uri="{FF2B5EF4-FFF2-40B4-BE49-F238E27FC236}">
                        <a16:creationId xmlns:a16="http://schemas.microsoft.com/office/drawing/2014/main" id="{61A89742-08AC-4EDA-ADAE-EDEE0FD3A1C7}"/>
                      </a:ext>
                    </a:extLst>
                  </p:cNvPr>
                  <p:cNvSpPr/>
                  <p:nvPr/>
                </p:nvSpPr>
                <p:spPr>
                  <a:xfrm>
                    <a:off x="5686001" y="5878312"/>
                    <a:ext cx="51221" cy="57623"/>
                  </a:xfrm>
                  <a:custGeom>
                    <a:avLst/>
                    <a:gdLst>
                      <a:gd name="connsiteX0" fmla="*/ 10004 w 51221"/>
                      <a:gd name="connsiteY0" fmla="*/ 16007 h 57623"/>
                      <a:gd name="connsiteX1" fmla="*/ 26011 w 51221"/>
                      <a:gd name="connsiteY1" fmla="*/ 0 h 57623"/>
                      <a:gd name="connsiteX2" fmla="*/ 42018 w 51221"/>
                      <a:gd name="connsiteY2" fmla="*/ 16007 h 57623"/>
                      <a:gd name="connsiteX3" fmla="*/ 26011 w 51221"/>
                      <a:gd name="connsiteY3" fmla="*/ 32013 h 57623"/>
                      <a:gd name="connsiteX4" fmla="*/ 10004 w 51221"/>
                      <a:gd name="connsiteY4" fmla="*/ 16007 h 57623"/>
                      <a:gd name="connsiteX5" fmla="*/ 10004 w 51221"/>
                      <a:gd name="connsiteY5" fmla="*/ 16007 h 57623"/>
                      <a:gd name="connsiteX6" fmla="*/ 51221 w 51221"/>
                      <a:gd name="connsiteY6" fmla="*/ 57624 h 57623"/>
                      <a:gd name="connsiteX7" fmla="*/ 25611 w 51221"/>
                      <a:gd name="connsiteY7" fmla="*/ 32013 h 57623"/>
                      <a:gd name="connsiteX8" fmla="*/ 0 w 51221"/>
                      <a:gd name="connsiteY8" fmla="*/ 57624 h 57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221" h="57623">
                        <a:moveTo>
                          <a:pt x="10004" y="16007"/>
                        </a:moveTo>
                        <a:cubicBezTo>
                          <a:pt x="10004" y="7203"/>
                          <a:pt x="17207" y="0"/>
                          <a:pt x="26011" y="0"/>
                        </a:cubicBezTo>
                        <a:cubicBezTo>
                          <a:pt x="34815" y="0"/>
                          <a:pt x="42018" y="7203"/>
                          <a:pt x="42018" y="16007"/>
                        </a:cubicBezTo>
                        <a:cubicBezTo>
                          <a:pt x="42018" y="24810"/>
                          <a:pt x="34815" y="32013"/>
                          <a:pt x="26011" y="32013"/>
                        </a:cubicBezTo>
                        <a:cubicBezTo>
                          <a:pt x="17207" y="32013"/>
                          <a:pt x="10004" y="24810"/>
                          <a:pt x="10004" y="16007"/>
                        </a:cubicBezTo>
                        <a:lnTo>
                          <a:pt x="10004" y="16007"/>
                        </a:lnTo>
                        <a:close/>
                        <a:moveTo>
                          <a:pt x="51221" y="57624"/>
                        </a:moveTo>
                        <a:cubicBezTo>
                          <a:pt x="51221" y="43218"/>
                          <a:pt x="39617" y="32013"/>
                          <a:pt x="25611" y="32013"/>
                        </a:cubicBezTo>
                        <a:cubicBezTo>
                          <a:pt x="11605" y="32013"/>
                          <a:pt x="0" y="43618"/>
                          <a:pt x="0" y="57624"/>
                        </a:cubicBezTo>
                      </a:path>
                    </a:pathLst>
                  </a:custGeom>
                  <a:noFill/>
                  <a:ln w="12700" cap="flat">
                    <a:solidFill>
                      <a:schemeClr val="tx2"/>
                    </a:solidFill>
                    <a:prstDash val="solid"/>
                    <a:miter/>
                  </a:ln>
                </p:spPr>
                <p:txBody>
                  <a:bodyPr rtlCol="0" anchor="ctr"/>
                  <a:lstStyle/>
                  <a:p>
                    <a:endParaRPr lang="en-IN"/>
                  </a:p>
                </p:txBody>
              </p:sp>
              <p:sp>
                <p:nvSpPr>
                  <p:cNvPr id="8" name="Freeform: Shape 7">
                    <a:extLst>
                      <a:ext uri="{FF2B5EF4-FFF2-40B4-BE49-F238E27FC236}">
                        <a16:creationId xmlns:a16="http://schemas.microsoft.com/office/drawing/2014/main" id="{3CDB8A73-3E1A-4638-8ABE-7E05168787B2}"/>
                      </a:ext>
                    </a:extLst>
                  </p:cNvPr>
                  <p:cNvSpPr/>
                  <p:nvPr/>
                </p:nvSpPr>
                <p:spPr>
                  <a:xfrm>
                    <a:off x="5665593" y="5861105"/>
                    <a:ext cx="92038" cy="92037"/>
                  </a:xfrm>
                  <a:custGeom>
                    <a:avLst/>
                    <a:gdLst>
                      <a:gd name="connsiteX0" fmla="*/ 92038 w 92038"/>
                      <a:gd name="connsiteY0" fmla="*/ 46019 h 92037"/>
                      <a:gd name="connsiteX1" fmla="*/ 46019 w 92038"/>
                      <a:gd name="connsiteY1" fmla="*/ 92038 h 92037"/>
                      <a:gd name="connsiteX2" fmla="*/ 0 w 92038"/>
                      <a:gd name="connsiteY2" fmla="*/ 46019 h 92037"/>
                      <a:gd name="connsiteX3" fmla="*/ 46019 w 92038"/>
                      <a:gd name="connsiteY3" fmla="*/ 0 h 92037"/>
                      <a:gd name="connsiteX4" fmla="*/ 92038 w 92038"/>
                      <a:gd name="connsiteY4" fmla="*/ 46019 h 9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38" h="92037">
                        <a:moveTo>
                          <a:pt x="92038" y="46019"/>
                        </a:moveTo>
                        <a:cubicBezTo>
                          <a:pt x="92038" y="71434"/>
                          <a:pt x="71435" y="92038"/>
                          <a:pt x="46019" y="92038"/>
                        </a:cubicBezTo>
                        <a:cubicBezTo>
                          <a:pt x="20603" y="92038"/>
                          <a:pt x="0" y="71434"/>
                          <a:pt x="0" y="46019"/>
                        </a:cubicBezTo>
                        <a:cubicBezTo>
                          <a:pt x="0" y="20603"/>
                          <a:pt x="20603" y="0"/>
                          <a:pt x="46019" y="0"/>
                        </a:cubicBezTo>
                        <a:cubicBezTo>
                          <a:pt x="71435" y="0"/>
                          <a:pt x="92038" y="20603"/>
                          <a:pt x="92038" y="46019"/>
                        </a:cubicBezTo>
                        <a:close/>
                      </a:path>
                    </a:pathLst>
                  </a:custGeom>
                  <a:noFill/>
                  <a:ln w="12700" cap="flat">
                    <a:solidFill>
                      <a:schemeClr val="tx2"/>
                    </a:solidFill>
                    <a:prstDash val="solid"/>
                    <a:miter/>
                  </a:ln>
                </p:spPr>
                <p:txBody>
                  <a:bodyPr rtlCol="0" anchor="ctr"/>
                  <a:lstStyle/>
                  <a:p>
                    <a:endParaRPr lang="en-IN"/>
                  </a:p>
                </p:txBody>
              </p:sp>
            </p:grpSp>
            <p:grpSp>
              <p:nvGrpSpPr>
                <p:cNvPr id="9" name="Graphic 24">
                  <a:extLst>
                    <a:ext uri="{FF2B5EF4-FFF2-40B4-BE49-F238E27FC236}">
                      <a16:creationId xmlns:a16="http://schemas.microsoft.com/office/drawing/2014/main" id="{D485A030-2CD7-47C0-9B8A-EA6CF1493EC8}"/>
                    </a:ext>
                  </a:extLst>
                </p:cNvPr>
                <p:cNvGrpSpPr/>
                <p:nvPr/>
              </p:nvGrpSpPr>
              <p:grpSpPr>
                <a:xfrm>
                  <a:off x="5856872" y="5760263"/>
                  <a:ext cx="92038" cy="92037"/>
                  <a:chOff x="5856872" y="5760263"/>
                  <a:chExt cx="92038" cy="92037"/>
                </a:xfrm>
                <a:noFill/>
              </p:grpSpPr>
              <p:sp>
                <p:nvSpPr>
                  <p:cNvPr id="10" name="Freeform: Shape 9">
                    <a:extLst>
                      <a:ext uri="{FF2B5EF4-FFF2-40B4-BE49-F238E27FC236}">
                        <a16:creationId xmlns:a16="http://schemas.microsoft.com/office/drawing/2014/main" id="{B1811E4B-24EC-49E8-9386-594F6BC3D15B}"/>
                      </a:ext>
                    </a:extLst>
                  </p:cNvPr>
                  <p:cNvSpPr/>
                  <p:nvPr/>
                </p:nvSpPr>
                <p:spPr>
                  <a:xfrm>
                    <a:off x="5877681" y="5777471"/>
                    <a:ext cx="51221" cy="57623"/>
                  </a:xfrm>
                  <a:custGeom>
                    <a:avLst/>
                    <a:gdLst>
                      <a:gd name="connsiteX0" fmla="*/ 9604 w 51221"/>
                      <a:gd name="connsiteY0" fmla="*/ 16007 h 57623"/>
                      <a:gd name="connsiteX1" fmla="*/ 25611 w 51221"/>
                      <a:gd name="connsiteY1" fmla="*/ 0 h 57623"/>
                      <a:gd name="connsiteX2" fmla="*/ 41617 w 51221"/>
                      <a:gd name="connsiteY2" fmla="*/ 16007 h 57623"/>
                      <a:gd name="connsiteX3" fmla="*/ 25611 w 51221"/>
                      <a:gd name="connsiteY3" fmla="*/ 32013 h 57623"/>
                      <a:gd name="connsiteX4" fmla="*/ 9604 w 51221"/>
                      <a:gd name="connsiteY4" fmla="*/ 16007 h 57623"/>
                      <a:gd name="connsiteX5" fmla="*/ 9604 w 51221"/>
                      <a:gd name="connsiteY5" fmla="*/ 16007 h 57623"/>
                      <a:gd name="connsiteX6" fmla="*/ 51221 w 51221"/>
                      <a:gd name="connsiteY6" fmla="*/ 57624 h 57623"/>
                      <a:gd name="connsiteX7" fmla="*/ 25611 w 51221"/>
                      <a:gd name="connsiteY7" fmla="*/ 32013 h 57623"/>
                      <a:gd name="connsiteX8" fmla="*/ 0 w 51221"/>
                      <a:gd name="connsiteY8" fmla="*/ 57624 h 57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221" h="57623">
                        <a:moveTo>
                          <a:pt x="9604" y="16007"/>
                        </a:moveTo>
                        <a:cubicBezTo>
                          <a:pt x="9604" y="7203"/>
                          <a:pt x="16807" y="0"/>
                          <a:pt x="25611" y="0"/>
                        </a:cubicBezTo>
                        <a:cubicBezTo>
                          <a:pt x="34414" y="0"/>
                          <a:pt x="41617" y="7203"/>
                          <a:pt x="41617" y="16007"/>
                        </a:cubicBezTo>
                        <a:cubicBezTo>
                          <a:pt x="41617" y="24810"/>
                          <a:pt x="34414" y="32013"/>
                          <a:pt x="25611" y="32013"/>
                        </a:cubicBezTo>
                        <a:cubicBezTo>
                          <a:pt x="16807" y="32013"/>
                          <a:pt x="9604" y="24810"/>
                          <a:pt x="9604" y="16007"/>
                        </a:cubicBezTo>
                        <a:lnTo>
                          <a:pt x="9604" y="16007"/>
                        </a:lnTo>
                        <a:close/>
                        <a:moveTo>
                          <a:pt x="51221" y="57624"/>
                        </a:moveTo>
                        <a:cubicBezTo>
                          <a:pt x="51221" y="43218"/>
                          <a:pt x="39617" y="32013"/>
                          <a:pt x="25611" y="32013"/>
                        </a:cubicBezTo>
                        <a:cubicBezTo>
                          <a:pt x="11605" y="32013"/>
                          <a:pt x="0" y="43618"/>
                          <a:pt x="0" y="57624"/>
                        </a:cubicBezTo>
                      </a:path>
                    </a:pathLst>
                  </a:custGeom>
                  <a:noFill/>
                  <a:ln w="12700" cap="flat">
                    <a:solidFill>
                      <a:schemeClr val="tx2"/>
                    </a:solidFill>
                    <a:prstDash val="solid"/>
                    <a:miter/>
                  </a:ln>
                </p:spPr>
                <p:txBody>
                  <a:bodyPr rtlCol="0" anchor="ctr"/>
                  <a:lstStyle/>
                  <a:p>
                    <a:endParaRPr lang="en-IN"/>
                  </a:p>
                </p:txBody>
              </p:sp>
              <p:sp>
                <p:nvSpPr>
                  <p:cNvPr id="11" name="Freeform: Shape 10">
                    <a:extLst>
                      <a:ext uri="{FF2B5EF4-FFF2-40B4-BE49-F238E27FC236}">
                        <a16:creationId xmlns:a16="http://schemas.microsoft.com/office/drawing/2014/main" id="{11996C9E-16FC-4421-8157-DE2BBFDEA98C}"/>
                      </a:ext>
                    </a:extLst>
                  </p:cNvPr>
                  <p:cNvSpPr/>
                  <p:nvPr/>
                </p:nvSpPr>
                <p:spPr>
                  <a:xfrm>
                    <a:off x="5856872" y="5760263"/>
                    <a:ext cx="92038" cy="92037"/>
                  </a:xfrm>
                  <a:custGeom>
                    <a:avLst/>
                    <a:gdLst>
                      <a:gd name="connsiteX0" fmla="*/ 92038 w 92038"/>
                      <a:gd name="connsiteY0" fmla="*/ 46019 h 92037"/>
                      <a:gd name="connsiteX1" fmla="*/ 46019 w 92038"/>
                      <a:gd name="connsiteY1" fmla="*/ 92038 h 92037"/>
                      <a:gd name="connsiteX2" fmla="*/ 0 w 92038"/>
                      <a:gd name="connsiteY2" fmla="*/ 46019 h 92037"/>
                      <a:gd name="connsiteX3" fmla="*/ 46019 w 92038"/>
                      <a:gd name="connsiteY3" fmla="*/ 0 h 92037"/>
                      <a:gd name="connsiteX4" fmla="*/ 92038 w 92038"/>
                      <a:gd name="connsiteY4" fmla="*/ 46019 h 9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38" h="92037">
                        <a:moveTo>
                          <a:pt x="92038" y="46019"/>
                        </a:moveTo>
                        <a:cubicBezTo>
                          <a:pt x="92038" y="71434"/>
                          <a:pt x="71435" y="92038"/>
                          <a:pt x="46019" y="92038"/>
                        </a:cubicBezTo>
                        <a:cubicBezTo>
                          <a:pt x="20603" y="92038"/>
                          <a:pt x="0" y="71434"/>
                          <a:pt x="0" y="46019"/>
                        </a:cubicBezTo>
                        <a:cubicBezTo>
                          <a:pt x="0" y="20603"/>
                          <a:pt x="20603" y="0"/>
                          <a:pt x="46019" y="0"/>
                        </a:cubicBezTo>
                        <a:cubicBezTo>
                          <a:pt x="71435" y="0"/>
                          <a:pt x="92038" y="20603"/>
                          <a:pt x="92038" y="46019"/>
                        </a:cubicBezTo>
                        <a:close/>
                      </a:path>
                    </a:pathLst>
                  </a:custGeom>
                  <a:noFill/>
                  <a:ln w="12700" cap="flat">
                    <a:solidFill>
                      <a:schemeClr val="tx2"/>
                    </a:solidFill>
                    <a:prstDash val="solid"/>
                    <a:miter/>
                  </a:ln>
                </p:spPr>
                <p:txBody>
                  <a:bodyPr rtlCol="0" anchor="ctr"/>
                  <a:lstStyle/>
                  <a:p>
                    <a:endParaRPr lang="en-IN"/>
                  </a:p>
                </p:txBody>
              </p:sp>
            </p:grpSp>
            <p:grpSp>
              <p:nvGrpSpPr>
                <p:cNvPr id="12" name="Graphic 24">
                  <a:extLst>
                    <a:ext uri="{FF2B5EF4-FFF2-40B4-BE49-F238E27FC236}">
                      <a16:creationId xmlns:a16="http://schemas.microsoft.com/office/drawing/2014/main" id="{D485A030-2CD7-47C0-9B8A-EA6CF1493EC8}"/>
                    </a:ext>
                  </a:extLst>
                </p:cNvPr>
                <p:cNvGrpSpPr/>
                <p:nvPr/>
              </p:nvGrpSpPr>
              <p:grpSpPr>
                <a:xfrm>
                  <a:off x="6042550" y="5853102"/>
                  <a:ext cx="92038" cy="92037"/>
                  <a:chOff x="6042550" y="5853102"/>
                  <a:chExt cx="92038" cy="92037"/>
                </a:xfrm>
                <a:noFill/>
              </p:grpSpPr>
              <p:sp>
                <p:nvSpPr>
                  <p:cNvPr id="13" name="Freeform: Shape 12">
                    <a:extLst>
                      <a:ext uri="{FF2B5EF4-FFF2-40B4-BE49-F238E27FC236}">
                        <a16:creationId xmlns:a16="http://schemas.microsoft.com/office/drawing/2014/main" id="{1B96248A-2E82-4BCA-90A3-4ED1E35E80C4}"/>
                      </a:ext>
                    </a:extLst>
                  </p:cNvPr>
                  <p:cNvSpPr/>
                  <p:nvPr/>
                </p:nvSpPr>
                <p:spPr>
                  <a:xfrm>
                    <a:off x="6063358" y="5870309"/>
                    <a:ext cx="51221" cy="57623"/>
                  </a:xfrm>
                  <a:custGeom>
                    <a:avLst/>
                    <a:gdLst>
                      <a:gd name="connsiteX0" fmla="*/ 9604 w 51221"/>
                      <a:gd name="connsiteY0" fmla="*/ 16007 h 57623"/>
                      <a:gd name="connsiteX1" fmla="*/ 25611 w 51221"/>
                      <a:gd name="connsiteY1" fmla="*/ 0 h 57623"/>
                      <a:gd name="connsiteX2" fmla="*/ 41617 w 51221"/>
                      <a:gd name="connsiteY2" fmla="*/ 16007 h 57623"/>
                      <a:gd name="connsiteX3" fmla="*/ 25611 w 51221"/>
                      <a:gd name="connsiteY3" fmla="*/ 32013 h 57623"/>
                      <a:gd name="connsiteX4" fmla="*/ 9604 w 51221"/>
                      <a:gd name="connsiteY4" fmla="*/ 16007 h 57623"/>
                      <a:gd name="connsiteX5" fmla="*/ 9604 w 51221"/>
                      <a:gd name="connsiteY5" fmla="*/ 16007 h 57623"/>
                      <a:gd name="connsiteX6" fmla="*/ 51221 w 51221"/>
                      <a:gd name="connsiteY6" fmla="*/ 57624 h 57623"/>
                      <a:gd name="connsiteX7" fmla="*/ 25611 w 51221"/>
                      <a:gd name="connsiteY7" fmla="*/ 32013 h 57623"/>
                      <a:gd name="connsiteX8" fmla="*/ 0 w 51221"/>
                      <a:gd name="connsiteY8" fmla="*/ 57624 h 57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221" h="57623">
                        <a:moveTo>
                          <a:pt x="9604" y="16007"/>
                        </a:moveTo>
                        <a:cubicBezTo>
                          <a:pt x="9604" y="7203"/>
                          <a:pt x="16807" y="0"/>
                          <a:pt x="25611" y="0"/>
                        </a:cubicBezTo>
                        <a:cubicBezTo>
                          <a:pt x="34414" y="0"/>
                          <a:pt x="41617" y="7203"/>
                          <a:pt x="41617" y="16007"/>
                        </a:cubicBezTo>
                        <a:cubicBezTo>
                          <a:pt x="41617" y="24810"/>
                          <a:pt x="34414" y="32013"/>
                          <a:pt x="25611" y="32013"/>
                        </a:cubicBezTo>
                        <a:cubicBezTo>
                          <a:pt x="16807" y="32013"/>
                          <a:pt x="9604" y="24810"/>
                          <a:pt x="9604" y="16007"/>
                        </a:cubicBezTo>
                        <a:lnTo>
                          <a:pt x="9604" y="16007"/>
                        </a:lnTo>
                        <a:close/>
                        <a:moveTo>
                          <a:pt x="51221" y="57624"/>
                        </a:moveTo>
                        <a:cubicBezTo>
                          <a:pt x="51221" y="43218"/>
                          <a:pt x="39617" y="32013"/>
                          <a:pt x="25611" y="32013"/>
                        </a:cubicBezTo>
                        <a:cubicBezTo>
                          <a:pt x="11605" y="32013"/>
                          <a:pt x="0" y="43618"/>
                          <a:pt x="0" y="57624"/>
                        </a:cubicBezTo>
                      </a:path>
                    </a:pathLst>
                  </a:custGeom>
                  <a:noFill/>
                  <a:ln w="12700" cap="flat">
                    <a:solidFill>
                      <a:schemeClr val="tx2"/>
                    </a:solidFill>
                    <a:prstDash val="solid"/>
                    <a:miter/>
                  </a:ln>
                </p:spPr>
                <p:txBody>
                  <a:bodyPr rtlCol="0" anchor="ctr"/>
                  <a:lstStyle/>
                  <a:p>
                    <a:endParaRPr lang="en-IN"/>
                  </a:p>
                </p:txBody>
              </p:sp>
              <p:sp>
                <p:nvSpPr>
                  <p:cNvPr id="14" name="Freeform: Shape 13">
                    <a:extLst>
                      <a:ext uri="{FF2B5EF4-FFF2-40B4-BE49-F238E27FC236}">
                        <a16:creationId xmlns:a16="http://schemas.microsoft.com/office/drawing/2014/main" id="{1CA56AFD-2B8C-4B2C-B8CE-889534B9B1DC}"/>
                      </a:ext>
                    </a:extLst>
                  </p:cNvPr>
                  <p:cNvSpPr/>
                  <p:nvPr/>
                </p:nvSpPr>
                <p:spPr>
                  <a:xfrm>
                    <a:off x="6042550" y="5853102"/>
                    <a:ext cx="92038" cy="92037"/>
                  </a:xfrm>
                  <a:custGeom>
                    <a:avLst/>
                    <a:gdLst>
                      <a:gd name="connsiteX0" fmla="*/ 92038 w 92038"/>
                      <a:gd name="connsiteY0" fmla="*/ 46019 h 92037"/>
                      <a:gd name="connsiteX1" fmla="*/ 46019 w 92038"/>
                      <a:gd name="connsiteY1" fmla="*/ 92038 h 92037"/>
                      <a:gd name="connsiteX2" fmla="*/ 0 w 92038"/>
                      <a:gd name="connsiteY2" fmla="*/ 46019 h 92037"/>
                      <a:gd name="connsiteX3" fmla="*/ 46019 w 92038"/>
                      <a:gd name="connsiteY3" fmla="*/ 0 h 92037"/>
                      <a:gd name="connsiteX4" fmla="*/ 92038 w 92038"/>
                      <a:gd name="connsiteY4" fmla="*/ 46019 h 9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38" h="92037">
                        <a:moveTo>
                          <a:pt x="92038" y="46019"/>
                        </a:moveTo>
                        <a:cubicBezTo>
                          <a:pt x="92038" y="71434"/>
                          <a:pt x="71435" y="92038"/>
                          <a:pt x="46019" y="92038"/>
                        </a:cubicBezTo>
                        <a:cubicBezTo>
                          <a:pt x="20604" y="92038"/>
                          <a:pt x="0" y="71434"/>
                          <a:pt x="0" y="46019"/>
                        </a:cubicBezTo>
                        <a:cubicBezTo>
                          <a:pt x="0" y="20603"/>
                          <a:pt x="20604" y="0"/>
                          <a:pt x="46019" y="0"/>
                        </a:cubicBezTo>
                        <a:cubicBezTo>
                          <a:pt x="71435" y="0"/>
                          <a:pt x="92038" y="20603"/>
                          <a:pt x="92038" y="46019"/>
                        </a:cubicBezTo>
                        <a:close/>
                      </a:path>
                    </a:pathLst>
                  </a:custGeom>
                  <a:noFill/>
                  <a:ln w="12700" cap="flat">
                    <a:solidFill>
                      <a:schemeClr val="tx2"/>
                    </a:solidFill>
                    <a:prstDash val="solid"/>
                    <a:miter/>
                  </a:ln>
                </p:spPr>
                <p:txBody>
                  <a:bodyPr rtlCol="0" anchor="ctr"/>
                  <a:lstStyle/>
                  <a:p>
                    <a:endParaRPr lang="en-IN"/>
                  </a:p>
                </p:txBody>
              </p:sp>
            </p:grpSp>
            <p:grpSp>
              <p:nvGrpSpPr>
                <p:cNvPr id="15" name="Graphic 24">
                  <a:extLst>
                    <a:ext uri="{FF2B5EF4-FFF2-40B4-BE49-F238E27FC236}">
                      <a16:creationId xmlns:a16="http://schemas.microsoft.com/office/drawing/2014/main" id="{D485A030-2CD7-47C0-9B8A-EA6CF1493EC8}"/>
                    </a:ext>
                  </a:extLst>
                </p:cNvPr>
                <p:cNvGrpSpPr/>
                <p:nvPr/>
              </p:nvGrpSpPr>
              <p:grpSpPr>
                <a:xfrm>
                  <a:off x="6048152" y="6124013"/>
                  <a:ext cx="92038" cy="92037"/>
                  <a:chOff x="6048152" y="6124013"/>
                  <a:chExt cx="92038" cy="92037"/>
                </a:xfrm>
                <a:noFill/>
              </p:grpSpPr>
              <p:sp>
                <p:nvSpPr>
                  <p:cNvPr id="16" name="Freeform: Shape 15">
                    <a:extLst>
                      <a:ext uri="{FF2B5EF4-FFF2-40B4-BE49-F238E27FC236}">
                        <a16:creationId xmlns:a16="http://schemas.microsoft.com/office/drawing/2014/main" id="{37EEB1CC-7145-4FCE-A512-26B0D402F5F2}"/>
                      </a:ext>
                    </a:extLst>
                  </p:cNvPr>
                  <p:cNvSpPr/>
                  <p:nvPr/>
                </p:nvSpPr>
                <p:spPr>
                  <a:xfrm>
                    <a:off x="6068961" y="6140820"/>
                    <a:ext cx="51221" cy="58023"/>
                  </a:xfrm>
                  <a:custGeom>
                    <a:avLst/>
                    <a:gdLst>
                      <a:gd name="connsiteX0" fmla="*/ 9604 w 51221"/>
                      <a:gd name="connsiteY0" fmla="*/ 16007 h 58023"/>
                      <a:gd name="connsiteX1" fmla="*/ 25611 w 51221"/>
                      <a:gd name="connsiteY1" fmla="*/ 0 h 58023"/>
                      <a:gd name="connsiteX2" fmla="*/ 41617 w 51221"/>
                      <a:gd name="connsiteY2" fmla="*/ 16007 h 58023"/>
                      <a:gd name="connsiteX3" fmla="*/ 25611 w 51221"/>
                      <a:gd name="connsiteY3" fmla="*/ 32013 h 58023"/>
                      <a:gd name="connsiteX4" fmla="*/ 9604 w 51221"/>
                      <a:gd name="connsiteY4" fmla="*/ 16007 h 58023"/>
                      <a:gd name="connsiteX5" fmla="*/ 9604 w 51221"/>
                      <a:gd name="connsiteY5" fmla="*/ 16007 h 58023"/>
                      <a:gd name="connsiteX6" fmla="*/ 51221 w 51221"/>
                      <a:gd name="connsiteY6" fmla="*/ 58024 h 58023"/>
                      <a:gd name="connsiteX7" fmla="*/ 25611 w 51221"/>
                      <a:gd name="connsiteY7" fmla="*/ 32413 h 58023"/>
                      <a:gd name="connsiteX8" fmla="*/ 0 w 51221"/>
                      <a:gd name="connsiteY8" fmla="*/ 58024 h 58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221" h="58023">
                        <a:moveTo>
                          <a:pt x="9604" y="16007"/>
                        </a:moveTo>
                        <a:cubicBezTo>
                          <a:pt x="9604" y="7203"/>
                          <a:pt x="16807" y="0"/>
                          <a:pt x="25611" y="0"/>
                        </a:cubicBezTo>
                        <a:cubicBezTo>
                          <a:pt x="34414" y="0"/>
                          <a:pt x="41617" y="7203"/>
                          <a:pt x="41617" y="16007"/>
                        </a:cubicBezTo>
                        <a:cubicBezTo>
                          <a:pt x="41617" y="24810"/>
                          <a:pt x="34414" y="32013"/>
                          <a:pt x="25611" y="32013"/>
                        </a:cubicBezTo>
                        <a:cubicBezTo>
                          <a:pt x="16807" y="32013"/>
                          <a:pt x="9604" y="24810"/>
                          <a:pt x="9604" y="16007"/>
                        </a:cubicBezTo>
                        <a:lnTo>
                          <a:pt x="9604" y="16007"/>
                        </a:lnTo>
                        <a:close/>
                        <a:moveTo>
                          <a:pt x="51221" y="58024"/>
                        </a:moveTo>
                        <a:cubicBezTo>
                          <a:pt x="51221" y="43618"/>
                          <a:pt x="39617" y="32413"/>
                          <a:pt x="25611" y="32413"/>
                        </a:cubicBezTo>
                        <a:cubicBezTo>
                          <a:pt x="11605" y="32413"/>
                          <a:pt x="0" y="44018"/>
                          <a:pt x="0" y="58024"/>
                        </a:cubicBezTo>
                      </a:path>
                    </a:pathLst>
                  </a:custGeom>
                  <a:noFill/>
                  <a:ln w="12700" cap="flat">
                    <a:solidFill>
                      <a:schemeClr val="tx2"/>
                    </a:solidFill>
                    <a:prstDash val="solid"/>
                    <a:miter/>
                  </a:ln>
                </p:spPr>
                <p:txBody>
                  <a:bodyPr rtlCol="0" anchor="ctr"/>
                  <a:lstStyle/>
                  <a:p>
                    <a:endParaRPr lang="en-IN"/>
                  </a:p>
                </p:txBody>
              </p:sp>
              <p:sp>
                <p:nvSpPr>
                  <p:cNvPr id="17" name="Freeform: Shape 16">
                    <a:extLst>
                      <a:ext uri="{FF2B5EF4-FFF2-40B4-BE49-F238E27FC236}">
                        <a16:creationId xmlns:a16="http://schemas.microsoft.com/office/drawing/2014/main" id="{09F28E50-D191-45CA-8C64-EDA605DCDD40}"/>
                      </a:ext>
                    </a:extLst>
                  </p:cNvPr>
                  <p:cNvSpPr/>
                  <p:nvPr/>
                </p:nvSpPr>
                <p:spPr>
                  <a:xfrm>
                    <a:off x="6048152" y="6124013"/>
                    <a:ext cx="92038" cy="92037"/>
                  </a:xfrm>
                  <a:custGeom>
                    <a:avLst/>
                    <a:gdLst>
                      <a:gd name="connsiteX0" fmla="*/ 92038 w 92038"/>
                      <a:gd name="connsiteY0" fmla="*/ 46019 h 92037"/>
                      <a:gd name="connsiteX1" fmla="*/ 46019 w 92038"/>
                      <a:gd name="connsiteY1" fmla="*/ 92038 h 92037"/>
                      <a:gd name="connsiteX2" fmla="*/ 0 w 92038"/>
                      <a:gd name="connsiteY2" fmla="*/ 46019 h 92037"/>
                      <a:gd name="connsiteX3" fmla="*/ 46019 w 92038"/>
                      <a:gd name="connsiteY3" fmla="*/ 0 h 92037"/>
                      <a:gd name="connsiteX4" fmla="*/ 92038 w 92038"/>
                      <a:gd name="connsiteY4" fmla="*/ 46019 h 9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38" h="92037">
                        <a:moveTo>
                          <a:pt x="92038" y="46019"/>
                        </a:moveTo>
                        <a:cubicBezTo>
                          <a:pt x="92038" y="71434"/>
                          <a:pt x="71435" y="92038"/>
                          <a:pt x="46019" y="92038"/>
                        </a:cubicBezTo>
                        <a:cubicBezTo>
                          <a:pt x="20603" y="92038"/>
                          <a:pt x="0" y="71434"/>
                          <a:pt x="0" y="46019"/>
                        </a:cubicBezTo>
                        <a:cubicBezTo>
                          <a:pt x="0" y="20603"/>
                          <a:pt x="20603" y="0"/>
                          <a:pt x="46019" y="0"/>
                        </a:cubicBezTo>
                        <a:cubicBezTo>
                          <a:pt x="71435" y="0"/>
                          <a:pt x="92038" y="20603"/>
                          <a:pt x="92038" y="46019"/>
                        </a:cubicBezTo>
                        <a:close/>
                      </a:path>
                    </a:pathLst>
                  </a:custGeom>
                  <a:noFill/>
                  <a:ln w="12700" cap="flat">
                    <a:solidFill>
                      <a:schemeClr val="tx2"/>
                    </a:solidFill>
                    <a:prstDash val="solid"/>
                    <a:miter/>
                  </a:ln>
                </p:spPr>
                <p:txBody>
                  <a:bodyPr rtlCol="0" anchor="ctr"/>
                  <a:lstStyle/>
                  <a:p>
                    <a:endParaRPr lang="en-IN"/>
                  </a:p>
                </p:txBody>
              </p:sp>
            </p:grpSp>
            <p:grpSp>
              <p:nvGrpSpPr>
                <p:cNvPr id="18" name="Graphic 24">
                  <a:extLst>
                    <a:ext uri="{FF2B5EF4-FFF2-40B4-BE49-F238E27FC236}">
                      <a16:creationId xmlns:a16="http://schemas.microsoft.com/office/drawing/2014/main" id="{D485A030-2CD7-47C0-9B8A-EA6CF1493EC8}"/>
                    </a:ext>
                  </a:extLst>
                </p:cNvPr>
                <p:cNvGrpSpPr/>
                <p:nvPr/>
              </p:nvGrpSpPr>
              <p:grpSpPr>
                <a:xfrm>
                  <a:off x="5671195" y="6131616"/>
                  <a:ext cx="92038" cy="92037"/>
                  <a:chOff x="5671195" y="6131616"/>
                  <a:chExt cx="92038" cy="92037"/>
                </a:xfrm>
                <a:noFill/>
              </p:grpSpPr>
              <p:sp>
                <p:nvSpPr>
                  <p:cNvPr id="19" name="Freeform: Shape 18">
                    <a:extLst>
                      <a:ext uri="{FF2B5EF4-FFF2-40B4-BE49-F238E27FC236}">
                        <a16:creationId xmlns:a16="http://schemas.microsoft.com/office/drawing/2014/main" id="{C5F153F4-5750-4689-B740-5176C2C4ED18}"/>
                      </a:ext>
                    </a:extLst>
                  </p:cNvPr>
                  <p:cNvSpPr/>
                  <p:nvPr/>
                </p:nvSpPr>
                <p:spPr>
                  <a:xfrm>
                    <a:off x="5691603" y="6148823"/>
                    <a:ext cx="51221" cy="57623"/>
                  </a:xfrm>
                  <a:custGeom>
                    <a:avLst/>
                    <a:gdLst>
                      <a:gd name="connsiteX0" fmla="*/ 10004 w 51221"/>
                      <a:gd name="connsiteY0" fmla="*/ 16007 h 57623"/>
                      <a:gd name="connsiteX1" fmla="*/ 26011 w 51221"/>
                      <a:gd name="connsiteY1" fmla="*/ 0 h 57623"/>
                      <a:gd name="connsiteX2" fmla="*/ 42018 w 51221"/>
                      <a:gd name="connsiteY2" fmla="*/ 16007 h 57623"/>
                      <a:gd name="connsiteX3" fmla="*/ 26011 w 51221"/>
                      <a:gd name="connsiteY3" fmla="*/ 32013 h 57623"/>
                      <a:gd name="connsiteX4" fmla="*/ 10004 w 51221"/>
                      <a:gd name="connsiteY4" fmla="*/ 16007 h 57623"/>
                      <a:gd name="connsiteX5" fmla="*/ 10004 w 51221"/>
                      <a:gd name="connsiteY5" fmla="*/ 16007 h 57623"/>
                      <a:gd name="connsiteX6" fmla="*/ 51221 w 51221"/>
                      <a:gd name="connsiteY6" fmla="*/ 57624 h 57623"/>
                      <a:gd name="connsiteX7" fmla="*/ 25611 w 51221"/>
                      <a:gd name="connsiteY7" fmla="*/ 32013 h 57623"/>
                      <a:gd name="connsiteX8" fmla="*/ 0 w 51221"/>
                      <a:gd name="connsiteY8" fmla="*/ 57624 h 57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221" h="57623">
                        <a:moveTo>
                          <a:pt x="10004" y="16007"/>
                        </a:moveTo>
                        <a:cubicBezTo>
                          <a:pt x="10004" y="7203"/>
                          <a:pt x="17207" y="0"/>
                          <a:pt x="26011" y="0"/>
                        </a:cubicBezTo>
                        <a:cubicBezTo>
                          <a:pt x="34815" y="0"/>
                          <a:pt x="42018" y="7203"/>
                          <a:pt x="42018" y="16007"/>
                        </a:cubicBezTo>
                        <a:cubicBezTo>
                          <a:pt x="42018" y="24810"/>
                          <a:pt x="34815" y="32013"/>
                          <a:pt x="26011" y="32013"/>
                        </a:cubicBezTo>
                        <a:cubicBezTo>
                          <a:pt x="17207" y="32013"/>
                          <a:pt x="10004" y="24810"/>
                          <a:pt x="10004" y="16007"/>
                        </a:cubicBezTo>
                        <a:lnTo>
                          <a:pt x="10004" y="16007"/>
                        </a:lnTo>
                        <a:close/>
                        <a:moveTo>
                          <a:pt x="51221" y="57624"/>
                        </a:moveTo>
                        <a:cubicBezTo>
                          <a:pt x="51221" y="43218"/>
                          <a:pt x="39617" y="32013"/>
                          <a:pt x="25611" y="32013"/>
                        </a:cubicBezTo>
                        <a:cubicBezTo>
                          <a:pt x="11605" y="32013"/>
                          <a:pt x="0" y="43618"/>
                          <a:pt x="0" y="57624"/>
                        </a:cubicBezTo>
                      </a:path>
                    </a:pathLst>
                  </a:custGeom>
                  <a:noFill/>
                  <a:ln w="12700" cap="flat">
                    <a:solidFill>
                      <a:schemeClr val="tx2"/>
                    </a:solidFill>
                    <a:prstDash val="solid"/>
                    <a:miter/>
                  </a:ln>
                </p:spPr>
                <p:txBody>
                  <a:bodyPr rtlCol="0" anchor="ctr"/>
                  <a:lstStyle/>
                  <a:p>
                    <a:endParaRPr lang="en-IN"/>
                  </a:p>
                </p:txBody>
              </p:sp>
              <p:sp>
                <p:nvSpPr>
                  <p:cNvPr id="20" name="Freeform: Shape 19">
                    <a:extLst>
                      <a:ext uri="{FF2B5EF4-FFF2-40B4-BE49-F238E27FC236}">
                        <a16:creationId xmlns:a16="http://schemas.microsoft.com/office/drawing/2014/main" id="{743088F3-E529-47D1-898C-FA0F6DD7D303}"/>
                      </a:ext>
                    </a:extLst>
                  </p:cNvPr>
                  <p:cNvSpPr/>
                  <p:nvPr/>
                </p:nvSpPr>
                <p:spPr>
                  <a:xfrm>
                    <a:off x="5671195" y="6131616"/>
                    <a:ext cx="92038" cy="92037"/>
                  </a:xfrm>
                  <a:custGeom>
                    <a:avLst/>
                    <a:gdLst>
                      <a:gd name="connsiteX0" fmla="*/ 92038 w 92038"/>
                      <a:gd name="connsiteY0" fmla="*/ 46019 h 92037"/>
                      <a:gd name="connsiteX1" fmla="*/ 46019 w 92038"/>
                      <a:gd name="connsiteY1" fmla="*/ 92038 h 92037"/>
                      <a:gd name="connsiteX2" fmla="*/ 0 w 92038"/>
                      <a:gd name="connsiteY2" fmla="*/ 46019 h 92037"/>
                      <a:gd name="connsiteX3" fmla="*/ 46019 w 92038"/>
                      <a:gd name="connsiteY3" fmla="*/ 0 h 92037"/>
                      <a:gd name="connsiteX4" fmla="*/ 92038 w 92038"/>
                      <a:gd name="connsiteY4" fmla="*/ 46019 h 9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38" h="92037">
                        <a:moveTo>
                          <a:pt x="92038" y="46019"/>
                        </a:moveTo>
                        <a:cubicBezTo>
                          <a:pt x="92038" y="71434"/>
                          <a:pt x="71435" y="92038"/>
                          <a:pt x="46019" y="92038"/>
                        </a:cubicBezTo>
                        <a:cubicBezTo>
                          <a:pt x="20603" y="92038"/>
                          <a:pt x="0" y="71434"/>
                          <a:pt x="0" y="46019"/>
                        </a:cubicBezTo>
                        <a:cubicBezTo>
                          <a:pt x="0" y="20603"/>
                          <a:pt x="20603" y="0"/>
                          <a:pt x="46019" y="0"/>
                        </a:cubicBezTo>
                        <a:cubicBezTo>
                          <a:pt x="71435" y="0"/>
                          <a:pt x="92038" y="20603"/>
                          <a:pt x="92038" y="46019"/>
                        </a:cubicBezTo>
                        <a:close/>
                      </a:path>
                    </a:pathLst>
                  </a:custGeom>
                  <a:noFill/>
                  <a:ln w="12700" cap="flat">
                    <a:solidFill>
                      <a:schemeClr val="tx2"/>
                    </a:solidFill>
                    <a:prstDash val="solid"/>
                    <a:miter/>
                  </a:ln>
                </p:spPr>
                <p:txBody>
                  <a:bodyPr rtlCol="0" anchor="ctr"/>
                  <a:lstStyle/>
                  <a:p>
                    <a:endParaRPr lang="en-IN"/>
                  </a:p>
                </p:txBody>
              </p:sp>
            </p:grpSp>
            <p:grpSp>
              <p:nvGrpSpPr>
                <p:cNvPr id="21" name="Graphic 24">
                  <a:extLst>
                    <a:ext uri="{FF2B5EF4-FFF2-40B4-BE49-F238E27FC236}">
                      <a16:creationId xmlns:a16="http://schemas.microsoft.com/office/drawing/2014/main" id="{D485A030-2CD7-47C0-9B8A-EA6CF1493EC8}"/>
                    </a:ext>
                  </a:extLst>
                </p:cNvPr>
                <p:cNvGrpSpPr/>
                <p:nvPr/>
              </p:nvGrpSpPr>
              <p:grpSpPr>
                <a:xfrm>
                  <a:off x="5751228" y="5852301"/>
                  <a:ext cx="301726" cy="300123"/>
                  <a:chOff x="5751228" y="5852301"/>
                  <a:chExt cx="301726" cy="300123"/>
                </a:xfrm>
                <a:noFill/>
              </p:grpSpPr>
              <p:sp>
                <p:nvSpPr>
                  <p:cNvPr id="22" name="Freeform: Shape 21">
                    <a:extLst>
                      <a:ext uri="{FF2B5EF4-FFF2-40B4-BE49-F238E27FC236}">
                        <a16:creationId xmlns:a16="http://schemas.microsoft.com/office/drawing/2014/main" id="{C1307F43-467D-406D-BFE1-75106AEFEE56}"/>
                      </a:ext>
                    </a:extLst>
                  </p:cNvPr>
                  <p:cNvSpPr/>
                  <p:nvPr/>
                </p:nvSpPr>
                <p:spPr>
                  <a:xfrm>
                    <a:off x="5903292" y="5852301"/>
                    <a:ext cx="4001" cy="96039"/>
                  </a:xfrm>
                  <a:custGeom>
                    <a:avLst/>
                    <a:gdLst>
                      <a:gd name="connsiteX0" fmla="*/ 0 w 4001"/>
                      <a:gd name="connsiteY0" fmla="*/ 0 h 96039"/>
                      <a:gd name="connsiteX1" fmla="*/ 0 w 4001"/>
                      <a:gd name="connsiteY1" fmla="*/ 96039 h 96039"/>
                    </a:gdLst>
                    <a:ahLst/>
                    <a:cxnLst>
                      <a:cxn ang="0">
                        <a:pos x="connsiteX0" y="connsiteY0"/>
                      </a:cxn>
                      <a:cxn ang="0">
                        <a:pos x="connsiteX1" y="connsiteY1"/>
                      </a:cxn>
                    </a:cxnLst>
                    <a:rect l="l" t="t" r="r" b="b"/>
                    <a:pathLst>
                      <a:path w="4001" h="96039">
                        <a:moveTo>
                          <a:pt x="0" y="0"/>
                        </a:moveTo>
                        <a:lnTo>
                          <a:pt x="0" y="96039"/>
                        </a:lnTo>
                      </a:path>
                    </a:pathLst>
                  </a:custGeom>
                  <a:ln w="12700" cap="flat">
                    <a:solidFill>
                      <a:schemeClr val="tx2"/>
                    </a:solidFill>
                    <a:prstDash val="solid"/>
                    <a:miter/>
                  </a:ln>
                </p:spPr>
                <p:txBody>
                  <a:bodyPr rtlCol="0" anchor="ctr"/>
                  <a:lstStyle/>
                  <a:p>
                    <a:endParaRPr lang="en-IN"/>
                  </a:p>
                </p:txBody>
              </p:sp>
              <p:sp>
                <p:nvSpPr>
                  <p:cNvPr id="23" name="Freeform: Shape 22">
                    <a:extLst>
                      <a:ext uri="{FF2B5EF4-FFF2-40B4-BE49-F238E27FC236}">
                        <a16:creationId xmlns:a16="http://schemas.microsoft.com/office/drawing/2014/main" id="{8EFCF402-3D55-4CF4-8D53-C530205A6CFE}"/>
                      </a:ext>
                    </a:extLst>
                  </p:cNvPr>
                  <p:cNvSpPr/>
                  <p:nvPr/>
                </p:nvSpPr>
                <p:spPr>
                  <a:xfrm>
                    <a:off x="5974121" y="5923130"/>
                    <a:ext cx="76031" cy="60024"/>
                  </a:xfrm>
                  <a:custGeom>
                    <a:avLst/>
                    <a:gdLst>
                      <a:gd name="connsiteX0" fmla="*/ 76032 w 76031"/>
                      <a:gd name="connsiteY0" fmla="*/ 0 h 60024"/>
                      <a:gd name="connsiteX1" fmla="*/ 0 w 76031"/>
                      <a:gd name="connsiteY1" fmla="*/ 60025 h 60024"/>
                    </a:gdLst>
                    <a:ahLst/>
                    <a:cxnLst>
                      <a:cxn ang="0">
                        <a:pos x="connsiteX0" y="connsiteY0"/>
                      </a:cxn>
                      <a:cxn ang="0">
                        <a:pos x="connsiteX1" y="connsiteY1"/>
                      </a:cxn>
                    </a:cxnLst>
                    <a:rect l="l" t="t" r="r" b="b"/>
                    <a:pathLst>
                      <a:path w="76031" h="60024">
                        <a:moveTo>
                          <a:pt x="76032" y="0"/>
                        </a:moveTo>
                        <a:lnTo>
                          <a:pt x="0" y="60025"/>
                        </a:lnTo>
                      </a:path>
                    </a:pathLst>
                  </a:custGeom>
                  <a:ln w="12700" cap="flat">
                    <a:solidFill>
                      <a:schemeClr val="tx2"/>
                    </a:solidFill>
                    <a:prstDash val="solid"/>
                    <a:miter/>
                  </a:ln>
                </p:spPr>
                <p:txBody>
                  <a:bodyPr rtlCol="0" anchor="ctr"/>
                  <a:lstStyle/>
                  <a:p>
                    <a:endParaRPr lang="en-IN"/>
                  </a:p>
                </p:txBody>
              </p:sp>
              <p:sp>
                <p:nvSpPr>
                  <p:cNvPr id="27" name="Freeform: Shape 26">
                    <a:extLst>
                      <a:ext uri="{FF2B5EF4-FFF2-40B4-BE49-F238E27FC236}">
                        <a16:creationId xmlns:a16="http://schemas.microsoft.com/office/drawing/2014/main" id="{85448ABD-0FDD-4309-B05F-7AF13C37640A}"/>
                      </a:ext>
                    </a:extLst>
                  </p:cNvPr>
                  <p:cNvSpPr/>
                  <p:nvPr/>
                </p:nvSpPr>
                <p:spPr>
                  <a:xfrm>
                    <a:off x="5759232" y="6097202"/>
                    <a:ext cx="70429" cy="55222"/>
                  </a:xfrm>
                  <a:custGeom>
                    <a:avLst/>
                    <a:gdLst>
                      <a:gd name="connsiteX0" fmla="*/ 70429 w 70429"/>
                      <a:gd name="connsiteY0" fmla="*/ 0 h 55222"/>
                      <a:gd name="connsiteX1" fmla="*/ 0 w 70429"/>
                      <a:gd name="connsiteY1" fmla="*/ 55223 h 55222"/>
                    </a:gdLst>
                    <a:ahLst/>
                    <a:cxnLst>
                      <a:cxn ang="0">
                        <a:pos x="connsiteX0" y="connsiteY0"/>
                      </a:cxn>
                      <a:cxn ang="0">
                        <a:pos x="connsiteX1" y="connsiteY1"/>
                      </a:cxn>
                    </a:cxnLst>
                    <a:rect l="l" t="t" r="r" b="b"/>
                    <a:pathLst>
                      <a:path w="70429" h="55222">
                        <a:moveTo>
                          <a:pt x="70429" y="0"/>
                        </a:moveTo>
                        <a:lnTo>
                          <a:pt x="0" y="55223"/>
                        </a:lnTo>
                      </a:path>
                    </a:pathLst>
                  </a:custGeom>
                  <a:ln w="12700" cap="flat">
                    <a:solidFill>
                      <a:schemeClr val="tx2"/>
                    </a:solidFill>
                    <a:prstDash val="solid"/>
                    <a:miter/>
                  </a:ln>
                </p:spPr>
                <p:txBody>
                  <a:bodyPr rtlCol="0" anchor="ctr"/>
                  <a:lstStyle/>
                  <a:p>
                    <a:endParaRPr lang="en-IN"/>
                  </a:p>
                </p:txBody>
              </p:sp>
              <p:grpSp>
                <p:nvGrpSpPr>
                  <p:cNvPr id="28" name="Graphic 24">
                    <a:extLst>
                      <a:ext uri="{FF2B5EF4-FFF2-40B4-BE49-F238E27FC236}">
                        <a16:creationId xmlns:a16="http://schemas.microsoft.com/office/drawing/2014/main" id="{D485A030-2CD7-47C0-9B8A-EA6CF1493EC8}"/>
                      </a:ext>
                    </a:extLst>
                  </p:cNvPr>
                  <p:cNvGrpSpPr/>
                  <p:nvPr/>
                </p:nvGrpSpPr>
                <p:grpSpPr>
                  <a:xfrm>
                    <a:off x="5810853" y="5949541"/>
                    <a:ext cx="184076" cy="184075"/>
                    <a:chOff x="5810853" y="5949541"/>
                    <a:chExt cx="184076" cy="184075"/>
                  </a:xfrm>
                  <a:noFill/>
                </p:grpSpPr>
                <p:sp>
                  <p:nvSpPr>
                    <p:cNvPr id="29" name="Freeform: Shape 28">
                      <a:extLst>
                        <a:ext uri="{FF2B5EF4-FFF2-40B4-BE49-F238E27FC236}">
                          <a16:creationId xmlns:a16="http://schemas.microsoft.com/office/drawing/2014/main" id="{9914819A-80DB-45D5-9537-509A5CD84562}"/>
                        </a:ext>
                      </a:extLst>
                    </p:cNvPr>
                    <p:cNvSpPr/>
                    <p:nvPr/>
                  </p:nvSpPr>
                  <p:spPr>
                    <a:xfrm>
                      <a:off x="5852070" y="5983555"/>
                      <a:ext cx="102442" cy="115647"/>
                    </a:xfrm>
                    <a:custGeom>
                      <a:avLst/>
                      <a:gdLst>
                        <a:gd name="connsiteX0" fmla="*/ 19608 w 102442"/>
                        <a:gd name="connsiteY0" fmla="*/ 32013 h 115647"/>
                        <a:gd name="connsiteX1" fmla="*/ 51221 w 102442"/>
                        <a:gd name="connsiteY1" fmla="*/ 0 h 115647"/>
                        <a:gd name="connsiteX2" fmla="*/ 83235 w 102442"/>
                        <a:gd name="connsiteY2" fmla="*/ 32013 h 115647"/>
                        <a:gd name="connsiteX3" fmla="*/ 51221 w 102442"/>
                        <a:gd name="connsiteY3" fmla="*/ 64026 h 115647"/>
                        <a:gd name="connsiteX4" fmla="*/ 19608 w 102442"/>
                        <a:gd name="connsiteY4" fmla="*/ 32013 h 115647"/>
                        <a:gd name="connsiteX5" fmla="*/ 19608 w 102442"/>
                        <a:gd name="connsiteY5" fmla="*/ 32013 h 115647"/>
                        <a:gd name="connsiteX6" fmla="*/ 102443 w 102442"/>
                        <a:gd name="connsiteY6" fmla="*/ 115647 h 115647"/>
                        <a:gd name="connsiteX7" fmla="*/ 51221 w 102442"/>
                        <a:gd name="connsiteY7" fmla="*/ 64026 h 115647"/>
                        <a:gd name="connsiteX8" fmla="*/ 0 w 102442"/>
                        <a:gd name="connsiteY8" fmla="*/ 115647 h 115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442" h="115647">
                          <a:moveTo>
                            <a:pt x="19608" y="32013"/>
                          </a:moveTo>
                          <a:cubicBezTo>
                            <a:pt x="19608" y="14406"/>
                            <a:pt x="33614" y="0"/>
                            <a:pt x="51221" y="0"/>
                          </a:cubicBezTo>
                          <a:cubicBezTo>
                            <a:pt x="68829" y="0"/>
                            <a:pt x="83235" y="14406"/>
                            <a:pt x="83235" y="32013"/>
                          </a:cubicBezTo>
                          <a:cubicBezTo>
                            <a:pt x="83235" y="49620"/>
                            <a:pt x="68429" y="64026"/>
                            <a:pt x="51221" y="64026"/>
                          </a:cubicBezTo>
                          <a:cubicBezTo>
                            <a:pt x="34014" y="64026"/>
                            <a:pt x="19608" y="49620"/>
                            <a:pt x="19608" y="32013"/>
                          </a:cubicBezTo>
                          <a:lnTo>
                            <a:pt x="19608" y="32013"/>
                          </a:lnTo>
                          <a:close/>
                          <a:moveTo>
                            <a:pt x="102443" y="115647"/>
                          </a:moveTo>
                          <a:cubicBezTo>
                            <a:pt x="102443" y="87236"/>
                            <a:pt x="79633" y="64026"/>
                            <a:pt x="51221" y="64026"/>
                          </a:cubicBezTo>
                          <a:cubicBezTo>
                            <a:pt x="22810" y="64026"/>
                            <a:pt x="0" y="87236"/>
                            <a:pt x="0" y="115647"/>
                          </a:cubicBezTo>
                        </a:path>
                      </a:pathLst>
                    </a:custGeom>
                    <a:noFill/>
                    <a:ln w="19050" cap="flat">
                      <a:solidFill>
                        <a:schemeClr val="tx2"/>
                      </a:solidFill>
                      <a:prstDash val="solid"/>
                      <a:miter/>
                    </a:ln>
                  </p:spPr>
                  <p:txBody>
                    <a:bodyPr rtlCol="0" anchor="ctr"/>
                    <a:lstStyle/>
                    <a:p>
                      <a:endParaRPr lang="en-IN"/>
                    </a:p>
                  </p:txBody>
                </p:sp>
                <p:sp>
                  <p:nvSpPr>
                    <p:cNvPr id="30" name="Freeform: Shape 29">
                      <a:extLst>
                        <a:ext uri="{FF2B5EF4-FFF2-40B4-BE49-F238E27FC236}">
                          <a16:creationId xmlns:a16="http://schemas.microsoft.com/office/drawing/2014/main" id="{13036F1F-4DEE-4005-83EB-138E14831557}"/>
                        </a:ext>
                      </a:extLst>
                    </p:cNvPr>
                    <p:cNvSpPr/>
                    <p:nvPr/>
                  </p:nvSpPr>
                  <p:spPr>
                    <a:xfrm>
                      <a:off x="5810853" y="5949541"/>
                      <a:ext cx="184076" cy="184075"/>
                    </a:xfrm>
                    <a:custGeom>
                      <a:avLst/>
                      <a:gdLst>
                        <a:gd name="connsiteX0" fmla="*/ 184077 w 184076"/>
                        <a:gd name="connsiteY0" fmla="*/ 92038 h 184075"/>
                        <a:gd name="connsiteX1" fmla="*/ 166469 w 184076"/>
                        <a:gd name="connsiteY1" fmla="*/ 146060 h 184075"/>
                        <a:gd name="connsiteX2" fmla="*/ 92038 w 184076"/>
                        <a:gd name="connsiteY2" fmla="*/ 184075 h 184075"/>
                        <a:gd name="connsiteX3" fmla="*/ 18808 w 184076"/>
                        <a:gd name="connsiteY3" fmla="*/ 147661 h 184075"/>
                        <a:gd name="connsiteX4" fmla="*/ 0 w 184076"/>
                        <a:gd name="connsiteY4" fmla="*/ 92038 h 184075"/>
                        <a:gd name="connsiteX5" fmla="*/ 17207 w 184076"/>
                        <a:gd name="connsiteY5" fmla="*/ 38416 h 184075"/>
                        <a:gd name="connsiteX6" fmla="*/ 92038 w 184076"/>
                        <a:gd name="connsiteY6" fmla="*/ 0 h 184075"/>
                        <a:gd name="connsiteX7" fmla="*/ 163268 w 184076"/>
                        <a:gd name="connsiteY7" fmla="*/ 33614 h 184075"/>
                        <a:gd name="connsiteX8" fmla="*/ 184077 w 184076"/>
                        <a:gd name="connsiteY8" fmla="*/ 92038 h 184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076" h="184075">
                          <a:moveTo>
                            <a:pt x="184077" y="92038"/>
                          </a:moveTo>
                          <a:cubicBezTo>
                            <a:pt x="184077" y="112046"/>
                            <a:pt x="177674" y="130854"/>
                            <a:pt x="166469" y="146060"/>
                          </a:cubicBezTo>
                          <a:cubicBezTo>
                            <a:pt x="149662" y="169269"/>
                            <a:pt x="122451" y="184075"/>
                            <a:pt x="92038" y="184075"/>
                          </a:cubicBezTo>
                          <a:cubicBezTo>
                            <a:pt x="62026" y="184075"/>
                            <a:pt x="35615" y="169670"/>
                            <a:pt x="18808" y="147661"/>
                          </a:cubicBezTo>
                          <a:cubicBezTo>
                            <a:pt x="7203" y="132054"/>
                            <a:pt x="0" y="112846"/>
                            <a:pt x="0" y="92038"/>
                          </a:cubicBezTo>
                          <a:cubicBezTo>
                            <a:pt x="0" y="72030"/>
                            <a:pt x="6403" y="53622"/>
                            <a:pt x="17207" y="38416"/>
                          </a:cubicBezTo>
                          <a:cubicBezTo>
                            <a:pt x="34014" y="15206"/>
                            <a:pt x="61225" y="0"/>
                            <a:pt x="92038" y="0"/>
                          </a:cubicBezTo>
                          <a:cubicBezTo>
                            <a:pt x="120850" y="0"/>
                            <a:pt x="146461" y="13205"/>
                            <a:pt x="163268" y="33614"/>
                          </a:cubicBezTo>
                          <a:cubicBezTo>
                            <a:pt x="176474" y="49620"/>
                            <a:pt x="184077" y="70029"/>
                            <a:pt x="184077" y="92038"/>
                          </a:cubicBezTo>
                          <a:close/>
                        </a:path>
                      </a:pathLst>
                    </a:custGeom>
                    <a:noFill/>
                    <a:ln w="19050" cap="flat">
                      <a:solidFill>
                        <a:schemeClr val="tx2"/>
                      </a:solidFill>
                      <a:prstDash val="solid"/>
                      <a:miter/>
                    </a:ln>
                  </p:spPr>
                  <p:txBody>
                    <a:bodyPr rtlCol="0" anchor="ctr"/>
                    <a:lstStyle/>
                    <a:p>
                      <a:endParaRPr lang="en-IN"/>
                    </a:p>
                  </p:txBody>
                </p:sp>
              </p:grpSp>
              <p:sp>
                <p:nvSpPr>
                  <p:cNvPr id="31" name="Freeform: Shape 30">
                    <a:extLst>
                      <a:ext uri="{FF2B5EF4-FFF2-40B4-BE49-F238E27FC236}">
                        <a16:creationId xmlns:a16="http://schemas.microsoft.com/office/drawing/2014/main" id="{9E65116E-A108-4479-9BF1-F8EE9A0A095F}"/>
                      </a:ext>
                    </a:extLst>
                  </p:cNvPr>
                  <p:cNvSpPr/>
                  <p:nvPr/>
                </p:nvSpPr>
                <p:spPr>
                  <a:xfrm>
                    <a:off x="5751228" y="5932334"/>
                    <a:ext cx="76832" cy="55622"/>
                  </a:xfrm>
                  <a:custGeom>
                    <a:avLst/>
                    <a:gdLst>
                      <a:gd name="connsiteX0" fmla="*/ 76832 w 76832"/>
                      <a:gd name="connsiteY0" fmla="*/ 55623 h 55622"/>
                      <a:gd name="connsiteX1" fmla="*/ 0 w 76832"/>
                      <a:gd name="connsiteY1" fmla="*/ 0 h 55622"/>
                    </a:gdLst>
                    <a:ahLst/>
                    <a:cxnLst>
                      <a:cxn ang="0">
                        <a:pos x="connsiteX0" y="connsiteY0"/>
                      </a:cxn>
                      <a:cxn ang="0">
                        <a:pos x="connsiteX1" y="connsiteY1"/>
                      </a:cxn>
                    </a:cxnLst>
                    <a:rect l="l" t="t" r="r" b="b"/>
                    <a:pathLst>
                      <a:path w="76832" h="55622">
                        <a:moveTo>
                          <a:pt x="76832" y="55623"/>
                        </a:moveTo>
                        <a:lnTo>
                          <a:pt x="0" y="0"/>
                        </a:lnTo>
                      </a:path>
                    </a:pathLst>
                  </a:custGeom>
                  <a:ln w="12700" cap="flat">
                    <a:solidFill>
                      <a:schemeClr val="tx2"/>
                    </a:solidFill>
                    <a:prstDash val="solid"/>
                    <a:miter/>
                  </a:ln>
                </p:spPr>
                <p:txBody>
                  <a:bodyPr rtlCol="0" anchor="ctr"/>
                  <a:lstStyle/>
                  <a:p>
                    <a:endParaRPr lang="en-IN"/>
                  </a:p>
                </p:txBody>
              </p:sp>
              <p:sp>
                <p:nvSpPr>
                  <p:cNvPr id="32" name="Freeform: Shape 31">
                    <a:extLst>
                      <a:ext uri="{FF2B5EF4-FFF2-40B4-BE49-F238E27FC236}">
                        <a16:creationId xmlns:a16="http://schemas.microsoft.com/office/drawing/2014/main" id="{3193288D-1478-41B5-85D4-5D02AF6D5C26}"/>
                      </a:ext>
                    </a:extLst>
                  </p:cNvPr>
                  <p:cNvSpPr/>
                  <p:nvPr/>
                </p:nvSpPr>
                <p:spPr>
                  <a:xfrm>
                    <a:off x="5977723" y="6095601"/>
                    <a:ext cx="75231" cy="54422"/>
                  </a:xfrm>
                  <a:custGeom>
                    <a:avLst/>
                    <a:gdLst>
                      <a:gd name="connsiteX0" fmla="*/ 75231 w 75231"/>
                      <a:gd name="connsiteY0" fmla="*/ 54422 h 54422"/>
                      <a:gd name="connsiteX1" fmla="*/ 0 w 75231"/>
                      <a:gd name="connsiteY1" fmla="*/ 0 h 54422"/>
                    </a:gdLst>
                    <a:ahLst/>
                    <a:cxnLst>
                      <a:cxn ang="0">
                        <a:pos x="connsiteX0" y="connsiteY0"/>
                      </a:cxn>
                      <a:cxn ang="0">
                        <a:pos x="connsiteX1" y="connsiteY1"/>
                      </a:cxn>
                    </a:cxnLst>
                    <a:rect l="l" t="t" r="r" b="b"/>
                    <a:pathLst>
                      <a:path w="75231" h="54422">
                        <a:moveTo>
                          <a:pt x="75231" y="54422"/>
                        </a:moveTo>
                        <a:lnTo>
                          <a:pt x="0" y="0"/>
                        </a:lnTo>
                      </a:path>
                    </a:pathLst>
                  </a:custGeom>
                  <a:ln w="12700" cap="flat">
                    <a:solidFill>
                      <a:schemeClr val="tx2"/>
                    </a:solidFill>
                    <a:prstDash val="solid"/>
                    <a:miter/>
                  </a:ln>
                </p:spPr>
                <p:txBody>
                  <a:bodyPr rtlCol="0" anchor="ctr"/>
                  <a:lstStyle/>
                  <a:p>
                    <a:endParaRPr lang="en-IN"/>
                  </a:p>
                </p:txBody>
              </p:sp>
            </p:grpSp>
          </p:grpSp>
        </p:grpSp>
      </p:grpSp>
    </p:spTree>
    <p:extLst>
      <p:ext uri="{BB962C8B-B14F-4D97-AF65-F5344CB8AC3E}">
        <p14:creationId xmlns:p14="http://schemas.microsoft.com/office/powerpoint/2010/main" val="135045324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7427FF5F-3C23-4141-B22D-0363E97C7D49}"/>
              </a:ext>
            </a:extLst>
          </p:cNvPr>
          <p:cNvSpPr>
            <a:spLocks noGrp="1"/>
          </p:cNvSpPr>
          <p:nvPr>
            <p:ph type="title"/>
          </p:nvPr>
        </p:nvSpPr>
        <p:spPr>
          <a:xfrm>
            <a:off x="457200" y="502479"/>
            <a:ext cx="11520487" cy="1156200"/>
          </a:xfrm>
        </p:spPr>
        <p:txBody>
          <a:bodyPr/>
          <a:lstStyle/>
          <a:p>
            <a:r>
              <a:rPr lang="en-US">
                <a:solidFill>
                  <a:schemeClr val="accent1"/>
                </a:solidFill>
                <a:latin typeface="Segoe UI Semibold" panose="020B0702040204020203" pitchFamily="34" charset="0"/>
                <a:cs typeface="Segoe UI Semibold" panose="020B0702040204020203" pitchFamily="34" charset="0"/>
              </a:rPr>
              <a:t>Build teacher confidence </a:t>
            </a:r>
            <a:r>
              <a:rPr lang="en-US"/>
              <a:t>with training and resources</a:t>
            </a:r>
          </a:p>
        </p:txBody>
      </p:sp>
      <p:sp>
        <p:nvSpPr>
          <p:cNvPr id="28" name="TextBox 27">
            <a:extLst>
              <a:ext uri="{FF2B5EF4-FFF2-40B4-BE49-F238E27FC236}">
                <a16:creationId xmlns:a16="http://schemas.microsoft.com/office/drawing/2014/main" id="{E4A9A27C-7BE3-40AA-88A8-9E4C096BBF8E}"/>
              </a:ext>
            </a:extLst>
          </p:cNvPr>
          <p:cNvSpPr txBox="1"/>
          <p:nvPr/>
        </p:nvSpPr>
        <p:spPr>
          <a:xfrm>
            <a:off x="540307" y="1807442"/>
            <a:ext cx="5599708" cy="3262432"/>
          </a:xfrm>
          <a:prstGeom prst="rect">
            <a:avLst/>
          </a:prstGeom>
          <a:noFill/>
        </p:spPr>
        <p:txBody>
          <a:bodyPr wrap="square" lIns="0" tIns="0" rIns="0" bIns="0">
            <a:spAutoFit/>
          </a:bodyPr>
          <a:lstStyle/>
          <a:p>
            <a:pPr lvl="0">
              <a:spcAft>
                <a:spcPts val="3000"/>
              </a:spcAft>
            </a:pPr>
            <a:r>
              <a:rPr lang="en-US">
                <a:solidFill>
                  <a:srgbClr val="0078D7"/>
                </a:solidFill>
                <a:latin typeface="Segoe UI Semibold" panose="020B0702040204020203" pitchFamily="34" charset="0"/>
                <a:cs typeface="Segoe UI Semibold" panose="020B0702040204020203" pitchFamily="34" charset="0"/>
              </a:rPr>
              <a:t>Learn new skills. </a:t>
            </a:r>
            <a:r>
              <a:rPr lang="en-US">
                <a:cs typeface="Segoe UI Semibold" panose="020B0702040204020203" pitchFamily="34" charset="0"/>
              </a:rPr>
              <a:t>Master classroom technology and create an inclusive hybrid learning environment with free courses on Microsoft Educator Center.</a:t>
            </a:r>
          </a:p>
          <a:p>
            <a:pPr>
              <a:spcAft>
                <a:spcPts val="3000"/>
              </a:spcAft>
            </a:pPr>
            <a:r>
              <a:rPr lang="en-US">
                <a:solidFill>
                  <a:srgbClr val="0078D7"/>
                </a:solidFill>
                <a:latin typeface="Segoe UI Semibold" panose="020B0702040204020203" pitchFamily="34" charset="0"/>
                <a:cs typeface="Segoe UI Semibold" panose="020B0702040204020203" pitchFamily="34" charset="0"/>
              </a:rPr>
              <a:t>Complete certifications. </a:t>
            </a:r>
            <a:r>
              <a:rPr lang="en-US">
                <a:cs typeface="Segoe UI Semibold" panose="020B0702040204020203" pitchFamily="34" charset="0"/>
              </a:rPr>
              <a:t>Take guided learning paths on Microsoft Educator Center to earn certifications and complete professional development credits.</a:t>
            </a:r>
          </a:p>
          <a:p>
            <a:pPr>
              <a:spcAft>
                <a:spcPts val="3000"/>
              </a:spcAft>
            </a:pPr>
            <a:r>
              <a:rPr lang="en-US">
                <a:solidFill>
                  <a:srgbClr val="0078D7"/>
                </a:solidFill>
                <a:latin typeface="Segoe UI Semibold" panose="020B0702040204020203" pitchFamily="34" charset="0"/>
                <a:cs typeface="Segoe UI Semibold" panose="020B0702040204020203" pitchFamily="34" charset="0"/>
              </a:rPr>
              <a:t>Get personalized assistance. </a:t>
            </a:r>
            <a:r>
              <a:rPr lang="en-US">
                <a:cs typeface="Segoe UI Semibold" panose="020B0702040204020203" pitchFamily="34" charset="0"/>
              </a:rPr>
              <a:t>Engage Microsoft Store experts to provide customizable and interactive live virtual workshops and training sessions.</a:t>
            </a:r>
          </a:p>
        </p:txBody>
      </p:sp>
      <p:pic>
        <p:nvPicPr>
          <p:cNvPr id="3" name="Picture 2" descr="A teacher in her living room with a laptop computer">
            <a:extLst>
              <a:ext uri="{FF2B5EF4-FFF2-40B4-BE49-F238E27FC236}">
                <a16:creationId xmlns:a16="http://schemas.microsoft.com/office/drawing/2014/main" id="{D84626F3-AFCD-4C38-BA43-994DDB59798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1"/>
          <a:stretch/>
        </p:blipFill>
        <p:spPr>
          <a:xfrm>
            <a:off x="6427979" y="1812621"/>
            <a:ext cx="5653365" cy="4755199"/>
          </a:xfrm>
          <a:prstGeom prst="rect">
            <a:avLst/>
          </a:prstGeom>
        </p:spPr>
      </p:pic>
      <p:grpSp>
        <p:nvGrpSpPr>
          <p:cNvPr id="29" name="Group 28">
            <a:extLst>
              <a:ext uri="{FF2B5EF4-FFF2-40B4-BE49-F238E27FC236}">
                <a16:creationId xmlns:a16="http://schemas.microsoft.com/office/drawing/2014/main" id="{7ACDB612-192B-4B69-A431-917CB4B7C474}"/>
              </a:ext>
              <a:ext uri="{C183D7F6-B498-43B3-948B-1728B52AA6E4}">
                <adec:decorative xmlns:adec="http://schemas.microsoft.com/office/drawing/2017/decorative" val="1"/>
              </a:ext>
            </a:extLst>
          </p:cNvPr>
          <p:cNvGrpSpPr/>
          <p:nvPr/>
        </p:nvGrpSpPr>
        <p:grpSpPr>
          <a:xfrm>
            <a:off x="11488324" y="162790"/>
            <a:ext cx="777240" cy="778243"/>
            <a:chOff x="5483516" y="3231556"/>
            <a:chExt cx="1466268" cy="1466264"/>
          </a:xfrm>
        </p:grpSpPr>
        <p:sp>
          <p:nvSpPr>
            <p:cNvPr id="30" name="Oval 29">
              <a:extLst>
                <a:ext uri="{FF2B5EF4-FFF2-40B4-BE49-F238E27FC236}">
                  <a16:creationId xmlns:a16="http://schemas.microsoft.com/office/drawing/2014/main" id="{3374ABC5-075D-4765-A426-7AC7A08B236A}"/>
                </a:ext>
              </a:extLst>
            </p:cNvPr>
            <p:cNvSpPr/>
            <p:nvPr/>
          </p:nvSpPr>
          <p:spPr bwMode="auto">
            <a:xfrm>
              <a:off x="5483516" y="3231556"/>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nvGrpSpPr>
            <p:cNvPr id="31" name="Group 30">
              <a:extLst>
                <a:ext uri="{FF2B5EF4-FFF2-40B4-BE49-F238E27FC236}">
                  <a16:creationId xmlns:a16="http://schemas.microsoft.com/office/drawing/2014/main" id="{249C0A04-64E5-4E79-98A4-B46884F8A4BE}"/>
                </a:ext>
              </a:extLst>
            </p:cNvPr>
            <p:cNvGrpSpPr/>
            <p:nvPr/>
          </p:nvGrpSpPr>
          <p:grpSpPr>
            <a:xfrm>
              <a:off x="5831047" y="3446858"/>
              <a:ext cx="771208" cy="1035662"/>
              <a:chOff x="5831047" y="3446858"/>
              <a:chExt cx="771208" cy="1035662"/>
            </a:xfrm>
          </p:grpSpPr>
          <p:sp>
            <p:nvSpPr>
              <p:cNvPr id="32" name="Freeform: Shape 31">
                <a:extLst>
                  <a:ext uri="{FF2B5EF4-FFF2-40B4-BE49-F238E27FC236}">
                    <a16:creationId xmlns:a16="http://schemas.microsoft.com/office/drawing/2014/main" id="{A4E2E8B3-F45E-4F8F-AB3C-80B825E28EE4}"/>
                  </a:ext>
                </a:extLst>
              </p:cNvPr>
              <p:cNvSpPr/>
              <p:nvPr/>
            </p:nvSpPr>
            <p:spPr>
              <a:xfrm>
                <a:off x="6076914" y="4006785"/>
                <a:ext cx="279339" cy="280279"/>
              </a:xfrm>
              <a:custGeom>
                <a:avLst/>
                <a:gdLst>
                  <a:gd name="connsiteX0" fmla="*/ 0 w 197929"/>
                  <a:gd name="connsiteY0" fmla="*/ 100203 h 198596"/>
                  <a:gd name="connsiteX1" fmla="*/ 98965 w 197929"/>
                  <a:gd name="connsiteY1" fmla="*/ 0 h 198596"/>
                  <a:gd name="connsiteX2" fmla="*/ 197929 w 197929"/>
                  <a:gd name="connsiteY2" fmla="*/ 100203 h 198596"/>
                  <a:gd name="connsiteX3" fmla="*/ 98965 w 197929"/>
                  <a:gd name="connsiteY3" fmla="*/ 198596 h 198596"/>
                  <a:gd name="connsiteX4" fmla="*/ 0 w 197929"/>
                  <a:gd name="connsiteY4" fmla="*/ 100203 h 198596"/>
                  <a:gd name="connsiteX5" fmla="*/ 0 w 197929"/>
                  <a:gd name="connsiteY5" fmla="*/ 100203 h 198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929" h="198596">
                    <a:moveTo>
                      <a:pt x="0" y="100203"/>
                    </a:moveTo>
                    <a:cubicBezTo>
                      <a:pt x="0" y="45529"/>
                      <a:pt x="44006" y="0"/>
                      <a:pt x="98965" y="0"/>
                    </a:cubicBezTo>
                    <a:cubicBezTo>
                      <a:pt x="154019" y="0"/>
                      <a:pt x="197929" y="45625"/>
                      <a:pt x="197929" y="100203"/>
                    </a:cubicBezTo>
                    <a:cubicBezTo>
                      <a:pt x="197929" y="154781"/>
                      <a:pt x="154019" y="198596"/>
                      <a:pt x="98965" y="198596"/>
                    </a:cubicBezTo>
                    <a:cubicBezTo>
                      <a:pt x="44006" y="198596"/>
                      <a:pt x="0" y="154781"/>
                      <a:pt x="0" y="100203"/>
                    </a:cubicBezTo>
                    <a:lnTo>
                      <a:pt x="0" y="100203"/>
                    </a:lnTo>
                    <a:close/>
                  </a:path>
                </a:pathLst>
              </a:custGeom>
              <a:noFill/>
              <a:ln w="19050" cap="sq">
                <a:solidFill>
                  <a:schemeClr val="tx2"/>
                </a:solidFill>
                <a:prstDash val="solid"/>
                <a:miter/>
              </a:ln>
            </p:spPr>
            <p:txBody>
              <a:bodyPr rtlCol="0" anchor="ctr"/>
              <a:lstStyle/>
              <a:p>
                <a:endParaRPr lang="en-IN"/>
              </a:p>
            </p:txBody>
          </p:sp>
          <p:sp>
            <p:nvSpPr>
              <p:cNvPr id="33" name="Freeform: Shape 32">
                <a:extLst>
                  <a:ext uri="{FF2B5EF4-FFF2-40B4-BE49-F238E27FC236}">
                    <a16:creationId xmlns:a16="http://schemas.microsoft.com/office/drawing/2014/main" id="{15635800-F949-41B2-A9FE-6C4E78F44FED}"/>
                  </a:ext>
                </a:extLst>
              </p:cNvPr>
              <p:cNvSpPr/>
              <p:nvPr/>
            </p:nvSpPr>
            <p:spPr>
              <a:xfrm>
                <a:off x="6020051" y="4287064"/>
                <a:ext cx="393333" cy="195456"/>
              </a:xfrm>
              <a:custGeom>
                <a:avLst/>
                <a:gdLst>
                  <a:gd name="connsiteX0" fmla="*/ 278701 w 278701"/>
                  <a:gd name="connsiteY0" fmla="*/ 138494 h 138493"/>
                  <a:gd name="connsiteX1" fmla="*/ 139351 w 278701"/>
                  <a:gd name="connsiteY1" fmla="*/ 0 h 138493"/>
                  <a:gd name="connsiteX2" fmla="*/ 0 w 278701"/>
                  <a:gd name="connsiteY2" fmla="*/ 138494 h 138493"/>
                </a:gdLst>
                <a:ahLst/>
                <a:cxnLst>
                  <a:cxn ang="0">
                    <a:pos x="connsiteX0" y="connsiteY0"/>
                  </a:cxn>
                  <a:cxn ang="0">
                    <a:pos x="connsiteX1" y="connsiteY1"/>
                  </a:cxn>
                  <a:cxn ang="0">
                    <a:pos x="connsiteX2" y="connsiteY2"/>
                  </a:cxn>
                </a:cxnLst>
                <a:rect l="l" t="t" r="r" b="b"/>
                <a:pathLst>
                  <a:path w="278701" h="138493">
                    <a:moveTo>
                      <a:pt x="278701" y="138494"/>
                    </a:moveTo>
                    <a:cubicBezTo>
                      <a:pt x="278701" y="62008"/>
                      <a:pt x="216313" y="0"/>
                      <a:pt x="139351" y="0"/>
                    </a:cubicBezTo>
                    <a:cubicBezTo>
                      <a:pt x="62389" y="0"/>
                      <a:pt x="0" y="61913"/>
                      <a:pt x="0" y="138494"/>
                    </a:cubicBezTo>
                  </a:path>
                </a:pathLst>
              </a:custGeom>
              <a:noFill/>
              <a:ln w="19050" cap="sq">
                <a:solidFill>
                  <a:schemeClr val="tx2"/>
                </a:solidFill>
                <a:prstDash val="solid"/>
                <a:miter/>
              </a:ln>
            </p:spPr>
            <p:txBody>
              <a:bodyPr rtlCol="0" anchor="ctr"/>
              <a:lstStyle/>
              <a:p>
                <a:endParaRPr lang="en-IN"/>
              </a:p>
            </p:txBody>
          </p:sp>
          <p:sp>
            <p:nvSpPr>
              <p:cNvPr id="34" name="Freeform: Shape 33">
                <a:extLst>
                  <a:ext uri="{FF2B5EF4-FFF2-40B4-BE49-F238E27FC236}">
                    <a16:creationId xmlns:a16="http://schemas.microsoft.com/office/drawing/2014/main" id="{2A835F0E-C2B3-41CB-AEEC-D191BF2680FD}"/>
                  </a:ext>
                </a:extLst>
              </p:cNvPr>
              <p:cNvSpPr/>
              <p:nvPr/>
            </p:nvSpPr>
            <p:spPr>
              <a:xfrm>
                <a:off x="5864653" y="3839424"/>
                <a:ext cx="176099" cy="174889"/>
              </a:xfrm>
              <a:custGeom>
                <a:avLst/>
                <a:gdLst>
                  <a:gd name="connsiteX0" fmla="*/ 62389 w 124777"/>
                  <a:gd name="connsiteY0" fmla="*/ 123920 h 123920"/>
                  <a:gd name="connsiteX1" fmla="*/ 124777 w 124777"/>
                  <a:gd name="connsiteY1" fmla="*/ 62008 h 123920"/>
                  <a:gd name="connsiteX2" fmla="*/ 62389 w 124777"/>
                  <a:gd name="connsiteY2" fmla="*/ 0 h 123920"/>
                  <a:gd name="connsiteX3" fmla="*/ 0 w 124777"/>
                  <a:gd name="connsiteY3" fmla="*/ 62008 h 123920"/>
                  <a:gd name="connsiteX4" fmla="*/ 62389 w 124777"/>
                  <a:gd name="connsiteY4" fmla="*/ 123920 h 123920"/>
                  <a:gd name="connsiteX5" fmla="*/ 62389 w 124777"/>
                  <a:gd name="connsiteY5" fmla="*/ 123920 h 12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777" h="123920">
                    <a:moveTo>
                      <a:pt x="62389" y="123920"/>
                    </a:moveTo>
                    <a:cubicBezTo>
                      <a:pt x="97250" y="123920"/>
                      <a:pt x="124777" y="96679"/>
                      <a:pt x="124777" y="62008"/>
                    </a:cubicBezTo>
                    <a:cubicBezTo>
                      <a:pt x="124777" y="27337"/>
                      <a:pt x="97250" y="0"/>
                      <a:pt x="62389" y="0"/>
                    </a:cubicBezTo>
                    <a:cubicBezTo>
                      <a:pt x="27623" y="0"/>
                      <a:pt x="0" y="27337"/>
                      <a:pt x="0" y="62008"/>
                    </a:cubicBezTo>
                    <a:cubicBezTo>
                      <a:pt x="0" y="96679"/>
                      <a:pt x="27623" y="123920"/>
                      <a:pt x="62389" y="123920"/>
                    </a:cubicBezTo>
                    <a:lnTo>
                      <a:pt x="62389" y="123920"/>
                    </a:lnTo>
                    <a:close/>
                  </a:path>
                </a:pathLst>
              </a:custGeom>
              <a:noFill/>
              <a:ln w="19050" cap="sq">
                <a:solidFill>
                  <a:schemeClr val="tx2"/>
                </a:solidFill>
                <a:prstDash val="solid"/>
                <a:miter/>
              </a:ln>
            </p:spPr>
            <p:txBody>
              <a:bodyPr rtlCol="0" anchor="ctr"/>
              <a:lstStyle/>
              <a:p>
                <a:endParaRPr lang="en-IN"/>
              </a:p>
            </p:txBody>
          </p:sp>
          <p:sp>
            <p:nvSpPr>
              <p:cNvPr id="35" name="Freeform: Shape 34">
                <a:extLst>
                  <a:ext uri="{FF2B5EF4-FFF2-40B4-BE49-F238E27FC236}">
                    <a16:creationId xmlns:a16="http://schemas.microsoft.com/office/drawing/2014/main" id="{EFA947FB-80F6-492F-BDDD-87E5178A89F8}"/>
                  </a:ext>
                </a:extLst>
              </p:cNvPr>
              <p:cNvSpPr/>
              <p:nvPr/>
            </p:nvSpPr>
            <p:spPr>
              <a:xfrm>
                <a:off x="5831047" y="4014313"/>
                <a:ext cx="245867" cy="120849"/>
              </a:xfrm>
              <a:custGeom>
                <a:avLst/>
                <a:gdLst>
                  <a:gd name="connsiteX0" fmla="*/ 174212 w 174212"/>
                  <a:gd name="connsiteY0" fmla="*/ 85630 h 85629"/>
                  <a:gd name="connsiteX1" fmla="*/ 86201 w 174212"/>
                  <a:gd name="connsiteY1" fmla="*/ 0 h 85629"/>
                  <a:gd name="connsiteX2" fmla="*/ 0 w 174212"/>
                  <a:gd name="connsiteY2" fmla="*/ 85630 h 85629"/>
                </a:gdLst>
                <a:ahLst/>
                <a:cxnLst>
                  <a:cxn ang="0">
                    <a:pos x="connsiteX0" y="connsiteY0"/>
                  </a:cxn>
                  <a:cxn ang="0">
                    <a:pos x="connsiteX1" y="connsiteY1"/>
                  </a:cxn>
                  <a:cxn ang="0">
                    <a:pos x="connsiteX2" y="connsiteY2"/>
                  </a:cxn>
                </a:cxnLst>
                <a:rect l="l" t="t" r="r" b="b"/>
                <a:pathLst>
                  <a:path w="174212" h="85629">
                    <a:moveTo>
                      <a:pt x="174212" y="85630"/>
                    </a:moveTo>
                    <a:cubicBezTo>
                      <a:pt x="174212" y="38291"/>
                      <a:pt x="133922" y="0"/>
                      <a:pt x="86201" y="0"/>
                    </a:cubicBezTo>
                    <a:cubicBezTo>
                      <a:pt x="38481" y="0"/>
                      <a:pt x="0" y="38291"/>
                      <a:pt x="0" y="85630"/>
                    </a:cubicBezTo>
                  </a:path>
                </a:pathLst>
              </a:custGeom>
              <a:noFill/>
              <a:ln w="19050" cap="sq">
                <a:solidFill>
                  <a:schemeClr val="tx2"/>
                </a:solidFill>
                <a:prstDash val="solid"/>
                <a:miter/>
              </a:ln>
            </p:spPr>
            <p:txBody>
              <a:bodyPr rtlCol="0" anchor="ctr"/>
              <a:lstStyle/>
              <a:p>
                <a:endParaRPr lang="en-IN"/>
              </a:p>
            </p:txBody>
          </p:sp>
          <p:sp>
            <p:nvSpPr>
              <p:cNvPr id="36" name="Freeform: Shape 35">
                <a:extLst>
                  <a:ext uri="{FF2B5EF4-FFF2-40B4-BE49-F238E27FC236}">
                    <a16:creationId xmlns:a16="http://schemas.microsoft.com/office/drawing/2014/main" id="{C10B5683-C689-40BC-A644-1215EDD76D90}"/>
                  </a:ext>
                </a:extLst>
              </p:cNvPr>
              <p:cNvSpPr/>
              <p:nvPr/>
            </p:nvSpPr>
            <p:spPr>
              <a:xfrm>
                <a:off x="6392549" y="3839424"/>
                <a:ext cx="176099" cy="174889"/>
              </a:xfrm>
              <a:custGeom>
                <a:avLst/>
                <a:gdLst>
                  <a:gd name="connsiteX0" fmla="*/ 62389 w 124777"/>
                  <a:gd name="connsiteY0" fmla="*/ 123920 h 123920"/>
                  <a:gd name="connsiteX1" fmla="*/ 124778 w 124777"/>
                  <a:gd name="connsiteY1" fmla="*/ 62008 h 123920"/>
                  <a:gd name="connsiteX2" fmla="*/ 62389 w 124777"/>
                  <a:gd name="connsiteY2" fmla="*/ 0 h 123920"/>
                  <a:gd name="connsiteX3" fmla="*/ 0 w 124777"/>
                  <a:gd name="connsiteY3" fmla="*/ 62008 h 123920"/>
                  <a:gd name="connsiteX4" fmla="*/ 62389 w 124777"/>
                  <a:gd name="connsiteY4" fmla="*/ 123920 h 123920"/>
                  <a:gd name="connsiteX5" fmla="*/ 62389 w 124777"/>
                  <a:gd name="connsiteY5" fmla="*/ 123920 h 12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777" h="123920">
                    <a:moveTo>
                      <a:pt x="62389" y="123920"/>
                    </a:moveTo>
                    <a:cubicBezTo>
                      <a:pt x="97155" y="123920"/>
                      <a:pt x="124778" y="96679"/>
                      <a:pt x="124778" y="62008"/>
                    </a:cubicBezTo>
                    <a:cubicBezTo>
                      <a:pt x="124778" y="27337"/>
                      <a:pt x="97250" y="0"/>
                      <a:pt x="62389" y="0"/>
                    </a:cubicBezTo>
                    <a:cubicBezTo>
                      <a:pt x="27527" y="0"/>
                      <a:pt x="0" y="27337"/>
                      <a:pt x="0" y="62008"/>
                    </a:cubicBezTo>
                    <a:cubicBezTo>
                      <a:pt x="0" y="96679"/>
                      <a:pt x="27527" y="123920"/>
                      <a:pt x="62389" y="123920"/>
                    </a:cubicBezTo>
                    <a:lnTo>
                      <a:pt x="62389" y="123920"/>
                    </a:lnTo>
                    <a:close/>
                  </a:path>
                </a:pathLst>
              </a:custGeom>
              <a:noFill/>
              <a:ln w="19050" cap="sq">
                <a:solidFill>
                  <a:schemeClr val="tx2"/>
                </a:solidFill>
                <a:prstDash val="solid"/>
                <a:miter/>
              </a:ln>
            </p:spPr>
            <p:txBody>
              <a:bodyPr rtlCol="0" anchor="ctr"/>
              <a:lstStyle/>
              <a:p>
                <a:endParaRPr lang="en-IN"/>
              </a:p>
            </p:txBody>
          </p:sp>
          <p:sp>
            <p:nvSpPr>
              <p:cNvPr id="37" name="Freeform: Shape 36">
                <a:extLst>
                  <a:ext uri="{FF2B5EF4-FFF2-40B4-BE49-F238E27FC236}">
                    <a16:creationId xmlns:a16="http://schemas.microsoft.com/office/drawing/2014/main" id="{1DF4B2C7-0012-4396-B462-DD2A81B0195E}"/>
                  </a:ext>
                </a:extLst>
              </p:cNvPr>
              <p:cNvSpPr/>
              <p:nvPr/>
            </p:nvSpPr>
            <p:spPr>
              <a:xfrm>
                <a:off x="6356522" y="4014313"/>
                <a:ext cx="245733" cy="120849"/>
              </a:xfrm>
              <a:custGeom>
                <a:avLst/>
                <a:gdLst>
                  <a:gd name="connsiteX0" fmla="*/ 174117 w 174117"/>
                  <a:gd name="connsiteY0" fmla="*/ 85630 h 85629"/>
                  <a:gd name="connsiteX1" fmla="*/ 88011 w 174117"/>
                  <a:gd name="connsiteY1" fmla="*/ 0 h 85629"/>
                  <a:gd name="connsiteX2" fmla="*/ 0 w 174117"/>
                  <a:gd name="connsiteY2" fmla="*/ 85630 h 85629"/>
                </a:gdLst>
                <a:ahLst/>
                <a:cxnLst>
                  <a:cxn ang="0">
                    <a:pos x="connsiteX0" y="connsiteY0"/>
                  </a:cxn>
                  <a:cxn ang="0">
                    <a:pos x="connsiteX1" y="connsiteY1"/>
                  </a:cxn>
                  <a:cxn ang="0">
                    <a:pos x="connsiteX2" y="connsiteY2"/>
                  </a:cxn>
                </a:cxnLst>
                <a:rect l="l" t="t" r="r" b="b"/>
                <a:pathLst>
                  <a:path w="174117" h="85629">
                    <a:moveTo>
                      <a:pt x="174117" y="85630"/>
                    </a:moveTo>
                    <a:cubicBezTo>
                      <a:pt x="174117" y="38291"/>
                      <a:pt x="135636" y="0"/>
                      <a:pt x="88011" y="0"/>
                    </a:cubicBezTo>
                    <a:cubicBezTo>
                      <a:pt x="40386" y="0"/>
                      <a:pt x="0" y="38291"/>
                      <a:pt x="0" y="85630"/>
                    </a:cubicBezTo>
                  </a:path>
                </a:pathLst>
              </a:custGeom>
              <a:noFill/>
              <a:ln w="19050" cap="sq">
                <a:solidFill>
                  <a:schemeClr val="tx2"/>
                </a:solidFill>
                <a:prstDash val="solid"/>
                <a:miter/>
              </a:ln>
            </p:spPr>
            <p:txBody>
              <a:bodyPr rtlCol="0" anchor="ctr"/>
              <a:lstStyle/>
              <a:p>
                <a:endParaRPr lang="en-IN"/>
              </a:p>
            </p:txBody>
          </p:sp>
          <p:sp>
            <p:nvSpPr>
              <p:cNvPr id="38" name="Freeform: Shape 37">
                <a:extLst>
                  <a:ext uri="{FF2B5EF4-FFF2-40B4-BE49-F238E27FC236}">
                    <a16:creationId xmlns:a16="http://schemas.microsoft.com/office/drawing/2014/main" id="{FCB40E8E-B821-4673-AFDC-41933741D92B}"/>
                  </a:ext>
                </a:extLst>
              </p:cNvPr>
              <p:cNvSpPr/>
              <p:nvPr/>
            </p:nvSpPr>
            <p:spPr>
              <a:xfrm>
                <a:off x="6216718" y="3446858"/>
                <a:ext cx="13443" cy="387149"/>
              </a:xfrm>
              <a:custGeom>
                <a:avLst/>
                <a:gdLst>
                  <a:gd name="connsiteX0" fmla="*/ 0 w 9525"/>
                  <a:gd name="connsiteY0" fmla="*/ 0 h 145827"/>
                  <a:gd name="connsiteX1" fmla="*/ 0 w 9525"/>
                  <a:gd name="connsiteY1" fmla="*/ 145828 h 145827"/>
                </a:gdLst>
                <a:ahLst/>
                <a:cxnLst>
                  <a:cxn ang="0">
                    <a:pos x="connsiteX0" y="connsiteY0"/>
                  </a:cxn>
                  <a:cxn ang="0">
                    <a:pos x="connsiteX1" y="connsiteY1"/>
                  </a:cxn>
                </a:cxnLst>
                <a:rect l="l" t="t" r="r" b="b"/>
                <a:pathLst>
                  <a:path w="9525" h="145827">
                    <a:moveTo>
                      <a:pt x="0" y="0"/>
                    </a:moveTo>
                    <a:cubicBezTo>
                      <a:pt x="0" y="145828"/>
                      <a:pt x="0" y="145828"/>
                      <a:pt x="0" y="145828"/>
                    </a:cubicBezTo>
                  </a:path>
                </a:pathLst>
              </a:custGeom>
              <a:noFill/>
              <a:ln w="19050" cap="sq">
                <a:solidFill>
                  <a:schemeClr val="tx2"/>
                </a:solidFill>
                <a:prstDash val="solid"/>
                <a:miter/>
              </a:ln>
            </p:spPr>
            <p:txBody>
              <a:bodyPr rtlCol="0" anchor="ctr"/>
              <a:lstStyle/>
              <a:p>
                <a:endParaRPr lang="en-IN"/>
              </a:p>
            </p:txBody>
          </p:sp>
          <p:sp>
            <p:nvSpPr>
              <p:cNvPr id="39" name="Freeform: Shape 38">
                <a:extLst>
                  <a:ext uri="{FF2B5EF4-FFF2-40B4-BE49-F238E27FC236}">
                    <a16:creationId xmlns:a16="http://schemas.microsoft.com/office/drawing/2014/main" id="{120A61D3-6213-4CA3-B483-81DF6CD8CA84}"/>
                  </a:ext>
                </a:extLst>
              </p:cNvPr>
              <p:cNvSpPr/>
              <p:nvPr/>
            </p:nvSpPr>
            <p:spPr>
              <a:xfrm>
                <a:off x="6100303" y="3728790"/>
                <a:ext cx="232962" cy="115741"/>
              </a:xfrm>
              <a:custGeom>
                <a:avLst/>
                <a:gdLst>
                  <a:gd name="connsiteX0" fmla="*/ 0 w 165068"/>
                  <a:gd name="connsiteY0" fmla="*/ 0 h 82010"/>
                  <a:gd name="connsiteX1" fmla="*/ 82487 w 165068"/>
                  <a:gd name="connsiteY1" fmla="*/ 82010 h 82010"/>
                  <a:gd name="connsiteX2" fmla="*/ 165068 w 165068"/>
                  <a:gd name="connsiteY2" fmla="*/ 0 h 82010"/>
                </a:gdLst>
                <a:ahLst/>
                <a:cxnLst>
                  <a:cxn ang="0">
                    <a:pos x="connsiteX0" y="connsiteY0"/>
                  </a:cxn>
                  <a:cxn ang="0">
                    <a:pos x="connsiteX1" y="connsiteY1"/>
                  </a:cxn>
                  <a:cxn ang="0">
                    <a:pos x="connsiteX2" y="connsiteY2"/>
                  </a:cxn>
                </a:cxnLst>
                <a:rect l="l" t="t" r="r" b="b"/>
                <a:pathLst>
                  <a:path w="165068" h="82010">
                    <a:moveTo>
                      <a:pt x="0" y="0"/>
                    </a:moveTo>
                    <a:cubicBezTo>
                      <a:pt x="82487" y="82010"/>
                      <a:pt x="82487" y="82010"/>
                      <a:pt x="82487" y="82010"/>
                    </a:cubicBezTo>
                    <a:cubicBezTo>
                      <a:pt x="165068" y="0"/>
                      <a:pt x="165068" y="0"/>
                      <a:pt x="165068" y="0"/>
                    </a:cubicBezTo>
                  </a:path>
                </a:pathLst>
              </a:custGeom>
              <a:noFill/>
              <a:ln w="19050" cap="sq">
                <a:solidFill>
                  <a:schemeClr val="tx2"/>
                </a:solidFill>
                <a:prstDash val="solid"/>
                <a:miter/>
              </a:ln>
            </p:spPr>
            <p:txBody>
              <a:bodyPr rtlCol="0" anchor="ctr"/>
              <a:lstStyle/>
              <a:p>
                <a:endParaRPr lang="en-IN"/>
              </a:p>
            </p:txBody>
          </p:sp>
        </p:grpSp>
      </p:grpSp>
    </p:spTree>
    <p:extLst>
      <p:ext uri="{BB962C8B-B14F-4D97-AF65-F5344CB8AC3E}">
        <p14:creationId xmlns:p14="http://schemas.microsoft.com/office/powerpoint/2010/main" val="190803901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8">
            <a:extLst>
              <a:ext uri="{FF2B5EF4-FFF2-40B4-BE49-F238E27FC236}">
                <a16:creationId xmlns:a16="http://schemas.microsoft.com/office/drawing/2014/main" id="{6E935798-8C7E-4880-B29A-5F4700B75C5A}"/>
              </a:ext>
            </a:extLst>
          </p:cNvPr>
          <p:cNvSpPr>
            <a:spLocks noGrp="1"/>
          </p:cNvSpPr>
          <p:nvPr>
            <p:ph type="title"/>
          </p:nvPr>
        </p:nvSpPr>
        <p:spPr>
          <a:xfrm>
            <a:off x="457200" y="503238"/>
            <a:ext cx="10597432" cy="1112202"/>
          </a:xfrm>
        </p:spPr>
        <p:txBody>
          <a:bodyPr/>
          <a:lstStyle/>
          <a:p>
            <a:r>
              <a:rPr lang="en-US">
                <a:solidFill>
                  <a:schemeClr val="tx2"/>
                </a:solidFill>
                <a:latin typeface="Segoe UI Semibold" panose="020B0702040204020203" pitchFamily="34" charset="0"/>
                <a:cs typeface="Segoe UI Semibold" panose="020B0702040204020203" pitchFamily="34" charset="0"/>
              </a:rPr>
              <a:t>Enable inclusive learning </a:t>
            </a:r>
            <a:r>
              <a:rPr lang="en-US"/>
              <a:t>in one place with Microsoft Teams</a:t>
            </a:r>
          </a:p>
        </p:txBody>
      </p:sp>
      <p:pic>
        <p:nvPicPr>
          <p:cNvPr id="3" name="Picture 2" descr="A young girl waving to her teacher on a tablet device">
            <a:extLst>
              <a:ext uri="{FF2B5EF4-FFF2-40B4-BE49-F238E27FC236}">
                <a16:creationId xmlns:a16="http://schemas.microsoft.com/office/drawing/2014/main" id="{08ABC171-9803-4CA3-96E0-B1B8C930D19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53661" y="1793650"/>
            <a:ext cx="5657755" cy="4812279"/>
          </a:xfrm>
          <a:prstGeom prst="rect">
            <a:avLst/>
          </a:prstGeom>
        </p:spPr>
      </p:pic>
      <p:sp>
        <p:nvSpPr>
          <p:cNvPr id="11" name="TextBox 10">
            <a:extLst>
              <a:ext uri="{FF2B5EF4-FFF2-40B4-BE49-F238E27FC236}">
                <a16:creationId xmlns:a16="http://schemas.microsoft.com/office/drawing/2014/main" id="{6058AAC7-94F4-49E6-BE7D-AFA86F271448}"/>
              </a:ext>
            </a:extLst>
          </p:cNvPr>
          <p:cNvSpPr txBox="1"/>
          <p:nvPr/>
        </p:nvSpPr>
        <p:spPr>
          <a:xfrm>
            <a:off x="6411433" y="1792955"/>
            <a:ext cx="5760244" cy="4478149"/>
          </a:xfrm>
          <a:prstGeom prst="rect">
            <a:avLst/>
          </a:prstGeom>
          <a:noFill/>
        </p:spPr>
        <p:txBody>
          <a:bodyPr wrap="square" lIns="0" tIns="0" rIns="0" bIns="0">
            <a:spAutoFit/>
          </a:bodyPr>
          <a:lstStyle/>
          <a:p>
            <a:pPr>
              <a:spcAft>
                <a:spcPts val="3000"/>
              </a:spcAft>
            </a:pPr>
            <a:r>
              <a:rPr lang="en-US" sz="1800" spc="0">
                <a:solidFill>
                  <a:srgbClr val="0078D7"/>
                </a:solidFill>
                <a:latin typeface="Segoe UI Semibold" panose="020B0702040204020203" pitchFamily="34" charset="0"/>
                <a:cs typeface="Segoe UI Semibold" panose="020B0702040204020203" pitchFamily="34" charset="0"/>
              </a:rPr>
              <a:t>Create collaborative classrooms. </a:t>
            </a:r>
            <a:r>
              <a:rPr lang="en-US" sz="1800" spc="0">
                <a:solidFill>
                  <a:schemeClr val="tx1"/>
                </a:solidFill>
                <a:latin typeface="+mn-lt"/>
                <a:cs typeface="Segoe UI Semibold" panose="020B0702040204020203" pitchFamily="34" charset="0"/>
              </a:rPr>
              <a:t>Help teachers create a multi-modal, safe and engaging experience to support learners whether they’re at home or in the classroom.</a:t>
            </a:r>
          </a:p>
          <a:p>
            <a:pPr>
              <a:spcAft>
                <a:spcPts val="3000"/>
              </a:spcAft>
            </a:pPr>
            <a:r>
              <a:rPr lang="en-US">
                <a:solidFill>
                  <a:srgbClr val="0078D7"/>
                </a:solidFill>
                <a:latin typeface="Segoe UI Semibold" panose="020B0702040204020203" pitchFamily="34" charset="0"/>
                <a:cs typeface="Segoe UI Semibold" panose="020B0702040204020203" pitchFamily="34" charset="0"/>
              </a:rPr>
              <a:t>Improve student outcomes.</a:t>
            </a:r>
            <a:r>
              <a:rPr lang="en-US">
                <a:solidFill>
                  <a:srgbClr val="5558AF"/>
                </a:solidFill>
                <a:latin typeface="Segoe UI Semibold" panose="020B0702040204020203" pitchFamily="34" charset="0"/>
                <a:cs typeface="Segoe UI Semibold" panose="020B0702040204020203" pitchFamily="34" charset="0"/>
              </a:rPr>
              <a:t> </a:t>
            </a:r>
            <a:r>
              <a:rPr lang="en-US">
                <a:cs typeface="Segoe UI Semibold" panose="020B0702040204020203" pitchFamily="34" charset="0"/>
              </a:rPr>
              <a:t>Personalize learning by assigning tailored lessons and providing transparent feedback in a single system.</a:t>
            </a:r>
          </a:p>
          <a:p>
            <a:pPr>
              <a:spcAft>
                <a:spcPts val="3000"/>
              </a:spcAft>
            </a:pPr>
            <a:r>
              <a:rPr lang="en-US">
                <a:solidFill>
                  <a:srgbClr val="0078D7"/>
                </a:solidFill>
                <a:latin typeface="Segoe UI Semibold" panose="020B0702040204020203" pitchFamily="34" charset="0"/>
                <a:cs typeface="Segoe UI Semibold" panose="020B0702040204020203" pitchFamily="34" charset="0"/>
              </a:rPr>
              <a:t>Engage everyone in learning.</a:t>
            </a:r>
            <a:r>
              <a:rPr lang="en-US">
                <a:solidFill>
                  <a:srgbClr val="5558AF"/>
                </a:solidFill>
                <a:latin typeface="Segoe UI Semibold" panose="020B0702040204020203" pitchFamily="34" charset="0"/>
                <a:cs typeface="Segoe UI Semibold" panose="020B0702040204020203" pitchFamily="34" charset="0"/>
              </a:rPr>
              <a:t> </a:t>
            </a:r>
            <a:r>
              <a:rPr lang="en-US"/>
              <a:t>Support students of all abilities with accessibility tools, live caption translation, Immersive Reader, and more.</a:t>
            </a:r>
            <a:endParaRPr lang="en-US">
              <a:cs typeface="Segoe UI Semibold" panose="020B0702040204020203" pitchFamily="34" charset="0"/>
            </a:endParaRPr>
          </a:p>
          <a:p>
            <a:pPr>
              <a:spcAft>
                <a:spcPts val="3000"/>
              </a:spcAft>
            </a:pPr>
            <a:r>
              <a:rPr lang="en-US" sz="1800" spc="0">
                <a:solidFill>
                  <a:srgbClr val="0078D7"/>
                </a:solidFill>
                <a:latin typeface="Segoe UI Semibold" panose="020B0702040204020203" pitchFamily="34" charset="0"/>
                <a:cs typeface="Segoe UI Semibold" panose="020B0702040204020203" pitchFamily="34" charset="0"/>
              </a:rPr>
              <a:t>Access all the tools you need in one place.</a:t>
            </a:r>
            <a:r>
              <a:rPr lang="en-US" spc="0">
                <a:solidFill>
                  <a:srgbClr val="0078D7"/>
                </a:solidFill>
                <a:latin typeface="Segoe UI Semibold" panose="020B0702040204020203" pitchFamily="34" charset="0"/>
                <a:cs typeface="Segoe UI Semibold" panose="020B0702040204020203" pitchFamily="34" charset="0"/>
              </a:rPr>
              <a:t> </a:t>
            </a:r>
            <a:r>
              <a:rPr lang="en-US" sz="1800" spc="0">
                <a:solidFill>
                  <a:schemeClr val="tx1"/>
                </a:solidFill>
                <a:latin typeface="+mn-lt"/>
              </a:rPr>
              <a:t>Integrate with apps, including Learning management systems (LMS), to manage assignments, track grades, and more.</a:t>
            </a:r>
          </a:p>
        </p:txBody>
      </p:sp>
      <p:grpSp>
        <p:nvGrpSpPr>
          <p:cNvPr id="22" name="Group 21">
            <a:extLst>
              <a:ext uri="{FF2B5EF4-FFF2-40B4-BE49-F238E27FC236}">
                <a16:creationId xmlns:a16="http://schemas.microsoft.com/office/drawing/2014/main" id="{05BD06FB-9B4E-4C20-8C89-B32D41869B16}"/>
              </a:ext>
              <a:ext uri="{C183D7F6-B498-43B3-948B-1728B52AA6E4}">
                <adec:decorative xmlns:adec="http://schemas.microsoft.com/office/drawing/2017/decorative" val="1"/>
              </a:ext>
            </a:extLst>
          </p:cNvPr>
          <p:cNvGrpSpPr/>
          <p:nvPr/>
        </p:nvGrpSpPr>
        <p:grpSpPr>
          <a:xfrm>
            <a:off x="11488324" y="162790"/>
            <a:ext cx="777240" cy="778243"/>
            <a:chOff x="5483516" y="3231556"/>
            <a:chExt cx="1466268" cy="1466264"/>
          </a:xfrm>
        </p:grpSpPr>
        <p:sp>
          <p:nvSpPr>
            <p:cNvPr id="23" name="Oval 22">
              <a:extLst>
                <a:ext uri="{FF2B5EF4-FFF2-40B4-BE49-F238E27FC236}">
                  <a16:creationId xmlns:a16="http://schemas.microsoft.com/office/drawing/2014/main" id="{CC8456A3-EE42-4794-8757-10A028D7CB89}"/>
                </a:ext>
              </a:extLst>
            </p:cNvPr>
            <p:cNvSpPr/>
            <p:nvPr/>
          </p:nvSpPr>
          <p:spPr bwMode="auto">
            <a:xfrm>
              <a:off x="5483516" y="3231556"/>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nvGrpSpPr>
            <p:cNvPr id="24" name="Group 23">
              <a:extLst>
                <a:ext uri="{FF2B5EF4-FFF2-40B4-BE49-F238E27FC236}">
                  <a16:creationId xmlns:a16="http://schemas.microsoft.com/office/drawing/2014/main" id="{43295577-AECA-4B11-8250-CA605672B9BB}"/>
                </a:ext>
              </a:extLst>
            </p:cNvPr>
            <p:cNvGrpSpPr/>
            <p:nvPr/>
          </p:nvGrpSpPr>
          <p:grpSpPr>
            <a:xfrm>
              <a:off x="5831047" y="3446858"/>
              <a:ext cx="771208" cy="1035662"/>
              <a:chOff x="5831047" y="3446858"/>
              <a:chExt cx="771208" cy="1035662"/>
            </a:xfrm>
          </p:grpSpPr>
          <p:sp>
            <p:nvSpPr>
              <p:cNvPr id="25" name="Freeform: Shape 24">
                <a:extLst>
                  <a:ext uri="{FF2B5EF4-FFF2-40B4-BE49-F238E27FC236}">
                    <a16:creationId xmlns:a16="http://schemas.microsoft.com/office/drawing/2014/main" id="{B499E143-928E-4390-9BDE-44DF536FB3F2}"/>
                  </a:ext>
                </a:extLst>
              </p:cNvPr>
              <p:cNvSpPr/>
              <p:nvPr/>
            </p:nvSpPr>
            <p:spPr>
              <a:xfrm>
                <a:off x="6076914" y="4006785"/>
                <a:ext cx="279339" cy="280279"/>
              </a:xfrm>
              <a:custGeom>
                <a:avLst/>
                <a:gdLst>
                  <a:gd name="connsiteX0" fmla="*/ 0 w 197929"/>
                  <a:gd name="connsiteY0" fmla="*/ 100203 h 198596"/>
                  <a:gd name="connsiteX1" fmla="*/ 98965 w 197929"/>
                  <a:gd name="connsiteY1" fmla="*/ 0 h 198596"/>
                  <a:gd name="connsiteX2" fmla="*/ 197929 w 197929"/>
                  <a:gd name="connsiteY2" fmla="*/ 100203 h 198596"/>
                  <a:gd name="connsiteX3" fmla="*/ 98965 w 197929"/>
                  <a:gd name="connsiteY3" fmla="*/ 198596 h 198596"/>
                  <a:gd name="connsiteX4" fmla="*/ 0 w 197929"/>
                  <a:gd name="connsiteY4" fmla="*/ 100203 h 198596"/>
                  <a:gd name="connsiteX5" fmla="*/ 0 w 197929"/>
                  <a:gd name="connsiteY5" fmla="*/ 100203 h 198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929" h="198596">
                    <a:moveTo>
                      <a:pt x="0" y="100203"/>
                    </a:moveTo>
                    <a:cubicBezTo>
                      <a:pt x="0" y="45529"/>
                      <a:pt x="44006" y="0"/>
                      <a:pt x="98965" y="0"/>
                    </a:cubicBezTo>
                    <a:cubicBezTo>
                      <a:pt x="154019" y="0"/>
                      <a:pt x="197929" y="45625"/>
                      <a:pt x="197929" y="100203"/>
                    </a:cubicBezTo>
                    <a:cubicBezTo>
                      <a:pt x="197929" y="154781"/>
                      <a:pt x="154019" y="198596"/>
                      <a:pt x="98965" y="198596"/>
                    </a:cubicBezTo>
                    <a:cubicBezTo>
                      <a:pt x="44006" y="198596"/>
                      <a:pt x="0" y="154781"/>
                      <a:pt x="0" y="100203"/>
                    </a:cubicBezTo>
                    <a:lnTo>
                      <a:pt x="0" y="100203"/>
                    </a:lnTo>
                    <a:close/>
                  </a:path>
                </a:pathLst>
              </a:custGeom>
              <a:noFill/>
              <a:ln w="19050" cap="sq">
                <a:solidFill>
                  <a:schemeClr val="tx2"/>
                </a:solidFill>
                <a:prstDash val="solid"/>
                <a:miter/>
              </a:ln>
            </p:spPr>
            <p:txBody>
              <a:bodyPr rtlCol="0" anchor="ctr"/>
              <a:lstStyle/>
              <a:p>
                <a:endParaRPr lang="en-IN"/>
              </a:p>
            </p:txBody>
          </p:sp>
          <p:sp>
            <p:nvSpPr>
              <p:cNvPr id="26" name="Freeform: Shape 25">
                <a:extLst>
                  <a:ext uri="{FF2B5EF4-FFF2-40B4-BE49-F238E27FC236}">
                    <a16:creationId xmlns:a16="http://schemas.microsoft.com/office/drawing/2014/main" id="{238574C2-2AA8-4546-B191-D8D4FCE610D1}"/>
                  </a:ext>
                </a:extLst>
              </p:cNvPr>
              <p:cNvSpPr/>
              <p:nvPr/>
            </p:nvSpPr>
            <p:spPr>
              <a:xfrm>
                <a:off x="6020051" y="4287064"/>
                <a:ext cx="393333" cy="195456"/>
              </a:xfrm>
              <a:custGeom>
                <a:avLst/>
                <a:gdLst>
                  <a:gd name="connsiteX0" fmla="*/ 278701 w 278701"/>
                  <a:gd name="connsiteY0" fmla="*/ 138494 h 138493"/>
                  <a:gd name="connsiteX1" fmla="*/ 139351 w 278701"/>
                  <a:gd name="connsiteY1" fmla="*/ 0 h 138493"/>
                  <a:gd name="connsiteX2" fmla="*/ 0 w 278701"/>
                  <a:gd name="connsiteY2" fmla="*/ 138494 h 138493"/>
                </a:gdLst>
                <a:ahLst/>
                <a:cxnLst>
                  <a:cxn ang="0">
                    <a:pos x="connsiteX0" y="connsiteY0"/>
                  </a:cxn>
                  <a:cxn ang="0">
                    <a:pos x="connsiteX1" y="connsiteY1"/>
                  </a:cxn>
                  <a:cxn ang="0">
                    <a:pos x="connsiteX2" y="connsiteY2"/>
                  </a:cxn>
                </a:cxnLst>
                <a:rect l="l" t="t" r="r" b="b"/>
                <a:pathLst>
                  <a:path w="278701" h="138493">
                    <a:moveTo>
                      <a:pt x="278701" y="138494"/>
                    </a:moveTo>
                    <a:cubicBezTo>
                      <a:pt x="278701" y="62008"/>
                      <a:pt x="216313" y="0"/>
                      <a:pt x="139351" y="0"/>
                    </a:cubicBezTo>
                    <a:cubicBezTo>
                      <a:pt x="62389" y="0"/>
                      <a:pt x="0" y="61913"/>
                      <a:pt x="0" y="138494"/>
                    </a:cubicBezTo>
                  </a:path>
                </a:pathLst>
              </a:custGeom>
              <a:noFill/>
              <a:ln w="19050" cap="sq">
                <a:solidFill>
                  <a:schemeClr val="tx2"/>
                </a:solidFill>
                <a:prstDash val="solid"/>
                <a:miter/>
              </a:ln>
            </p:spPr>
            <p:txBody>
              <a:bodyPr rtlCol="0" anchor="ctr"/>
              <a:lstStyle/>
              <a:p>
                <a:endParaRPr lang="en-IN"/>
              </a:p>
            </p:txBody>
          </p:sp>
          <p:sp>
            <p:nvSpPr>
              <p:cNvPr id="27" name="Freeform: Shape 26">
                <a:extLst>
                  <a:ext uri="{FF2B5EF4-FFF2-40B4-BE49-F238E27FC236}">
                    <a16:creationId xmlns:a16="http://schemas.microsoft.com/office/drawing/2014/main" id="{CEE9C465-BF11-4E25-86ED-CC0C01710757}"/>
                  </a:ext>
                </a:extLst>
              </p:cNvPr>
              <p:cNvSpPr/>
              <p:nvPr/>
            </p:nvSpPr>
            <p:spPr>
              <a:xfrm>
                <a:off x="5864653" y="3839424"/>
                <a:ext cx="176099" cy="174889"/>
              </a:xfrm>
              <a:custGeom>
                <a:avLst/>
                <a:gdLst>
                  <a:gd name="connsiteX0" fmla="*/ 62389 w 124777"/>
                  <a:gd name="connsiteY0" fmla="*/ 123920 h 123920"/>
                  <a:gd name="connsiteX1" fmla="*/ 124777 w 124777"/>
                  <a:gd name="connsiteY1" fmla="*/ 62008 h 123920"/>
                  <a:gd name="connsiteX2" fmla="*/ 62389 w 124777"/>
                  <a:gd name="connsiteY2" fmla="*/ 0 h 123920"/>
                  <a:gd name="connsiteX3" fmla="*/ 0 w 124777"/>
                  <a:gd name="connsiteY3" fmla="*/ 62008 h 123920"/>
                  <a:gd name="connsiteX4" fmla="*/ 62389 w 124777"/>
                  <a:gd name="connsiteY4" fmla="*/ 123920 h 123920"/>
                  <a:gd name="connsiteX5" fmla="*/ 62389 w 124777"/>
                  <a:gd name="connsiteY5" fmla="*/ 123920 h 12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777" h="123920">
                    <a:moveTo>
                      <a:pt x="62389" y="123920"/>
                    </a:moveTo>
                    <a:cubicBezTo>
                      <a:pt x="97250" y="123920"/>
                      <a:pt x="124777" y="96679"/>
                      <a:pt x="124777" y="62008"/>
                    </a:cubicBezTo>
                    <a:cubicBezTo>
                      <a:pt x="124777" y="27337"/>
                      <a:pt x="97250" y="0"/>
                      <a:pt x="62389" y="0"/>
                    </a:cubicBezTo>
                    <a:cubicBezTo>
                      <a:pt x="27623" y="0"/>
                      <a:pt x="0" y="27337"/>
                      <a:pt x="0" y="62008"/>
                    </a:cubicBezTo>
                    <a:cubicBezTo>
                      <a:pt x="0" y="96679"/>
                      <a:pt x="27623" y="123920"/>
                      <a:pt x="62389" y="123920"/>
                    </a:cubicBezTo>
                    <a:lnTo>
                      <a:pt x="62389" y="123920"/>
                    </a:lnTo>
                    <a:close/>
                  </a:path>
                </a:pathLst>
              </a:custGeom>
              <a:noFill/>
              <a:ln w="19050" cap="sq">
                <a:solidFill>
                  <a:schemeClr val="tx2"/>
                </a:solidFill>
                <a:prstDash val="solid"/>
                <a:miter/>
              </a:ln>
            </p:spPr>
            <p:txBody>
              <a:bodyPr rtlCol="0" anchor="ctr"/>
              <a:lstStyle/>
              <a:p>
                <a:endParaRPr lang="en-IN"/>
              </a:p>
            </p:txBody>
          </p:sp>
          <p:sp>
            <p:nvSpPr>
              <p:cNvPr id="28" name="Freeform: Shape 27">
                <a:extLst>
                  <a:ext uri="{FF2B5EF4-FFF2-40B4-BE49-F238E27FC236}">
                    <a16:creationId xmlns:a16="http://schemas.microsoft.com/office/drawing/2014/main" id="{C4CC4B7C-F67B-46B4-8217-275902FB6F61}"/>
                  </a:ext>
                </a:extLst>
              </p:cNvPr>
              <p:cNvSpPr/>
              <p:nvPr/>
            </p:nvSpPr>
            <p:spPr>
              <a:xfrm>
                <a:off x="5831047" y="4014313"/>
                <a:ext cx="245867" cy="120849"/>
              </a:xfrm>
              <a:custGeom>
                <a:avLst/>
                <a:gdLst>
                  <a:gd name="connsiteX0" fmla="*/ 174212 w 174212"/>
                  <a:gd name="connsiteY0" fmla="*/ 85630 h 85629"/>
                  <a:gd name="connsiteX1" fmla="*/ 86201 w 174212"/>
                  <a:gd name="connsiteY1" fmla="*/ 0 h 85629"/>
                  <a:gd name="connsiteX2" fmla="*/ 0 w 174212"/>
                  <a:gd name="connsiteY2" fmla="*/ 85630 h 85629"/>
                </a:gdLst>
                <a:ahLst/>
                <a:cxnLst>
                  <a:cxn ang="0">
                    <a:pos x="connsiteX0" y="connsiteY0"/>
                  </a:cxn>
                  <a:cxn ang="0">
                    <a:pos x="connsiteX1" y="connsiteY1"/>
                  </a:cxn>
                  <a:cxn ang="0">
                    <a:pos x="connsiteX2" y="connsiteY2"/>
                  </a:cxn>
                </a:cxnLst>
                <a:rect l="l" t="t" r="r" b="b"/>
                <a:pathLst>
                  <a:path w="174212" h="85629">
                    <a:moveTo>
                      <a:pt x="174212" y="85630"/>
                    </a:moveTo>
                    <a:cubicBezTo>
                      <a:pt x="174212" y="38291"/>
                      <a:pt x="133922" y="0"/>
                      <a:pt x="86201" y="0"/>
                    </a:cubicBezTo>
                    <a:cubicBezTo>
                      <a:pt x="38481" y="0"/>
                      <a:pt x="0" y="38291"/>
                      <a:pt x="0" y="85630"/>
                    </a:cubicBezTo>
                  </a:path>
                </a:pathLst>
              </a:custGeom>
              <a:noFill/>
              <a:ln w="19050" cap="sq">
                <a:solidFill>
                  <a:schemeClr val="tx2"/>
                </a:solidFill>
                <a:prstDash val="solid"/>
                <a:miter/>
              </a:ln>
            </p:spPr>
            <p:txBody>
              <a:bodyPr rtlCol="0" anchor="ctr"/>
              <a:lstStyle/>
              <a:p>
                <a:endParaRPr lang="en-IN"/>
              </a:p>
            </p:txBody>
          </p:sp>
          <p:sp>
            <p:nvSpPr>
              <p:cNvPr id="29" name="Freeform: Shape 28">
                <a:extLst>
                  <a:ext uri="{FF2B5EF4-FFF2-40B4-BE49-F238E27FC236}">
                    <a16:creationId xmlns:a16="http://schemas.microsoft.com/office/drawing/2014/main" id="{62091582-96AC-4DED-9E70-76440BDDC859}"/>
                  </a:ext>
                </a:extLst>
              </p:cNvPr>
              <p:cNvSpPr/>
              <p:nvPr/>
            </p:nvSpPr>
            <p:spPr>
              <a:xfrm>
                <a:off x="6392549" y="3839424"/>
                <a:ext cx="176099" cy="174889"/>
              </a:xfrm>
              <a:custGeom>
                <a:avLst/>
                <a:gdLst>
                  <a:gd name="connsiteX0" fmla="*/ 62389 w 124777"/>
                  <a:gd name="connsiteY0" fmla="*/ 123920 h 123920"/>
                  <a:gd name="connsiteX1" fmla="*/ 124778 w 124777"/>
                  <a:gd name="connsiteY1" fmla="*/ 62008 h 123920"/>
                  <a:gd name="connsiteX2" fmla="*/ 62389 w 124777"/>
                  <a:gd name="connsiteY2" fmla="*/ 0 h 123920"/>
                  <a:gd name="connsiteX3" fmla="*/ 0 w 124777"/>
                  <a:gd name="connsiteY3" fmla="*/ 62008 h 123920"/>
                  <a:gd name="connsiteX4" fmla="*/ 62389 w 124777"/>
                  <a:gd name="connsiteY4" fmla="*/ 123920 h 123920"/>
                  <a:gd name="connsiteX5" fmla="*/ 62389 w 124777"/>
                  <a:gd name="connsiteY5" fmla="*/ 123920 h 12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777" h="123920">
                    <a:moveTo>
                      <a:pt x="62389" y="123920"/>
                    </a:moveTo>
                    <a:cubicBezTo>
                      <a:pt x="97155" y="123920"/>
                      <a:pt x="124778" y="96679"/>
                      <a:pt x="124778" y="62008"/>
                    </a:cubicBezTo>
                    <a:cubicBezTo>
                      <a:pt x="124778" y="27337"/>
                      <a:pt x="97250" y="0"/>
                      <a:pt x="62389" y="0"/>
                    </a:cubicBezTo>
                    <a:cubicBezTo>
                      <a:pt x="27527" y="0"/>
                      <a:pt x="0" y="27337"/>
                      <a:pt x="0" y="62008"/>
                    </a:cubicBezTo>
                    <a:cubicBezTo>
                      <a:pt x="0" y="96679"/>
                      <a:pt x="27527" y="123920"/>
                      <a:pt x="62389" y="123920"/>
                    </a:cubicBezTo>
                    <a:lnTo>
                      <a:pt x="62389" y="123920"/>
                    </a:lnTo>
                    <a:close/>
                  </a:path>
                </a:pathLst>
              </a:custGeom>
              <a:noFill/>
              <a:ln w="19050" cap="sq">
                <a:solidFill>
                  <a:schemeClr val="tx2"/>
                </a:solidFill>
                <a:prstDash val="solid"/>
                <a:miter/>
              </a:ln>
            </p:spPr>
            <p:txBody>
              <a:bodyPr rtlCol="0" anchor="ctr"/>
              <a:lstStyle/>
              <a:p>
                <a:endParaRPr lang="en-IN"/>
              </a:p>
            </p:txBody>
          </p:sp>
          <p:sp>
            <p:nvSpPr>
              <p:cNvPr id="30" name="Freeform: Shape 29">
                <a:extLst>
                  <a:ext uri="{FF2B5EF4-FFF2-40B4-BE49-F238E27FC236}">
                    <a16:creationId xmlns:a16="http://schemas.microsoft.com/office/drawing/2014/main" id="{6DC28402-55AA-4E9B-9D27-246B3674E886}"/>
                  </a:ext>
                </a:extLst>
              </p:cNvPr>
              <p:cNvSpPr/>
              <p:nvPr/>
            </p:nvSpPr>
            <p:spPr>
              <a:xfrm>
                <a:off x="6356522" y="4014313"/>
                <a:ext cx="245733" cy="120849"/>
              </a:xfrm>
              <a:custGeom>
                <a:avLst/>
                <a:gdLst>
                  <a:gd name="connsiteX0" fmla="*/ 174117 w 174117"/>
                  <a:gd name="connsiteY0" fmla="*/ 85630 h 85629"/>
                  <a:gd name="connsiteX1" fmla="*/ 88011 w 174117"/>
                  <a:gd name="connsiteY1" fmla="*/ 0 h 85629"/>
                  <a:gd name="connsiteX2" fmla="*/ 0 w 174117"/>
                  <a:gd name="connsiteY2" fmla="*/ 85630 h 85629"/>
                </a:gdLst>
                <a:ahLst/>
                <a:cxnLst>
                  <a:cxn ang="0">
                    <a:pos x="connsiteX0" y="connsiteY0"/>
                  </a:cxn>
                  <a:cxn ang="0">
                    <a:pos x="connsiteX1" y="connsiteY1"/>
                  </a:cxn>
                  <a:cxn ang="0">
                    <a:pos x="connsiteX2" y="connsiteY2"/>
                  </a:cxn>
                </a:cxnLst>
                <a:rect l="l" t="t" r="r" b="b"/>
                <a:pathLst>
                  <a:path w="174117" h="85629">
                    <a:moveTo>
                      <a:pt x="174117" y="85630"/>
                    </a:moveTo>
                    <a:cubicBezTo>
                      <a:pt x="174117" y="38291"/>
                      <a:pt x="135636" y="0"/>
                      <a:pt x="88011" y="0"/>
                    </a:cubicBezTo>
                    <a:cubicBezTo>
                      <a:pt x="40386" y="0"/>
                      <a:pt x="0" y="38291"/>
                      <a:pt x="0" y="85630"/>
                    </a:cubicBezTo>
                  </a:path>
                </a:pathLst>
              </a:custGeom>
              <a:noFill/>
              <a:ln w="19050" cap="sq">
                <a:solidFill>
                  <a:schemeClr val="tx2"/>
                </a:solidFill>
                <a:prstDash val="solid"/>
                <a:miter/>
              </a:ln>
            </p:spPr>
            <p:txBody>
              <a:bodyPr rtlCol="0" anchor="ctr"/>
              <a:lstStyle/>
              <a:p>
                <a:endParaRPr lang="en-IN"/>
              </a:p>
            </p:txBody>
          </p:sp>
          <p:sp>
            <p:nvSpPr>
              <p:cNvPr id="31" name="Freeform: Shape 30">
                <a:extLst>
                  <a:ext uri="{FF2B5EF4-FFF2-40B4-BE49-F238E27FC236}">
                    <a16:creationId xmlns:a16="http://schemas.microsoft.com/office/drawing/2014/main" id="{8438DC1C-F8E1-4DAC-AA33-067BB367BB79}"/>
                  </a:ext>
                </a:extLst>
              </p:cNvPr>
              <p:cNvSpPr/>
              <p:nvPr/>
            </p:nvSpPr>
            <p:spPr>
              <a:xfrm>
                <a:off x="6216718" y="3446858"/>
                <a:ext cx="13443" cy="387149"/>
              </a:xfrm>
              <a:custGeom>
                <a:avLst/>
                <a:gdLst>
                  <a:gd name="connsiteX0" fmla="*/ 0 w 9525"/>
                  <a:gd name="connsiteY0" fmla="*/ 0 h 145827"/>
                  <a:gd name="connsiteX1" fmla="*/ 0 w 9525"/>
                  <a:gd name="connsiteY1" fmla="*/ 145828 h 145827"/>
                </a:gdLst>
                <a:ahLst/>
                <a:cxnLst>
                  <a:cxn ang="0">
                    <a:pos x="connsiteX0" y="connsiteY0"/>
                  </a:cxn>
                  <a:cxn ang="0">
                    <a:pos x="connsiteX1" y="connsiteY1"/>
                  </a:cxn>
                </a:cxnLst>
                <a:rect l="l" t="t" r="r" b="b"/>
                <a:pathLst>
                  <a:path w="9525" h="145827">
                    <a:moveTo>
                      <a:pt x="0" y="0"/>
                    </a:moveTo>
                    <a:cubicBezTo>
                      <a:pt x="0" y="145828"/>
                      <a:pt x="0" y="145828"/>
                      <a:pt x="0" y="145828"/>
                    </a:cubicBezTo>
                  </a:path>
                </a:pathLst>
              </a:custGeom>
              <a:noFill/>
              <a:ln w="19050" cap="sq">
                <a:solidFill>
                  <a:schemeClr val="tx2"/>
                </a:solidFill>
                <a:prstDash val="solid"/>
                <a:miter/>
              </a:ln>
            </p:spPr>
            <p:txBody>
              <a:bodyPr rtlCol="0" anchor="ctr"/>
              <a:lstStyle/>
              <a:p>
                <a:endParaRPr lang="en-IN"/>
              </a:p>
            </p:txBody>
          </p:sp>
          <p:sp>
            <p:nvSpPr>
              <p:cNvPr id="32" name="Freeform: Shape 31">
                <a:extLst>
                  <a:ext uri="{FF2B5EF4-FFF2-40B4-BE49-F238E27FC236}">
                    <a16:creationId xmlns:a16="http://schemas.microsoft.com/office/drawing/2014/main" id="{C7D0B09D-D97F-4386-8A44-3EDD8D9E8CB5}"/>
                  </a:ext>
                </a:extLst>
              </p:cNvPr>
              <p:cNvSpPr/>
              <p:nvPr/>
            </p:nvSpPr>
            <p:spPr>
              <a:xfrm>
                <a:off x="6100303" y="3728790"/>
                <a:ext cx="232962" cy="115741"/>
              </a:xfrm>
              <a:custGeom>
                <a:avLst/>
                <a:gdLst>
                  <a:gd name="connsiteX0" fmla="*/ 0 w 165068"/>
                  <a:gd name="connsiteY0" fmla="*/ 0 h 82010"/>
                  <a:gd name="connsiteX1" fmla="*/ 82487 w 165068"/>
                  <a:gd name="connsiteY1" fmla="*/ 82010 h 82010"/>
                  <a:gd name="connsiteX2" fmla="*/ 165068 w 165068"/>
                  <a:gd name="connsiteY2" fmla="*/ 0 h 82010"/>
                </a:gdLst>
                <a:ahLst/>
                <a:cxnLst>
                  <a:cxn ang="0">
                    <a:pos x="connsiteX0" y="connsiteY0"/>
                  </a:cxn>
                  <a:cxn ang="0">
                    <a:pos x="connsiteX1" y="connsiteY1"/>
                  </a:cxn>
                  <a:cxn ang="0">
                    <a:pos x="connsiteX2" y="connsiteY2"/>
                  </a:cxn>
                </a:cxnLst>
                <a:rect l="l" t="t" r="r" b="b"/>
                <a:pathLst>
                  <a:path w="165068" h="82010">
                    <a:moveTo>
                      <a:pt x="0" y="0"/>
                    </a:moveTo>
                    <a:cubicBezTo>
                      <a:pt x="82487" y="82010"/>
                      <a:pt x="82487" y="82010"/>
                      <a:pt x="82487" y="82010"/>
                    </a:cubicBezTo>
                    <a:cubicBezTo>
                      <a:pt x="165068" y="0"/>
                      <a:pt x="165068" y="0"/>
                      <a:pt x="165068" y="0"/>
                    </a:cubicBezTo>
                  </a:path>
                </a:pathLst>
              </a:custGeom>
              <a:noFill/>
              <a:ln w="19050" cap="sq">
                <a:solidFill>
                  <a:schemeClr val="tx2"/>
                </a:solidFill>
                <a:prstDash val="solid"/>
                <a:miter/>
              </a:ln>
            </p:spPr>
            <p:txBody>
              <a:bodyPr rtlCol="0" anchor="ctr"/>
              <a:lstStyle/>
              <a:p>
                <a:endParaRPr lang="en-IN"/>
              </a:p>
            </p:txBody>
          </p:sp>
        </p:grpSp>
      </p:grpSp>
    </p:spTree>
    <p:extLst>
      <p:ext uri="{BB962C8B-B14F-4D97-AF65-F5344CB8AC3E}">
        <p14:creationId xmlns:p14="http://schemas.microsoft.com/office/powerpoint/2010/main" val="366530493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5A7D4F1B-B329-4EA7-9D9D-8A709E831A91}"/>
              </a:ext>
            </a:extLst>
          </p:cNvPr>
          <p:cNvSpPr>
            <a:spLocks noGrp="1"/>
          </p:cNvSpPr>
          <p:nvPr>
            <p:ph type="title"/>
          </p:nvPr>
        </p:nvSpPr>
        <p:spPr>
          <a:xfrm>
            <a:off x="457200" y="503238"/>
            <a:ext cx="10642922" cy="1059748"/>
          </a:xfrm>
        </p:spPr>
        <p:txBody>
          <a:bodyPr/>
          <a:lstStyle/>
          <a:p>
            <a:r>
              <a:rPr lang="en-US">
                <a:solidFill>
                  <a:schemeClr val="accent1"/>
                </a:solidFill>
                <a:latin typeface="Segoe UI Semibold" panose="020B0702040204020203" pitchFamily="34" charset="0"/>
                <a:cs typeface="Segoe UI Semibold" panose="020B0702040204020203" pitchFamily="34" charset="0"/>
              </a:rPr>
              <a:t>Streamline collaboration </a:t>
            </a:r>
            <a:r>
              <a:rPr lang="en-US"/>
              <a:t>and build professional communities</a:t>
            </a:r>
          </a:p>
        </p:txBody>
      </p:sp>
      <p:grpSp>
        <p:nvGrpSpPr>
          <p:cNvPr id="34" name="Group 33">
            <a:extLst>
              <a:ext uri="{FF2B5EF4-FFF2-40B4-BE49-F238E27FC236}">
                <a16:creationId xmlns:a16="http://schemas.microsoft.com/office/drawing/2014/main" id="{AE0051DF-596F-4655-AACC-1E67EBA3B5BC}"/>
              </a:ext>
              <a:ext uri="{C183D7F6-B498-43B3-948B-1728B52AA6E4}">
                <adec:decorative xmlns:adec="http://schemas.microsoft.com/office/drawing/2017/decorative" val="1"/>
              </a:ext>
            </a:extLst>
          </p:cNvPr>
          <p:cNvGrpSpPr/>
          <p:nvPr/>
        </p:nvGrpSpPr>
        <p:grpSpPr>
          <a:xfrm>
            <a:off x="11488324" y="162790"/>
            <a:ext cx="777240" cy="778243"/>
            <a:chOff x="5483516" y="3231556"/>
            <a:chExt cx="1466268" cy="1466264"/>
          </a:xfrm>
        </p:grpSpPr>
        <p:sp>
          <p:nvSpPr>
            <p:cNvPr id="35" name="Oval 34">
              <a:extLst>
                <a:ext uri="{FF2B5EF4-FFF2-40B4-BE49-F238E27FC236}">
                  <a16:creationId xmlns:a16="http://schemas.microsoft.com/office/drawing/2014/main" id="{57A22791-4999-4494-B392-955D73AAEF4F}"/>
                </a:ext>
              </a:extLst>
            </p:cNvPr>
            <p:cNvSpPr/>
            <p:nvPr/>
          </p:nvSpPr>
          <p:spPr bwMode="auto">
            <a:xfrm>
              <a:off x="5483516" y="3231556"/>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nvGrpSpPr>
            <p:cNvPr id="36" name="Group 35">
              <a:extLst>
                <a:ext uri="{FF2B5EF4-FFF2-40B4-BE49-F238E27FC236}">
                  <a16:creationId xmlns:a16="http://schemas.microsoft.com/office/drawing/2014/main" id="{3C953E9C-E929-42FD-963F-D686C493372A}"/>
                </a:ext>
              </a:extLst>
            </p:cNvPr>
            <p:cNvGrpSpPr/>
            <p:nvPr/>
          </p:nvGrpSpPr>
          <p:grpSpPr>
            <a:xfrm>
              <a:off x="5831047" y="3446858"/>
              <a:ext cx="771208" cy="1035662"/>
              <a:chOff x="5831047" y="3446858"/>
              <a:chExt cx="771208" cy="1035662"/>
            </a:xfrm>
          </p:grpSpPr>
          <p:sp>
            <p:nvSpPr>
              <p:cNvPr id="37" name="Freeform: Shape 36">
                <a:extLst>
                  <a:ext uri="{FF2B5EF4-FFF2-40B4-BE49-F238E27FC236}">
                    <a16:creationId xmlns:a16="http://schemas.microsoft.com/office/drawing/2014/main" id="{ABDD6916-390A-4A86-9D22-CA4CA35F4C60}"/>
                  </a:ext>
                </a:extLst>
              </p:cNvPr>
              <p:cNvSpPr/>
              <p:nvPr/>
            </p:nvSpPr>
            <p:spPr>
              <a:xfrm>
                <a:off x="6076914" y="4006785"/>
                <a:ext cx="279339" cy="280279"/>
              </a:xfrm>
              <a:custGeom>
                <a:avLst/>
                <a:gdLst>
                  <a:gd name="connsiteX0" fmla="*/ 0 w 197929"/>
                  <a:gd name="connsiteY0" fmla="*/ 100203 h 198596"/>
                  <a:gd name="connsiteX1" fmla="*/ 98965 w 197929"/>
                  <a:gd name="connsiteY1" fmla="*/ 0 h 198596"/>
                  <a:gd name="connsiteX2" fmla="*/ 197929 w 197929"/>
                  <a:gd name="connsiteY2" fmla="*/ 100203 h 198596"/>
                  <a:gd name="connsiteX3" fmla="*/ 98965 w 197929"/>
                  <a:gd name="connsiteY3" fmla="*/ 198596 h 198596"/>
                  <a:gd name="connsiteX4" fmla="*/ 0 w 197929"/>
                  <a:gd name="connsiteY4" fmla="*/ 100203 h 198596"/>
                  <a:gd name="connsiteX5" fmla="*/ 0 w 197929"/>
                  <a:gd name="connsiteY5" fmla="*/ 100203 h 198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929" h="198596">
                    <a:moveTo>
                      <a:pt x="0" y="100203"/>
                    </a:moveTo>
                    <a:cubicBezTo>
                      <a:pt x="0" y="45529"/>
                      <a:pt x="44006" y="0"/>
                      <a:pt x="98965" y="0"/>
                    </a:cubicBezTo>
                    <a:cubicBezTo>
                      <a:pt x="154019" y="0"/>
                      <a:pt x="197929" y="45625"/>
                      <a:pt x="197929" y="100203"/>
                    </a:cubicBezTo>
                    <a:cubicBezTo>
                      <a:pt x="197929" y="154781"/>
                      <a:pt x="154019" y="198596"/>
                      <a:pt x="98965" y="198596"/>
                    </a:cubicBezTo>
                    <a:cubicBezTo>
                      <a:pt x="44006" y="198596"/>
                      <a:pt x="0" y="154781"/>
                      <a:pt x="0" y="100203"/>
                    </a:cubicBezTo>
                    <a:lnTo>
                      <a:pt x="0" y="100203"/>
                    </a:lnTo>
                    <a:close/>
                  </a:path>
                </a:pathLst>
              </a:custGeom>
              <a:noFill/>
              <a:ln w="19050" cap="sq">
                <a:solidFill>
                  <a:schemeClr val="tx2"/>
                </a:solidFill>
                <a:prstDash val="solid"/>
                <a:miter/>
              </a:ln>
            </p:spPr>
            <p:txBody>
              <a:bodyPr rtlCol="0" anchor="ctr"/>
              <a:lstStyle/>
              <a:p>
                <a:endParaRPr lang="en-IN"/>
              </a:p>
            </p:txBody>
          </p:sp>
          <p:sp>
            <p:nvSpPr>
              <p:cNvPr id="38" name="Freeform: Shape 37">
                <a:extLst>
                  <a:ext uri="{FF2B5EF4-FFF2-40B4-BE49-F238E27FC236}">
                    <a16:creationId xmlns:a16="http://schemas.microsoft.com/office/drawing/2014/main" id="{9AA8AE77-39AB-4BE9-A67B-BF785CFE88A1}"/>
                  </a:ext>
                </a:extLst>
              </p:cNvPr>
              <p:cNvSpPr/>
              <p:nvPr/>
            </p:nvSpPr>
            <p:spPr>
              <a:xfrm>
                <a:off x="6020051" y="4287064"/>
                <a:ext cx="393333" cy="195456"/>
              </a:xfrm>
              <a:custGeom>
                <a:avLst/>
                <a:gdLst>
                  <a:gd name="connsiteX0" fmla="*/ 278701 w 278701"/>
                  <a:gd name="connsiteY0" fmla="*/ 138494 h 138493"/>
                  <a:gd name="connsiteX1" fmla="*/ 139351 w 278701"/>
                  <a:gd name="connsiteY1" fmla="*/ 0 h 138493"/>
                  <a:gd name="connsiteX2" fmla="*/ 0 w 278701"/>
                  <a:gd name="connsiteY2" fmla="*/ 138494 h 138493"/>
                </a:gdLst>
                <a:ahLst/>
                <a:cxnLst>
                  <a:cxn ang="0">
                    <a:pos x="connsiteX0" y="connsiteY0"/>
                  </a:cxn>
                  <a:cxn ang="0">
                    <a:pos x="connsiteX1" y="connsiteY1"/>
                  </a:cxn>
                  <a:cxn ang="0">
                    <a:pos x="connsiteX2" y="connsiteY2"/>
                  </a:cxn>
                </a:cxnLst>
                <a:rect l="l" t="t" r="r" b="b"/>
                <a:pathLst>
                  <a:path w="278701" h="138493">
                    <a:moveTo>
                      <a:pt x="278701" y="138494"/>
                    </a:moveTo>
                    <a:cubicBezTo>
                      <a:pt x="278701" y="62008"/>
                      <a:pt x="216313" y="0"/>
                      <a:pt x="139351" y="0"/>
                    </a:cubicBezTo>
                    <a:cubicBezTo>
                      <a:pt x="62389" y="0"/>
                      <a:pt x="0" y="61913"/>
                      <a:pt x="0" y="138494"/>
                    </a:cubicBezTo>
                  </a:path>
                </a:pathLst>
              </a:custGeom>
              <a:noFill/>
              <a:ln w="19050" cap="sq">
                <a:solidFill>
                  <a:schemeClr val="tx2"/>
                </a:solidFill>
                <a:prstDash val="solid"/>
                <a:miter/>
              </a:ln>
            </p:spPr>
            <p:txBody>
              <a:bodyPr rtlCol="0" anchor="ctr"/>
              <a:lstStyle/>
              <a:p>
                <a:endParaRPr lang="en-IN"/>
              </a:p>
            </p:txBody>
          </p:sp>
          <p:sp>
            <p:nvSpPr>
              <p:cNvPr id="39" name="Freeform: Shape 38">
                <a:extLst>
                  <a:ext uri="{FF2B5EF4-FFF2-40B4-BE49-F238E27FC236}">
                    <a16:creationId xmlns:a16="http://schemas.microsoft.com/office/drawing/2014/main" id="{831DAF4F-8767-4898-ABD2-954C71036FA0}"/>
                  </a:ext>
                </a:extLst>
              </p:cNvPr>
              <p:cNvSpPr/>
              <p:nvPr/>
            </p:nvSpPr>
            <p:spPr>
              <a:xfrm>
                <a:off x="5864653" y="3839424"/>
                <a:ext cx="176099" cy="174889"/>
              </a:xfrm>
              <a:custGeom>
                <a:avLst/>
                <a:gdLst>
                  <a:gd name="connsiteX0" fmla="*/ 62389 w 124777"/>
                  <a:gd name="connsiteY0" fmla="*/ 123920 h 123920"/>
                  <a:gd name="connsiteX1" fmla="*/ 124777 w 124777"/>
                  <a:gd name="connsiteY1" fmla="*/ 62008 h 123920"/>
                  <a:gd name="connsiteX2" fmla="*/ 62389 w 124777"/>
                  <a:gd name="connsiteY2" fmla="*/ 0 h 123920"/>
                  <a:gd name="connsiteX3" fmla="*/ 0 w 124777"/>
                  <a:gd name="connsiteY3" fmla="*/ 62008 h 123920"/>
                  <a:gd name="connsiteX4" fmla="*/ 62389 w 124777"/>
                  <a:gd name="connsiteY4" fmla="*/ 123920 h 123920"/>
                  <a:gd name="connsiteX5" fmla="*/ 62389 w 124777"/>
                  <a:gd name="connsiteY5" fmla="*/ 123920 h 12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777" h="123920">
                    <a:moveTo>
                      <a:pt x="62389" y="123920"/>
                    </a:moveTo>
                    <a:cubicBezTo>
                      <a:pt x="97250" y="123920"/>
                      <a:pt x="124777" y="96679"/>
                      <a:pt x="124777" y="62008"/>
                    </a:cubicBezTo>
                    <a:cubicBezTo>
                      <a:pt x="124777" y="27337"/>
                      <a:pt x="97250" y="0"/>
                      <a:pt x="62389" y="0"/>
                    </a:cubicBezTo>
                    <a:cubicBezTo>
                      <a:pt x="27623" y="0"/>
                      <a:pt x="0" y="27337"/>
                      <a:pt x="0" y="62008"/>
                    </a:cubicBezTo>
                    <a:cubicBezTo>
                      <a:pt x="0" y="96679"/>
                      <a:pt x="27623" y="123920"/>
                      <a:pt x="62389" y="123920"/>
                    </a:cubicBezTo>
                    <a:lnTo>
                      <a:pt x="62389" y="123920"/>
                    </a:lnTo>
                    <a:close/>
                  </a:path>
                </a:pathLst>
              </a:custGeom>
              <a:noFill/>
              <a:ln w="19050" cap="sq">
                <a:solidFill>
                  <a:schemeClr val="tx2"/>
                </a:solidFill>
                <a:prstDash val="solid"/>
                <a:miter/>
              </a:ln>
            </p:spPr>
            <p:txBody>
              <a:bodyPr rtlCol="0" anchor="ctr"/>
              <a:lstStyle/>
              <a:p>
                <a:endParaRPr lang="en-IN"/>
              </a:p>
            </p:txBody>
          </p:sp>
          <p:sp>
            <p:nvSpPr>
              <p:cNvPr id="42" name="Freeform: Shape 41">
                <a:extLst>
                  <a:ext uri="{FF2B5EF4-FFF2-40B4-BE49-F238E27FC236}">
                    <a16:creationId xmlns:a16="http://schemas.microsoft.com/office/drawing/2014/main" id="{D8F436B5-23CF-48B1-AC0B-F2D176E4A99B}"/>
                  </a:ext>
                </a:extLst>
              </p:cNvPr>
              <p:cNvSpPr/>
              <p:nvPr/>
            </p:nvSpPr>
            <p:spPr>
              <a:xfrm>
                <a:off x="5831047" y="4014313"/>
                <a:ext cx="245867" cy="120849"/>
              </a:xfrm>
              <a:custGeom>
                <a:avLst/>
                <a:gdLst>
                  <a:gd name="connsiteX0" fmla="*/ 174212 w 174212"/>
                  <a:gd name="connsiteY0" fmla="*/ 85630 h 85629"/>
                  <a:gd name="connsiteX1" fmla="*/ 86201 w 174212"/>
                  <a:gd name="connsiteY1" fmla="*/ 0 h 85629"/>
                  <a:gd name="connsiteX2" fmla="*/ 0 w 174212"/>
                  <a:gd name="connsiteY2" fmla="*/ 85630 h 85629"/>
                </a:gdLst>
                <a:ahLst/>
                <a:cxnLst>
                  <a:cxn ang="0">
                    <a:pos x="connsiteX0" y="connsiteY0"/>
                  </a:cxn>
                  <a:cxn ang="0">
                    <a:pos x="connsiteX1" y="connsiteY1"/>
                  </a:cxn>
                  <a:cxn ang="0">
                    <a:pos x="connsiteX2" y="connsiteY2"/>
                  </a:cxn>
                </a:cxnLst>
                <a:rect l="l" t="t" r="r" b="b"/>
                <a:pathLst>
                  <a:path w="174212" h="85629">
                    <a:moveTo>
                      <a:pt x="174212" y="85630"/>
                    </a:moveTo>
                    <a:cubicBezTo>
                      <a:pt x="174212" y="38291"/>
                      <a:pt x="133922" y="0"/>
                      <a:pt x="86201" y="0"/>
                    </a:cubicBezTo>
                    <a:cubicBezTo>
                      <a:pt x="38481" y="0"/>
                      <a:pt x="0" y="38291"/>
                      <a:pt x="0" y="85630"/>
                    </a:cubicBezTo>
                  </a:path>
                </a:pathLst>
              </a:custGeom>
              <a:noFill/>
              <a:ln w="19050" cap="sq">
                <a:solidFill>
                  <a:schemeClr val="tx2"/>
                </a:solidFill>
                <a:prstDash val="solid"/>
                <a:miter/>
              </a:ln>
            </p:spPr>
            <p:txBody>
              <a:bodyPr rtlCol="0" anchor="ctr"/>
              <a:lstStyle/>
              <a:p>
                <a:endParaRPr lang="en-IN"/>
              </a:p>
            </p:txBody>
          </p:sp>
          <p:sp>
            <p:nvSpPr>
              <p:cNvPr id="44" name="Freeform: Shape 43">
                <a:extLst>
                  <a:ext uri="{FF2B5EF4-FFF2-40B4-BE49-F238E27FC236}">
                    <a16:creationId xmlns:a16="http://schemas.microsoft.com/office/drawing/2014/main" id="{83B515BF-21C9-49D4-954B-C2F52696A73E}"/>
                  </a:ext>
                </a:extLst>
              </p:cNvPr>
              <p:cNvSpPr/>
              <p:nvPr/>
            </p:nvSpPr>
            <p:spPr>
              <a:xfrm>
                <a:off x="6392549" y="3839424"/>
                <a:ext cx="176099" cy="174889"/>
              </a:xfrm>
              <a:custGeom>
                <a:avLst/>
                <a:gdLst>
                  <a:gd name="connsiteX0" fmla="*/ 62389 w 124777"/>
                  <a:gd name="connsiteY0" fmla="*/ 123920 h 123920"/>
                  <a:gd name="connsiteX1" fmla="*/ 124778 w 124777"/>
                  <a:gd name="connsiteY1" fmla="*/ 62008 h 123920"/>
                  <a:gd name="connsiteX2" fmla="*/ 62389 w 124777"/>
                  <a:gd name="connsiteY2" fmla="*/ 0 h 123920"/>
                  <a:gd name="connsiteX3" fmla="*/ 0 w 124777"/>
                  <a:gd name="connsiteY3" fmla="*/ 62008 h 123920"/>
                  <a:gd name="connsiteX4" fmla="*/ 62389 w 124777"/>
                  <a:gd name="connsiteY4" fmla="*/ 123920 h 123920"/>
                  <a:gd name="connsiteX5" fmla="*/ 62389 w 124777"/>
                  <a:gd name="connsiteY5" fmla="*/ 123920 h 12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777" h="123920">
                    <a:moveTo>
                      <a:pt x="62389" y="123920"/>
                    </a:moveTo>
                    <a:cubicBezTo>
                      <a:pt x="97155" y="123920"/>
                      <a:pt x="124778" y="96679"/>
                      <a:pt x="124778" y="62008"/>
                    </a:cubicBezTo>
                    <a:cubicBezTo>
                      <a:pt x="124778" y="27337"/>
                      <a:pt x="97250" y="0"/>
                      <a:pt x="62389" y="0"/>
                    </a:cubicBezTo>
                    <a:cubicBezTo>
                      <a:pt x="27527" y="0"/>
                      <a:pt x="0" y="27337"/>
                      <a:pt x="0" y="62008"/>
                    </a:cubicBezTo>
                    <a:cubicBezTo>
                      <a:pt x="0" y="96679"/>
                      <a:pt x="27527" y="123920"/>
                      <a:pt x="62389" y="123920"/>
                    </a:cubicBezTo>
                    <a:lnTo>
                      <a:pt x="62389" y="123920"/>
                    </a:lnTo>
                    <a:close/>
                  </a:path>
                </a:pathLst>
              </a:custGeom>
              <a:noFill/>
              <a:ln w="19050" cap="sq">
                <a:solidFill>
                  <a:schemeClr val="tx2"/>
                </a:solidFill>
                <a:prstDash val="solid"/>
                <a:miter/>
              </a:ln>
            </p:spPr>
            <p:txBody>
              <a:bodyPr rtlCol="0" anchor="ctr"/>
              <a:lstStyle/>
              <a:p>
                <a:endParaRPr lang="en-IN"/>
              </a:p>
            </p:txBody>
          </p:sp>
          <p:sp>
            <p:nvSpPr>
              <p:cNvPr id="45" name="Freeform: Shape 44">
                <a:extLst>
                  <a:ext uri="{FF2B5EF4-FFF2-40B4-BE49-F238E27FC236}">
                    <a16:creationId xmlns:a16="http://schemas.microsoft.com/office/drawing/2014/main" id="{AF74EFE3-D051-4113-B955-365141355581}"/>
                  </a:ext>
                </a:extLst>
              </p:cNvPr>
              <p:cNvSpPr/>
              <p:nvPr/>
            </p:nvSpPr>
            <p:spPr>
              <a:xfrm>
                <a:off x="6356522" y="4014313"/>
                <a:ext cx="245733" cy="120849"/>
              </a:xfrm>
              <a:custGeom>
                <a:avLst/>
                <a:gdLst>
                  <a:gd name="connsiteX0" fmla="*/ 174117 w 174117"/>
                  <a:gd name="connsiteY0" fmla="*/ 85630 h 85629"/>
                  <a:gd name="connsiteX1" fmla="*/ 88011 w 174117"/>
                  <a:gd name="connsiteY1" fmla="*/ 0 h 85629"/>
                  <a:gd name="connsiteX2" fmla="*/ 0 w 174117"/>
                  <a:gd name="connsiteY2" fmla="*/ 85630 h 85629"/>
                </a:gdLst>
                <a:ahLst/>
                <a:cxnLst>
                  <a:cxn ang="0">
                    <a:pos x="connsiteX0" y="connsiteY0"/>
                  </a:cxn>
                  <a:cxn ang="0">
                    <a:pos x="connsiteX1" y="connsiteY1"/>
                  </a:cxn>
                  <a:cxn ang="0">
                    <a:pos x="connsiteX2" y="connsiteY2"/>
                  </a:cxn>
                </a:cxnLst>
                <a:rect l="l" t="t" r="r" b="b"/>
                <a:pathLst>
                  <a:path w="174117" h="85629">
                    <a:moveTo>
                      <a:pt x="174117" y="85630"/>
                    </a:moveTo>
                    <a:cubicBezTo>
                      <a:pt x="174117" y="38291"/>
                      <a:pt x="135636" y="0"/>
                      <a:pt x="88011" y="0"/>
                    </a:cubicBezTo>
                    <a:cubicBezTo>
                      <a:pt x="40386" y="0"/>
                      <a:pt x="0" y="38291"/>
                      <a:pt x="0" y="85630"/>
                    </a:cubicBezTo>
                  </a:path>
                </a:pathLst>
              </a:custGeom>
              <a:noFill/>
              <a:ln w="19050" cap="sq">
                <a:solidFill>
                  <a:schemeClr val="tx2"/>
                </a:solidFill>
                <a:prstDash val="solid"/>
                <a:miter/>
              </a:ln>
            </p:spPr>
            <p:txBody>
              <a:bodyPr rtlCol="0" anchor="ctr"/>
              <a:lstStyle/>
              <a:p>
                <a:endParaRPr lang="en-IN"/>
              </a:p>
            </p:txBody>
          </p:sp>
          <p:sp>
            <p:nvSpPr>
              <p:cNvPr id="46" name="Freeform: Shape 45">
                <a:extLst>
                  <a:ext uri="{FF2B5EF4-FFF2-40B4-BE49-F238E27FC236}">
                    <a16:creationId xmlns:a16="http://schemas.microsoft.com/office/drawing/2014/main" id="{9C8F661C-23AF-42FF-86BD-F3AF611D2E0F}"/>
                  </a:ext>
                </a:extLst>
              </p:cNvPr>
              <p:cNvSpPr/>
              <p:nvPr/>
            </p:nvSpPr>
            <p:spPr>
              <a:xfrm>
                <a:off x="6216718" y="3446858"/>
                <a:ext cx="13443" cy="387149"/>
              </a:xfrm>
              <a:custGeom>
                <a:avLst/>
                <a:gdLst>
                  <a:gd name="connsiteX0" fmla="*/ 0 w 9525"/>
                  <a:gd name="connsiteY0" fmla="*/ 0 h 145827"/>
                  <a:gd name="connsiteX1" fmla="*/ 0 w 9525"/>
                  <a:gd name="connsiteY1" fmla="*/ 145828 h 145827"/>
                </a:gdLst>
                <a:ahLst/>
                <a:cxnLst>
                  <a:cxn ang="0">
                    <a:pos x="connsiteX0" y="connsiteY0"/>
                  </a:cxn>
                  <a:cxn ang="0">
                    <a:pos x="connsiteX1" y="connsiteY1"/>
                  </a:cxn>
                </a:cxnLst>
                <a:rect l="l" t="t" r="r" b="b"/>
                <a:pathLst>
                  <a:path w="9525" h="145827">
                    <a:moveTo>
                      <a:pt x="0" y="0"/>
                    </a:moveTo>
                    <a:cubicBezTo>
                      <a:pt x="0" y="145828"/>
                      <a:pt x="0" y="145828"/>
                      <a:pt x="0" y="145828"/>
                    </a:cubicBezTo>
                  </a:path>
                </a:pathLst>
              </a:custGeom>
              <a:noFill/>
              <a:ln w="19050" cap="sq">
                <a:solidFill>
                  <a:schemeClr val="tx2"/>
                </a:solidFill>
                <a:prstDash val="solid"/>
                <a:miter/>
              </a:ln>
            </p:spPr>
            <p:txBody>
              <a:bodyPr rtlCol="0" anchor="ctr"/>
              <a:lstStyle/>
              <a:p>
                <a:endParaRPr lang="en-IN"/>
              </a:p>
            </p:txBody>
          </p:sp>
          <p:sp>
            <p:nvSpPr>
              <p:cNvPr id="47" name="Freeform: Shape 46">
                <a:extLst>
                  <a:ext uri="{FF2B5EF4-FFF2-40B4-BE49-F238E27FC236}">
                    <a16:creationId xmlns:a16="http://schemas.microsoft.com/office/drawing/2014/main" id="{66E5CC08-5A11-42DF-9B50-08E9D6421880}"/>
                  </a:ext>
                </a:extLst>
              </p:cNvPr>
              <p:cNvSpPr/>
              <p:nvPr/>
            </p:nvSpPr>
            <p:spPr>
              <a:xfrm>
                <a:off x="6100303" y="3728790"/>
                <a:ext cx="232962" cy="115741"/>
              </a:xfrm>
              <a:custGeom>
                <a:avLst/>
                <a:gdLst>
                  <a:gd name="connsiteX0" fmla="*/ 0 w 165068"/>
                  <a:gd name="connsiteY0" fmla="*/ 0 h 82010"/>
                  <a:gd name="connsiteX1" fmla="*/ 82487 w 165068"/>
                  <a:gd name="connsiteY1" fmla="*/ 82010 h 82010"/>
                  <a:gd name="connsiteX2" fmla="*/ 165068 w 165068"/>
                  <a:gd name="connsiteY2" fmla="*/ 0 h 82010"/>
                </a:gdLst>
                <a:ahLst/>
                <a:cxnLst>
                  <a:cxn ang="0">
                    <a:pos x="connsiteX0" y="connsiteY0"/>
                  </a:cxn>
                  <a:cxn ang="0">
                    <a:pos x="connsiteX1" y="connsiteY1"/>
                  </a:cxn>
                  <a:cxn ang="0">
                    <a:pos x="connsiteX2" y="connsiteY2"/>
                  </a:cxn>
                </a:cxnLst>
                <a:rect l="l" t="t" r="r" b="b"/>
                <a:pathLst>
                  <a:path w="165068" h="82010">
                    <a:moveTo>
                      <a:pt x="0" y="0"/>
                    </a:moveTo>
                    <a:cubicBezTo>
                      <a:pt x="82487" y="82010"/>
                      <a:pt x="82487" y="82010"/>
                      <a:pt x="82487" y="82010"/>
                    </a:cubicBezTo>
                    <a:cubicBezTo>
                      <a:pt x="165068" y="0"/>
                      <a:pt x="165068" y="0"/>
                      <a:pt x="165068" y="0"/>
                    </a:cubicBezTo>
                  </a:path>
                </a:pathLst>
              </a:custGeom>
              <a:noFill/>
              <a:ln w="19050" cap="sq">
                <a:solidFill>
                  <a:schemeClr val="tx2"/>
                </a:solidFill>
                <a:prstDash val="solid"/>
                <a:miter/>
              </a:ln>
            </p:spPr>
            <p:txBody>
              <a:bodyPr rtlCol="0" anchor="ctr"/>
              <a:lstStyle/>
              <a:p>
                <a:endParaRPr lang="en-IN"/>
              </a:p>
            </p:txBody>
          </p:sp>
        </p:grpSp>
      </p:grpSp>
      <p:sp>
        <p:nvSpPr>
          <p:cNvPr id="20" name="TextBox 19">
            <a:extLst>
              <a:ext uri="{FF2B5EF4-FFF2-40B4-BE49-F238E27FC236}">
                <a16:creationId xmlns:a16="http://schemas.microsoft.com/office/drawing/2014/main" id="{3404FF81-D509-4F6D-B094-E41F6A75749F}"/>
              </a:ext>
            </a:extLst>
          </p:cNvPr>
          <p:cNvSpPr txBox="1"/>
          <p:nvPr/>
        </p:nvSpPr>
        <p:spPr>
          <a:xfrm>
            <a:off x="420256" y="1949970"/>
            <a:ext cx="5792086" cy="1200329"/>
          </a:xfrm>
          <a:prstGeom prst="rect">
            <a:avLst/>
          </a:prstGeom>
          <a:noFill/>
        </p:spPr>
        <p:txBody>
          <a:bodyPr wrap="square">
            <a:spAutoFit/>
          </a:bodyPr>
          <a:lstStyle/>
          <a:p>
            <a:r>
              <a:rPr lang="en-US">
                <a:solidFill>
                  <a:srgbClr val="0078D7"/>
                </a:solidFill>
                <a:latin typeface="Segoe UI Semibold" panose="020B0702040204020203" pitchFamily="34" charset="0"/>
                <a:cs typeface="Segoe UI Semibold" panose="020B0702040204020203" pitchFamily="34" charset="0"/>
              </a:rPr>
              <a:t>Collaborate on documents. </a:t>
            </a:r>
            <a:r>
              <a:rPr lang="en-US"/>
              <a:t>Work together on shared documents like Word, PowerPoint, and Excel, all in Microsoft Teams.</a:t>
            </a:r>
          </a:p>
          <a:p>
            <a:endParaRPr lang="en-US"/>
          </a:p>
        </p:txBody>
      </p:sp>
      <p:sp>
        <p:nvSpPr>
          <p:cNvPr id="19" name="TextBox 18">
            <a:extLst>
              <a:ext uri="{FF2B5EF4-FFF2-40B4-BE49-F238E27FC236}">
                <a16:creationId xmlns:a16="http://schemas.microsoft.com/office/drawing/2014/main" id="{3EA29357-616D-404D-83BC-8402B7655BCE}"/>
              </a:ext>
            </a:extLst>
          </p:cNvPr>
          <p:cNvSpPr txBox="1"/>
          <p:nvPr/>
        </p:nvSpPr>
        <p:spPr>
          <a:xfrm>
            <a:off x="420256" y="3150299"/>
            <a:ext cx="5792086" cy="923330"/>
          </a:xfrm>
          <a:prstGeom prst="rect">
            <a:avLst/>
          </a:prstGeom>
          <a:noFill/>
        </p:spPr>
        <p:txBody>
          <a:bodyPr wrap="square">
            <a:spAutoFit/>
          </a:bodyPr>
          <a:lstStyle/>
          <a:p>
            <a:r>
              <a:rPr lang="en-US">
                <a:solidFill>
                  <a:srgbClr val="0078D7"/>
                </a:solidFill>
                <a:latin typeface="Segoe UI Semibold" panose="020B0702040204020203" pitchFamily="34" charset="0"/>
                <a:cs typeface="Segoe UI Semibold" panose="020B0702040204020203" pitchFamily="34" charset="0"/>
              </a:rPr>
              <a:t>Gather in virtual spaces. </a:t>
            </a:r>
            <a:r>
              <a:rPr lang="en-US"/>
              <a:t>Work together in a virtual classroom, auditorium, or coffeeshop with Together Mode so you feel like you’re in the same room.</a:t>
            </a:r>
          </a:p>
        </p:txBody>
      </p:sp>
      <p:sp>
        <p:nvSpPr>
          <p:cNvPr id="18" name="TextBox 17">
            <a:extLst>
              <a:ext uri="{FF2B5EF4-FFF2-40B4-BE49-F238E27FC236}">
                <a16:creationId xmlns:a16="http://schemas.microsoft.com/office/drawing/2014/main" id="{5B11D041-E963-44D2-AEED-3CD044E77E67}"/>
              </a:ext>
            </a:extLst>
          </p:cNvPr>
          <p:cNvSpPr txBox="1"/>
          <p:nvPr/>
        </p:nvSpPr>
        <p:spPr>
          <a:xfrm>
            <a:off x="420256" y="4275947"/>
            <a:ext cx="5792086" cy="923330"/>
          </a:xfrm>
          <a:prstGeom prst="rect">
            <a:avLst/>
          </a:prstGeom>
          <a:noFill/>
        </p:spPr>
        <p:txBody>
          <a:bodyPr wrap="square">
            <a:spAutoFit/>
          </a:bodyPr>
          <a:lstStyle/>
          <a:p>
            <a:r>
              <a:rPr lang="en-US">
                <a:solidFill>
                  <a:srgbClr val="0078D7"/>
                </a:solidFill>
                <a:latin typeface="Segoe UI Semibold" panose="020B0702040204020203" pitchFamily="34" charset="0"/>
                <a:cs typeface="Segoe UI Semibold" panose="020B0702040204020203" pitchFamily="34" charset="0"/>
              </a:rPr>
              <a:t>Build professional communities. </a:t>
            </a:r>
            <a:r>
              <a:rPr lang="en-US"/>
              <a:t>Teams for Education includes templates for professional learning communities and staff teams to help educators support each other.</a:t>
            </a:r>
          </a:p>
        </p:txBody>
      </p:sp>
      <p:pic>
        <p:nvPicPr>
          <p:cNvPr id="3" name="Picture 2" descr="A tablet device with a collage of people within Microsoft Teams">
            <a:extLst>
              <a:ext uri="{FF2B5EF4-FFF2-40B4-BE49-F238E27FC236}">
                <a16:creationId xmlns:a16="http://schemas.microsoft.com/office/drawing/2014/main" id="{F3487F28-183A-409A-926F-636D59E01785}"/>
              </a:ext>
            </a:extLst>
          </p:cNvPr>
          <p:cNvPicPr>
            <a:picLocks noChangeAspect="1"/>
          </p:cNvPicPr>
          <p:nvPr/>
        </p:nvPicPr>
        <p:blipFill>
          <a:blip r:embed="rId3"/>
          <a:stretch>
            <a:fillRect/>
          </a:stretch>
        </p:blipFill>
        <p:spPr>
          <a:xfrm>
            <a:off x="6878768" y="2170970"/>
            <a:ext cx="4936502" cy="2956759"/>
          </a:xfrm>
          <a:prstGeom prst="rect">
            <a:avLst/>
          </a:prstGeom>
        </p:spPr>
      </p:pic>
    </p:spTree>
    <p:extLst>
      <p:ext uri="{BB962C8B-B14F-4D97-AF65-F5344CB8AC3E}">
        <p14:creationId xmlns:p14="http://schemas.microsoft.com/office/powerpoint/2010/main" val="255463511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907FCC-1C26-41A9-972A-98E3ED030BD6}"/>
              </a:ext>
            </a:extLst>
          </p:cNvPr>
          <p:cNvSpPr>
            <a:spLocks noGrp="1"/>
          </p:cNvSpPr>
          <p:nvPr>
            <p:ph type="title"/>
          </p:nvPr>
        </p:nvSpPr>
        <p:spPr>
          <a:xfrm>
            <a:off x="274602" y="2490832"/>
            <a:ext cx="7774246" cy="2012859"/>
          </a:xfrm>
        </p:spPr>
        <p:txBody>
          <a:bodyPr/>
          <a:lstStyle/>
          <a:p>
            <a:r>
              <a:rPr lang="en-US" sz="4400">
                <a:solidFill>
                  <a:schemeClr val="tx1"/>
                </a:solidFill>
                <a:latin typeface="Segoe UI Semibold" panose="020B0702040204020203" pitchFamily="34" charset="0"/>
                <a:cs typeface="Segoe UI Semibold" panose="020B0702040204020203" pitchFamily="34" charset="0"/>
              </a:rPr>
              <a:t>Keep students safe and data secure </a:t>
            </a:r>
            <a:r>
              <a:rPr lang="en-US" sz="4400">
                <a:solidFill>
                  <a:schemeClr val="tx1"/>
                </a:solidFill>
              </a:rPr>
              <a:t>in online classrooms during remote and hybrid learning</a:t>
            </a:r>
          </a:p>
        </p:txBody>
      </p:sp>
    </p:spTree>
    <p:extLst>
      <p:ext uri="{BB962C8B-B14F-4D97-AF65-F5344CB8AC3E}">
        <p14:creationId xmlns:p14="http://schemas.microsoft.com/office/powerpoint/2010/main" val="339867725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Title 8">
            <a:extLst>
              <a:ext uri="{FF2B5EF4-FFF2-40B4-BE49-F238E27FC236}">
                <a16:creationId xmlns:a16="http://schemas.microsoft.com/office/drawing/2014/main" id="{7EB7B852-5D59-4958-96D2-E84718D7D66D}"/>
              </a:ext>
            </a:extLst>
          </p:cNvPr>
          <p:cNvSpPr txBox="1">
            <a:spLocks noGrp="1"/>
          </p:cNvSpPr>
          <p:nvPr>
            <p:ph type="title"/>
          </p:nvPr>
        </p:nvSpPr>
        <p:spPr>
          <a:xfrm>
            <a:off x="5501640" y="503238"/>
            <a:ext cx="6476047" cy="917575"/>
          </a:xfrm>
        </p:spPr>
        <p:txBody>
          <a:bodyPr vert="horz" wrap="square" lIns="0" tIns="0" rIns="0" bIns="0" rtlCol="0" anchor="t">
            <a:noAutofit/>
          </a:bodyPr>
          <a:lstStyle>
            <a:lvl1pPr algn="l" defTabSz="932742" rtl="0" eaLnBrk="1" latinLnBrk="0" hangingPunct="1">
              <a:lnSpc>
                <a:spcPct val="90000"/>
              </a:lnSpc>
              <a:spcBef>
                <a:spcPct val="0"/>
              </a:spcBef>
              <a:buNone/>
              <a:defRPr lang="en-US" sz="4000" b="0" kern="1200" cap="none" spc="-102" baseline="0" dirty="0" smtClean="0">
                <a:ln w="3175">
                  <a:noFill/>
                </a:ln>
                <a:solidFill>
                  <a:schemeClr val="accent2"/>
                </a:solidFill>
                <a:effectLst/>
                <a:latin typeface="+mj-lt"/>
                <a:ea typeface="+mn-ea"/>
                <a:cs typeface="Segoe UI" pitchFamily="34" charset="0"/>
              </a:defRPr>
            </a:lvl1pPr>
          </a:lstStyle>
          <a:p>
            <a:r>
              <a:rPr lang="en-US">
                <a:solidFill>
                  <a:schemeClr val="tx2"/>
                </a:solidFill>
                <a:latin typeface="Segoe UI Semibold" panose="020B0702040204020203" pitchFamily="34" charset="0"/>
                <a:cs typeface="Segoe UI Semibold" panose="020B0702040204020203" pitchFamily="34" charset="0"/>
              </a:rPr>
              <a:t>Keep students safe </a:t>
            </a:r>
            <a:r>
              <a:rPr lang="en-US"/>
              <a:t>and</a:t>
            </a:r>
            <a:br>
              <a:rPr lang="en-US"/>
            </a:br>
            <a:r>
              <a:rPr lang="en-US"/>
              <a:t>data secure</a:t>
            </a:r>
          </a:p>
        </p:txBody>
      </p:sp>
      <p:pic>
        <p:nvPicPr>
          <p:cNvPr id="3" name="Picture 2" descr="A student sitting on the floor in a kitchen with their laptop">
            <a:extLst>
              <a:ext uri="{FF2B5EF4-FFF2-40B4-BE49-F238E27FC236}">
                <a16:creationId xmlns:a16="http://schemas.microsoft.com/office/drawing/2014/main" id="{04A6017A-7100-4DA3-8778-6B0ACFF55C0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5029200" cy="6994525"/>
          </a:xfrm>
          <a:prstGeom prst="rect">
            <a:avLst/>
          </a:prstGeom>
        </p:spPr>
      </p:pic>
      <p:sp>
        <p:nvSpPr>
          <p:cNvPr id="59" name="Rectangle 58">
            <a:extLst>
              <a:ext uri="{FF2B5EF4-FFF2-40B4-BE49-F238E27FC236}">
                <a16:creationId xmlns:a16="http://schemas.microsoft.com/office/drawing/2014/main" id="{F89C0D02-188F-46D3-BB1B-983BEA7C3AEF}"/>
              </a:ext>
            </a:extLst>
          </p:cNvPr>
          <p:cNvSpPr/>
          <p:nvPr/>
        </p:nvSpPr>
        <p:spPr>
          <a:xfrm>
            <a:off x="6455229" y="2116557"/>
            <a:ext cx="5522459" cy="830997"/>
          </a:xfrm>
          <a:prstGeom prst="rect">
            <a:avLst/>
          </a:prstGeom>
        </p:spPr>
        <p:txBody>
          <a:bodyPr wrap="square" lIns="0" tIns="0" rIns="0" bIns="0" anchor="ctr">
            <a:noAutofit/>
          </a:bodyPr>
          <a:lstStyle/>
          <a:p>
            <a:pPr lvl="0"/>
            <a:r>
              <a:rPr lang="en-US" kern="0">
                <a:solidFill>
                  <a:schemeClr val="tx2"/>
                </a:solidFill>
                <a:latin typeface="Segoe UI Semibold" panose="020B0702040204020203" pitchFamily="34" charset="0"/>
                <a:cs typeface="Segoe UI Semibold" panose="020B0702040204020203" pitchFamily="34" charset="0"/>
              </a:rPr>
              <a:t>Maintain safety. </a:t>
            </a:r>
            <a:r>
              <a:rPr lang="en-US"/>
              <a:t>Setup safe and secure online classes in Microsoft Teams and minimize classroom disruptions with controls for teachers.</a:t>
            </a:r>
          </a:p>
        </p:txBody>
      </p:sp>
      <p:sp>
        <p:nvSpPr>
          <p:cNvPr id="58" name="Rectangle 57">
            <a:extLst>
              <a:ext uri="{FF2B5EF4-FFF2-40B4-BE49-F238E27FC236}">
                <a16:creationId xmlns:a16="http://schemas.microsoft.com/office/drawing/2014/main" id="{E4A2B59D-D97A-4AFD-9A5A-EE6C76CB5414}"/>
              </a:ext>
            </a:extLst>
          </p:cNvPr>
          <p:cNvSpPr/>
          <p:nvPr/>
        </p:nvSpPr>
        <p:spPr>
          <a:xfrm>
            <a:off x="6455229" y="3534411"/>
            <a:ext cx="5522459" cy="830997"/>
          </a:xfrm>
          <a:prstGeom prst="rect">
            <a:avLst/>
          </a:prstGeom>
        </p:spPr>
        <p:txBody>
          <a:bodyPr wrap="square" lIns="0" tIns="0" rIns="0" bIns="0" anchor="ctr">
            <a:noAutofit/>
          </a:bodyPr>
          <a:lstStyle/>
          <a:p>
            <a:r>
              <a:rPr lang="en-US" kern="0">
                <a:solidFill>
                  <a:schemeClr val="tx2"/>
                </a:solidFill>
                <a:latin typeface="Segoe UI Semibold" panose="020B0702040204020203" pitchFamily="34" charset="0"/>
                <a:cs typeface="Segoe UI Semibold" panose="020B0702040204020203" pitchFamily="34" charset="0"/>
              </a:rPr>
              <a:t>Safeguard data and privacy. </a:t>
            </a:r>
            <a:r>
              <a:rPr lang="en-US" b="0" i="0" u="none" strike="noStrike">
                <a:solidFill>
                  <a:srgbClr val="353535"/>
                </a:solidFill>
                <a:effectLst/>
                <a:latin typeface="Segoe UI" panose="020B0502040204020203" pitchFamily="34" charset="0"/>
              </a:rPr>
              <a:t>Secure identities, apps, data, and devices to create a safe environment, wherever learning takes place.</a:t>
            </a:r>
            <a:r>
              <a:rPr lang="en-US" b="0" i="0">
                <a:effectLst/>
                <a:latin typeface="Segoe UI" panose="020B0502040204020203" pitchFamily="34" charset="0"/>
              </a:rPr>
              <a:t>​</a:t>
            </a:r>
            <a:endParaRPr lang="en-US" b="0" i="0">
              <a:effectLst/>
            </a:endParaRPr>
          </a:p>
        </p:txBody>
      </p:sp>
      <p:sp>
        <p:nvSpPr>
          <p:cNvPr id="62" name="Oval 61">
            <a:extLst>
              <a:ext uri="{FF2B5EF4-FFF2-40B4-BE49-F238E27FC236}">
                <a16:creationId xmlns:a16="http://schemas.microsoft.com/office/drawing/2014/main" id="{66F5EB2E-5E09-44FD-B9B1-CC73449B51C3}"/>
              </a:ext>
              <a:ext uri="{C183D7F6-B498-43B3-948B-1728B52AA6E4}">
                <adec:decorative xmlns:adec="http://schemas.microsoft.com/office/drawing/2017/decorative" val="1"/>
              </a:ext>
            </a:extLst>
          </p:cNvPr>
          <p:cNvSpPr/>
          <p:nvPr/>
        </p:nvSpPr>
        <p:spPr bwMode="auto">
          <a:xfrm>
            <a:off x="5501640" y="3548259"/>
            <a:ext cx="803302" cy="803300"/>
          </a:xfrm>
          <a:prstGeom prst="ellipse">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63" name="Oval 62">
            <a:extLst>
              <a:ext uri="{FF2B5EF4-FFF2-40B4-BE49-F238E27FC236}">
                <a16:creationId xmlns:a16="http://schemas.microsoft.com/office/drawing/2014/main" id="{F465883B-DAD1-4A5F-85C9-88C040ADC5EB}"/>
              </a:ext>
              <a:ext uri="{C183D7F6-B498-43B3-948B-1728B52AA6E4}">
                <adec:decorative xmlns:adec="http://schemas.microsoft.com/office/drawing/2017/decorative" val="1"/>
              </a:ext>
            </a:extLst>
          </p:cNvPr>
          <p:cNvSpPr/>
          <p:nvPr/>
        </p:nvSpPr>
        <p:spPr bwMode="auto">
          <a:xfrm>
            <a:off x="5501640" y="2130405"/>
            <a:ext cx="803302" cy="803300"/>
          </a:xfrm>
          <a:prstGeom prst="ellipse">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117" name="list_4_bidi">
            <a:extLst>
              <a:ext uri="{FF2B5EF4-FFF2-40B4-BE49-F238E27FC236}">
                <a16:creationId xmlns:a16="http://schemas.microsoft.com/office/drawing/2014/main" id="{842B28C9-E729-4788-ADEA-C105F8000BA5}"/>
              </a:ext>
              <a:ext uri="{C183D7F6-B498-43B3-948B-1728B52AA6E4}">
                <adec:decorative xmlns:adec="http://schemas.microsoft.com/office/drawing/2017/decorative" val="1"/>
              </a:ext>
            </a:extLst>
          </p:cNvPr>
          <p:cNvSpPr>
            <a:spLocks noChangeAspect="1" noEditPoints="1"/>
          </p:cNvSpPr>
          <p:nvPr/>
        </p:nvSpPr>
        <p:spPr bwMode="auto">
          <a:xfrm>
            <a:off x="5640235" y="2357222"/>
            <a:ext cx="526113" cy="349666"/>
          </a:xfrm>
          <a:custGeom>
            <a:avLst/>
            <a:gdLst>
              <a:gd name="T0" fmla="*/ 0 w 489"/>
              <a:gd name="T1" fmla="*/ 47 h 325"/>
              <a:gd name="T2" fmla="*/ 309 w 489"/>
              <a:gd name="T3" fmla="*/ 47 h 325"/>
              <a:gd name="T4" fmla="*/ 0 w 489"/>
              <a:gd name="T5" fmla="*/ 139 h 325"/>
              <a:gd name="T6" fmla="*/ 309 w 489"/>
              <a:gd name="T7" fmla="*/ 139 h 325"/>
              <a:gd name="T8" fmla="*/ 0 w 489"/>
              <a:gd name="T9" fmla="*/ 231 h 325"/>
              <a:gd name="T10" fmla="*/ 309 w 489"/>
              <a:gd name="T11" fmla="*/ 231 h 325"/>
              <a:gd name="T12" fmla="*/ 0 w 489"/>
              <a:gd name="T13" fmla="*/ 325 h 325"/>
              <a:gd name="T14" fmla="*/ 309 w 489"/>
              <a:gd name="T15" fmla="*/ 325 h 325"/>
              <a:gd name="T16" fmla="*/ 377 w 489"/>
              <a:gd name="T17" fmla="*/ 44 h 325"/>
              <a:gd name="T18" fmla="*/ 412 w 489"/>
              <a:gd name="T19" fmla="*/ 77 h 325"/>
              <a:gd name="T20" fmla="*/ 489 w 489"/>
              <a:gd name="T21" fmla="*/ 0 h 325"/>
              <a:gd name="T22" fmla="*/ 377 w 489"/>
              <a:gd name="T23" fmla="*/ 230 h 325"/>
              <a:gd name="T24" fmla="*/ 412 w 489"/>
              <a:gd name="T25" fmla="*/ 263 h 325"/>
              <a:gd name="T26" fmla="*/ 489 w 489"/>
              <a:gd name="T27" fmla="*/ 186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9" h="325">
                <a:moveTo>
                  <a:pt x="0" y="47"/>
                </a:moveTo>
                <a:lnTo>
                  <a:pt x="309" y="47"/>
                </a:lnTo>
                <a:moveTo>
                  <a:pt x="0" y="139"/>
                </a:moveTo>
                <a:lnTo>
                  <a:pt x="309" y="139"/>
                </a:lnTo>
                <a:moveTo>
                  <a:pt x="0" y="231"/>
                </a:moveTo>
                <a:lnTo>
                  <a:pt x="309" y="231"/>
                </a:lnTo>
                <a:moveTo>
                  <a:pt x="0" y="325"/>
                </a:moveTo>
                <a:lnTo>
                  <a:pt x="309" y="325"/>
                </a:lnTo>
                <a:moveTo>
                  <a:pt x="377" y="44"/>
                </a:moveTo>
                <a:lnTo>
                  <a:pt x="412" y="77"/>
                </a:lnTo>
                <a:lnTo>
                  <a:pt x="489" y="0"/>
                </a:lnTo>
                <a:moveTo>
                  <a:pt x="377" y="230"/>
                </a:moveTo>
                <a:lnTo>
                  <a:pt x="412" y="263"/>
                </a:lnTo>
                <a:lnTo>
                  <a:pt x="489" y="186"/>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6" name="document_6">
            <a:extLst>
              <a:ext uri="{FF2B5EF4-FFF2-40B4-BE49-F238E27FC236}">
                <a16:creationId xmlns:a16="http://schemas.microsoft.com/office/drawing/2014/main" id="{0D0C375F-52B7-4BEE-8FD6-1633F98CB8FE}"/>
              </a:ext>
              <a:ext uri="{C183D7F6-B498-43B3-948B-1728B52AA6E4}">
                <adec:decorative xmlns:adec="http://schemas.microsoft.com/office/drawing/2017/decorative" val="1"/>
              </a:ext>
            </a:extLst>
          </p:cNvPr>
          <p:cNvSpPr>
            <a:spLocks noChangeAspect="1" noEditPoints="1"/>
          </p:cNvSpPr>
          <p:nvPr/>
        </p:nvSpPr>
        <p:spPr bwMode="auto">
          <a:xfrm>
            <a:off x="5723530" y="3725208"/>
            <a:ext cx="359522" cy="449403"/>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66" name="Group 65">
            <a:extLst>
              <a:ext uri="{FF2B5EF4-FFF2-40B4-BE49-F238E27FC236}">
                <a16:creationId xmlns:a16="http://schemas.microsoft.com/office/drawing/2014/main" id="{E71ECFD8-95D1-42FE-89FE-90961601A8A5}"/>
              </a:ext>
              <a:ext uri="{C183D7F6-B498-43B3-948B-1728B52AA6E4}">
                <adec:decorative xmlns:adec="http://schemas.microsoft.com/office/drawing/2017/decorative" val="1"/>
              </a:ext>
            </a:extLst>
          </p:cNvPr>
          <p:cNvGrpSpPr/>
          <p:nvPr/>
        </p:nvGrpSpPr>
        <p:grpSpPr>
          <a:xfrm>
            <a:off x="11488324" y="162790"/>
            <a:ext cx="777240" cy="778243"/>
            <a:chOff x="9451220" y="3231556"/>
            <a:chExt cx="1466268" cy="1466264"/>
          </a:xfrm>
        </p:grpSpPr>
        <p:grpSp>
          <p:nvGrpSpPr>
            <p:cNvPr id="67" name="Group 66">
              <a:extLst>
                <a:ext uri="{FF2B5EF4-FFF2-40B4-BE49-F238E27FC236}">
                  <a16:creationId xmlns:a16="http://schemas.microsoft.com/office/drawing/2014/main" id="{A053122B-06DD-4B5A-9E68-2A0AA4B34973}"/>
                </a:ext>
              </a:extLst>
            </p:cNvPr>
            <p:cNvGrpSpPr/>
            <p:nvPr/>
          </p:nvGrpSpPr>
          <p:grpSpPr>
            <a:xfrm>
              <a:off x="9858188" y="3517807"/>
              <a:ext cx="652332" cy="893762"/>
              <a:chOff x="12901109" y="3390467"/>
              <a:chExt cx="2338892" cy="3204519"/>
            </a:xfrm>
          </p:grpSpPr>
          <p:sp>
            <p:nvSpPr>
              <p:cNvPr id="69" name="Freeform: Shape 68">
                <a:extLst>
                  <a:ext uri="{FF2B5EF4-FFF2-40B4-BE49-F238E27FC236}">
                    <a16:creationId xmlns:a16="http://schemas.microsoft.com/office/drawing/2014/main" id="{1CE0052C-E0B7-4537-BBFD-78F753915C98}"/>
                  </a:ext>
                </a:extLst>
              </p:cNvPr>
              <p:cNvSpPr/>
              <p:nvPr/>
            </p:nvSpPr>
            <p:spPr>
              <a:xfrm>
                <a:off x="13188664" y="3390467"/>
                <a:ext cx="1006470" cy="1052478"/>
              </a:xfrm>
              <a:custGeom>
                <a:avLst/>
                <a:gdLst>
                  <a:gd name="connsiteX0" fmla="*/ 0 w 443429"/>
                  <a:gd name="connsiteY0" fmla="*/ 463700 h 463700"/>
                  <a:gd name="connsiteX1" fmla="*/ 0 w 443429"/>
                  <a:gd name="connsiteY1" fmla="*/ 221715 h 463700"/>
                  <a:gd name="connsiteX2" fmla="*/ 221715 w 443429"/>
                  <a:gd name="connsiteY2" fmla="*/ 0 h 463700"/>
                  <a:gd name="connsiteX3" fmla="*/ 443429 w 443429"/>
                  <a:gd name="connsiteY3" fmla="*/ 221715 h 463700"/>
                  <a:gd name="connsiteX4" fmla="*/ 443429 w 443429"/>
                  <a:gd name="connsiteY4" fmla="*/ 463700 h 463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429" h="463700">
                    <a:moveTo>
                      <a:pt x="0" y="463700"/>
                    </a:moveTo>
                    <a:cubicBezTo>
                      <a:pt x="0" y="221715"/>
                      <a:pt x="0" y="221715"/>
                      <a:pt x="0" y="221715"/>
                    </a:cubicBezTo>
                    <a:cubicBezTo>
                      <a:pt x="0" y="101355"/>
                      <a:pt x="97555" y="0"/>
                      <a:pt x="221715" y="0"/>
                    </a:cubicBezTo>
                    <a:cubicBezTo>
                      <a:pt x="345875" y="0"/>
                      <a:pt x="443429" y="100088"/>
                      <a:pt x="443429" y="221715"/>
                    </a:cubicBezTo>
                    <a:cubicBezTo>
                      <a:pt x="443429" y="463700"/>
                      <a:pt x="443429" y="463700"/>
                      <a:pt x="443429" y="463700"/>
                    </a:cubicBezTo>
                  </a:path>
                </a:pathLst>
              </a:custGeom>
              <a:noFill/>
              <a:ln w="19050" cap="sq">
                <a:solidFill>
                  <a:schemeClr val="tx2"/>
                </a:solidFill>
                <a:prstDash val="solid"/>
                <a:miter/>
              </a:ln>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p>
            </p:txBody>
          </p:sp>
          <p:sp>
            <p:nvSpPr>
              <p:cNvPr id="70" name="Freeform: Shape 69">
                <a:extLst>
                  <a:ext uri="{FF2B5EF4-FFF2-40B4-BE49-F238E27FC236}">
                    <a16:creationId xmlns:a16="http://schemas.microsoft.com/office/drawing/2014/main" id="{4B83F034-D01B-403F-889D-69C14B35E2F1}"/>
                  </a:ext>
                </a:extLst>
              </p:cNvPr>
              <p:cNvSpPr/>
              <p:nvPr/>
            </p:nvSpPr>
            <p:spPr>
              <a:xfrm>
                <a:off x="12901109" y="4476924"/>
                <a:ext cx="1610742" cy="1194621"/>
              </a:xfrm>
              <a:custGeom>
                <a:avLst/>
                <a:gdLst>
                  <a:gd name="connsiteX0" fmla="*/ 0 w 708219"/>
                  <a:gd name="connsiteY0" fmla="*/ 524513 h 524513"/>
                  <a:gd name="connsiteX1" fmla="*/ 708219 w 708219"/>
                  <a:gd name="connsiteY1" fmla="*/ 524513 h 524513"/>
                  <a:gd name="connsiteX2" fmla="*/ 708219 w 708219"/>
                  <a:gd name="connsiteY2" fmla="*/ 0 h 524513"/>
                  <a:gd name="connsiteX3" fmla="*/ 0 w 708219"/>
                  <a:gd name="connsiteY3" fmla="*/ 0 h 524513"/>
                  <a:gd name="connsiteX4" fmla="*/ 0 w 708219"/>
                  <a:gd name="connsiteY4" fmla="*/ 524513 h 524513"/>
                  <a:gd name="connsiteX5" fmla="*/ 0 w 708219"/>
                  <a:gd name="connsiteY5" fmla="*/ 524513 h 524513"/>
                  <a:gd name="connsiteX6" fmla="*/ 0 w 708219"/>
                  <a:gd name="connsiteY6" fmla="*/ 524513 h 524513"/>
                  <a:gd name="connsiteX0" fmla="*/ 708219 w 880918"/>
                  <a:gd name="connsiteY0" fmla="*/ 524513 h 697212"/>
                  <a:gd name="connsiteX1" fmla="*/ 708219 w 880918"/>
                  <a:gd name="connsiteY1" fmla="*/ 0 h 697212"/>
                  <a:gd name="connsiteX2" fmla="*/ 0 w 880918"/>
                  <a:gd name="connsiteY2" fmla="*/ 0 h 697212"/>
                  <a:gd name="connsiteX3" fmla="*/ 0 w 880918"/>
                  <a:gd name="connsiteY3" fmla="*/ 524513 h 697212"/>
                  <a:gd name="connsiteX4" fmla="*/ 0 w 880918"/>
                  <a:gd name="connsiteY4" fmla="*/ 524513 h 697212"/>
                  <a:gd name="connsiteX5" fmla="*/ 0 w 880918"/>
                  <a:gd name="connsiteY5" fmla="*/ 524513 h 697212"/>
                  <a:gd name="connsiteX6" fmla="*/ 880918 w 880918"/>
                  <a:gd name="connsiteY6" fmla="*/ 697212 h 697212"/>
                  <a:gd name="connsiteX0" fmla="*/ 708219 w 708219"/>
                  <a:gd name="connsiteY0" fmla="*/ 524513 h 524513"/>
                  <a:gd name="connsiteX1" fmla="*/ 708219 w 708219"/>
                  <a:gd name="connsiteY1" fmla="*/ 0 h 524513"/>
                  <a:gd name="connsiteX2" fmla="*/ 0 w 708219"/>
                  <a:gd name="connsiteY2" fmla="*/ 0 h 524513"/>
                  <a:gd name="connsiteX3" fmla="*/ 0 w 708219"/>
                  <a:gd name="connsiteY3" fmla="*/ 524513 h 524513"/>
                  <a:gd name="connsiteX4" fmla="*/ 0 w 708219"/>
                  <a:gd name="connsiteY4" fmla="*/ 524513 h 524513"/>
                  <a:gd name="connsiteX5" fmla="*/ 0 w 708219"/>
                  <a:gd name="connsiteY5" fmla="*/ 524513 h 524513"/>
                  <a:gd name="connsiteX6" fmla="*/ 323244 w 708219"/>
                  <a:gd name="connsiteY6" fmla="*/ 517317 h 524513"/>
                  <a:gd name="connsiteX0" fmla="*/ 708219 w 708219"/>
                  <a:gd name="connsiteY0" fmla="*/ 524513 h 524513"/>
                  <a:gd name="connsiteX1" fmla="*/ 708219 w 708219"/>
                  <a:gd name="connsiteY1" fmla="*/ 0 h 524513"/>
                  <a:gd name="connsiteX2" fmla="*/ 0 w 708219"/>
                  <a:gd name="connsiteY2" fmla="*/ 0 h 524513"/>
                  <a:gd name="connsiteX3" fmla="*/ 0 w 708219"/>
                  <a:gd name="connsiteY3" fmla="*/ 524513 h 524513"/>
                  <a:gd name="connsiteX4" fmla="*/ 0 w 708219"/>
                  <a:gd name="connsiteY4" fmla="*/ 524513 h 524513"/>
                  <a:gd name="connsiteX5" fmla="*/ 0 w 708219"/>
                  <a:gd name="connsiteY5" fmla="*/ 524513 h 524513"/>
                  <a:gd name="connsiteX6" fmla="*/ 49804 w 708219"/>
                  <a:gd name="connsiteY6" fmla="*/ 520915 h 524513"/>
                  <a:gd name="connsiteX0" fmla="*/ 701023 w 758848"/>
                  <a:gd name="connsiteY0" fmla="*/ 420384 h 553506"/>
                  <a:gd name="connsiteX1" fmla="*/ 708219 w 758848"/>
                  <a:gd name="connsiteY1" fmla="*/ 28993 h 553506"/>
                  <a:gd name="connsiteX2" fmla="*/ 0 w 758848"/>
                  <a:gd name="connsiteY2" fmla="*/ 28993 h 553506"/>
                  <a:gd name="connsiteX3" fmla="*/ 0 w 758848"/>
                  <a:gd name="connsiteY3" fmla="*/ 553506 h 553506"/>
                  <a:gd name="connsiteX4" fmla="*/ 0 w 758848"/>
                  <a:gd name="connsiteY4" fmla="*/ 553506 h 553506"/>
                  <a:gd name="connsiteX5" fmla="*/ 0 w 758848"/>
                  <a:gd name="connsiteY5" fmla="*/ 553506 h 553506"/>
                  <a:gd name="connsiteX6" fmla="*/ 49804 w 758848"/>
                  <a:gd name="connsiteY6" fmla="*/ 549908 h 553506"/>
                  <a:gd name="connsiteX0" fmla="*/ 701023 w 758850"/>
                  <a:gd name="connsiteY0" fmla="*/ 401195 h 534317"/>
                  <a:gd name="connsiteX1" fmla="*/ 708219 w 758850"/>
                  <a:gd name="connsiteY1" fmla="*/ 9804 h 534317"/>
                  <a:gd name="connsiteX2" fmla="*/ 0 w 758850"/>
                  <a:gd name="connsiteY2" fmla="*/ 9804 h 534317"/>
                  <a:gd name="connsiteX3" fmla="*/ 0 w 758850"/>
                  <a:gd name="connsiteY3" fmla="*/ 534317 h 534317"/>
                  <a:gd name="connsiteX4" fmla="*/ 0 w 758850"/>
                  <a:gd name="connsiteY4" fmla="*/ 534317 h 534317"/>
                  <a:gd name="connsiteX5" fmla="*/ 0 w 758850"/>
                  <a:gd name="connsiteY5" fmla="*/ 534317 h 534317"/>
                  <a:gd name="connsiteX6" fmla="*/ 49804 w 758850"/>
                  <a:gd name="connsiteY6" fmla="*/ 530719 h 534317"/>
                  <a:gd name="connsiteX0" fmla="*/ 701023 w 708500"/>
                  <a:gd name="connsiteY0" fmla="*/ 401195 h 534317"/>
                  <a:gd name="connsiteX1" fmla="*/ 708219 w 708500"/>
                  <a:gd name="connsiteY1" fmla="*/ 9804 h 534317"/>
                  <a:gd name="connsiteX2" fmla="*/ 0 w 708500"/>
                  <a:gd name="connsiteY2" fmla="*/ 9804 h 534317"/>
                  <a:gd name="connsiteX3" fmla="*/ 0 w 708500"/>
                  <a:gd name="connsiteY3" fmla="*/ 534317 h 534317"/>
                  <a:gd name="connsiteX4" fmla="*/ 0 w 708500"/>
                  <a:gd name="connsiteY4" fmla="*/ 534317 h 534317"/>
                  <a:gd name="connsiteX5" fmla="*/ 0 w 708500"/>
                  <a:gd name="connsiteY5" fmla="*/ 534317 h 534317"/>
                  <a:gd name="connsiteX6" fmla="*/ 49804 w 708500"/>
                  <a:gd name="connsiteY6" fmla="*/ 530719 h 534317"/>
                  <a:gd name="connsiteX0" fmla="*/ 701023 w 708500"/>
                  <a:gd name="connsiteY0" fmla="*/ 391391 h 524513"/>
                  <a:gd name="connsiteX1" fmla="*/ 708219 w 708500"/>
                  <a:gd name="connsiteY1" fmla="*/ 0 h 524513"/>
                  <a:gd name="connsiteX2" fmla="*/ 0 w 708500"/>
                  <a:gd name="connsiteY2" fmla="*/ 0 h 524513"/>
                  <a:gd name="connsiteX3" fmla="*/ 0 w 708500"/>
                  <a:gd name="connsiteY3" fmla="*/ 524513 h 524513"/>
                  <a:gd name="connsiteX4" fmla="*/ 0 w 708500"/>
                  <a:gd name="connsiteY4" fmla="*/ 524513 h 524513"/>
                  <a:gd name="connsiteX5" fmla="*/ 0 w 708500"/>
                  <a:gd name="connsiteY5" fmla="*/ 524513 h 524513"/>
                  <a:gd name="connsiteX6" fmla="*/ 49804 w 708500"/>
                  <a:gd name="connsiteY6" fmla="*/ 520915 h 524513"/>
                  <a:gd name="connsiteX0" fmla="*/ 701023 w 708500"/>
                  <a:gd name="connsiteY0" fmla="*/ 399595 h 532717"/>
                  <a:gd name="connsiteX1" fmla="*/ 708219 w 708500"/>
                  <a:gd name="connsiteY1" fmla="*/ 8204 h 532717"/>
                  <a:gd name="connsiteX2" fmla="*/ 0 w 708500"/>
                  <a:gd name="connsiteY2" fmla="*/ 8204 h 532717"/>
                  <a:gd name="connsiteX3" fmla="*/ 0 w 708500"/>
                  <a:gd name="connsiteY3" fmla="*/ 532717 h 532717"/>
                  <a:gd name="connsiteX4" fmla="*/ 0 w 708500"/>
                  <a:gd name="connsiteY4" fmla="*/ 532717 h 532717"/>
                  <a:gd name="connsiteX5" fmla="*/ 0 w 708500"/>
                  <a:gd name="connsiteY5" fmla="*/ 532717 h 532717"/>
                  <a:gd name="connsiteX6" fmla="*/ 49804 w 708500"/>
                  <a:gd name="connsiteY6" fmla="*/ 529119 h 532717"/>
                  <a:gd name="connsiteX0" fmla="*/ 701023 w 708500"/>
                  <a:gd name="connsiteY0" fmla="*/ 393198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01023 w 708500"/>
                  <a:gd name="connsiteY0" fmla="*/ 393198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11816 w 712529"/>
                  <a:gd name="connsiteY0" fmla="*/ 400394 h 526320"/>
                  <a:gd name="connsiteX1" fmla="*/ 708219 w 712529"/>
                  <a:gd name="connsiteY1" fmla="*/ 1807 h 526320"/>
                  <a:gd name="connsiteX2" fmla="*/ 0 w 712529"/>
                  <a:gd name="connsiteY2" fmla="*/ 1807 h 526320"/>
                  <a:gd name="connsiteX3" fmla="*/ 0 w 712529"/>
                  <a:gd name="connsiteY3" fmla="*/ 526320 h 526320"/>
                  <a:gd name="connsiteX4" fmla="*/ 0 w 712529"/>
                  <a:gd name="connsiteY4" fmla="*/ 526320 h 526320"/>
                  <a:gd name="connsiteX5" fmla="*/ 0 w 712529"/>
                  <a:gd name="connsiteY5" fmla="*/ 526320 h 526320"/>
                  <a:gd name="connsiteX6" fmla="*/ 49804 w 712529"/>
                  <a:gd name="connsiteY6" fmla="*/ 522722 h 526320"/>
                  <a:gd name="connsiteX0" fmla="*/ 697423 w 708412"/>
                  <a:gd name="connsiteY0" fmla="*/ 393198 h 526320"/>
                  <a:gd name="connsiteX1" fmla="*/ 708219 w 708412"/>
                  <a:gd name="connsiteY1" fmla="*/ 1807 h 526320"/>
                  <a:gd name="connsiteX2" fmla="*/ 0 w 708412"/>
                  <a:gd name="connsiteY2" fmla="*/ 1807 h 526320"/>
                  <a:gd name="connsiteX3" fmla="*/ 0 w 708412"/>
                  <a:gd name="connsiteY3" fmla="*/ 526320 h 526320"/>
                  <a:gd name="connsiteX4" fmla="*/ 0 w 708412"/>
                  <a:gd name="connsiteY4" fmla="*/ 526320 h 526320"/>
                  <a:gd name="connsiteX5" fmla="*/ 0 w 708412"/>
                  <a:gd name="connsiteY5" fmla="*/ 526320 h 526320"/>
                  <a:gd name="connsiteX6" fmla="*/ 49804 w 708412"/>
                  <a:gd name="connsiteY6" fmla="*/ 522722 h 526320"/>
                  <a:gd name="connsiteX0" fmla="*/ 711815 w 712527"/>
                  <a:gd name="connsiteY0" fmla="*/ 400394 h 526320"/>
                  <a:gd name="connsiteX1" fmla="*/ 708219 w 712527"/>
                  <a:gd name="connsiteY1" fmla="*/ 1807 h 526320"/>
                  <a:gd name="connsiteX2" fmla="*/ 0 w 712527"/>
                  <a:gd name="connsiteY2" fmla="*/ 1807 h 526320"/>
                  <a:gd name="connsiteX3" fmla="*/ 0 w 712527"/>
                  <a:gd name="connsiteY3" fmla="*/ 526320 h 526320"/>
                  <a:gd name="connsiteX4" fmla="*/ 0 w 712527"/>
                  <a:gd name="connsiteY4" fmla="*/ 526320 h 526320"/>
                  <a:gd name="connsiteX5" fmla="*/ 0 w 712527"/>
                  <a:gd name="connsiteY5" fmla="*/ 526320 h 526320"/>
                  <a:gd name="connsiteX6" fmla="*/ 49804 w 712527"/>
                  <a:gd name="connsiteY6" fmla="*/ 522722 h 526320"/>
                  <a:gd name="connsiteX0" fmla="*/ 701021 w 708500"/>
                  <a:gd name="connsiteY0" fmla="*/ 403992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11815 w 712527"/>
                  <a:gd name="connsiteY0" fmla="*/ 418383 h 526320"/>
                  <a:gd name="connsiteX1" fmla="*/ 708219 w 712527"/>
                  <a:gd name="connsiteY1" fmla="*/ 1807 h 526320"/>
                  <a:gd name="connsiteX2" fmla="*/ 0 w 712527"/>
                  <a:gd name="connsiteY2" fmla="*/ 1807 h 526320"/>
                  <a:gd name="connsiteX3" fmla="*/ 0 w 712527"/>
                  <a:gd name="connsiteY3" fmla="*/ 526320 h 526320"/>
                  <a:gd name="connsiteX4" fmla="*/ 0 w 712527"/>
                  <a:gd name="connsiteY4" fmla="*/ 526320 h 526320"/>
                  <a:gd name="connsiteX5" fmla="*/ 0 w 712527"/>
                  <a:gd name="connsiteY5" fmla="*/ 526320 h 526320"/>
                  <a:gd name="connsiteX6" fmla="*/ 49804 w 712527"/>
                  <a:gd name="connsiteY6" fmla="*/ 522722 h 526320"/>
                  <a:gd name="connsiteX0" fmla="*/ 701021 w 708500"/>
                  <a:gd name="connsiteY0" fmla="*/ 407589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04619 w 708730"/>
                  <a:gd name="connsiteY0" fmla="*/ 411187 h 526320"/>
                  <a:gd name="connsiteX1" fmla="*/ 708219 w 708730"/>
                  <a:gd name="connsiteY1" fmla="*/ 1807 h 526320"/>
                  <a:gd name="connsiteX2" fmla="*/ 0 w 708730"/>
                  <a:gd name="connsiteY2" fmla="*/ 1807 h 526320"/>
                  <a:gd name="connsiteX3" fmla="*/ 0 w 708730"/>
                  <a:gd name="connsiteY3" fmla="*/ 526320 h 526320"/>
                  <a:gd name="connsiteX4" fmla="*/ 0 w 708730"/>
                  <a:gd name="connsiteY4" fmla="*/ 526320 h 526320"/>
                  <a:gd name="connsiteX5" fmla="*/ 0 w 708730"/>
                  <a:gd name="connsiteY5" fmla="*/ 526320 h 526320"/>
                  <a:gd name="connsiteX6" fmla="*/ 49804 w 708730"/>
                  <a:gd name="connsiteY6" fmla="*/ 522722 h 526320"/>
                  <a:gd name="connsiteX0" fmla="*/ 704619 w 709416"/>
                  <a:gd name="connsiteY0" fmla="*/ 411187 h 526320"/>
                  <a:gd name="connsiteX1" fmla="*/ 708219 w 709416"/>
                  <a:gd name="connsiteY1" fmla="*/ 1807 h 526320"/>
                  <a:gd name="connsiteX2" fmla="*/ 0 w 709416"/>
                  <a:gd name="connsiteY2" fmla="*/ 1807 h 526320"/>
                  <a:gd name="connsiteX3" fmla="*/ 0 w 709416"/>
                  <a:gd name="connsiteY3" fmla="*/ 526320 h 526320"/>
                  <a:gd name="connsiteX4" fmla="*/ 0 w 709416"/>
                  <a:gd name="connsiteY4" fmla="*/ 526320 h 526320"/>
                  <a:gd name="connsiteX5" fmla="*/ 0 w 709416"/>
                  <a:gd name="connsiteY5" fmla="*/ 526320 h 526320"/>
                  <a:gd name="connsiteX6" fmla="*/ 49804 w 709416"/>
                  <a:gd name="connsiteY6" fmla="*/ 522722 h 526320"/>
                  <a:gd name="connsiteX0" fmla="*/ 709655 w 712327"/>
                  <a:gd name="connsiteY0" fmla="*/ 412866 h 526320"/>
                  <a:gd name="connsiteX1" fmla="*/ 708219 w 712327"/>
                  <a:gd name="connsiteY1" fmla="*/ 1807 h 526320"/>
                  <a:gd name="connsiteX2" fmla="*/ 0 w 712327"/>
                  <a:gd name="connsiteY2" fmla="*/ 1807 h 526320"/>
                  <a:gd name="connsiteX3" fmla="*/ 0 w 712327"/>
                  <a:gd name="connsiteY3" fmla="*/ 526320 h 526320"/>
                  <a:gd name="connsiteX4" fmla="*/ 0 w 712327"/>
                  <a:gd name="connsiteY4" fmla="*/ 526320 h 526320"/>
                  <a:gd name="connsiteX5" fmla="*/ 0 w 712327"/>
                  <a:gd name="connsiteY5" fmla="*/ 526320 h 526320"/>
                  <a:gd name="connsiteX6" fmla="*/ 49804 w 712327"/>
                  <a:gd name="connsiteY6" fmla="*/ 522722 h 526320"/>
                  <a:gd name="connsiteX0" fmla="*/ 709655 w 709655"/>
                  <a:gd name="connsiteY0" fmla="*/ 412866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9655 w 709655"/>
                  <a:gd name="connsiteY0" fmla="*/ 412866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6298 w 708527"/>
                  <a:gd name="connsiteY0" fmla="*/ 409509 h 526320"/>
                  <a:gd name="connsiteX1" fmla="*/ 708219 w 708527"/>
                  <a:gd name="connsiteY1" fmla="*/ 1807 h 526320"/>
                  <a:gd name="connsiteX2" fmla="*/ 0 w 708527"/>
                  <a:gd name="connsiteY2" fmla="*/ 1807 h 526320"/>
                  <a:gd name="connsiteX3" fmla="*/ 0 w 708527"/>
                  <a:gd name="connsiteY3" fmla="*/ 526320 h 526320"/>
                  <a:gd name="connsiteX4" fmla="*/ 0 w 708527"/>
                  <a:gd name="connsiteY4" fmla="*/ 526320 h 526320"/>
                  <a:gd name="connsiteX5" fmla="*/ 0 w 708527"/>
                  <a:gd name="connsiteY5" fmla="*/ 526320 h 526320"/>
                  <a:gd name="connsiteX6" fmla="*/ 49804 w 708527"/>
                  <a:gd name="connsiteY6" fmla="*/ 522722 h 526320"/>
                  <a:gd name="connsiteX0" fmla="*/ 708816 w 708816"/>
                  <a:gd name="connsiteY0" fmla="*/ 408670 h 526320"/>
                  <a:gd name="connsiteX1" fmla="*/ 708219 w 708816"/>
                  <a:gd name="connsiteY1" fmla="*/ 1807 h 526320"/>
                  <a:gd name="connsiteX2" fmla="*/ 0 w 708816"/>
                  <a:gd name="connsiteY2" fmla="*/ 1807 h 526320"/>
                  <a:gd name="connsiteX3" fmla="*/ 0 w 708816"/>
                  <a:gd name="connsiteY3" fmla="*/ 526320 h 526320"/>
                  <a:gd name="connsiteX4" fmla="*/ 0 w 708816"/>
                  <a:gd name="connsiteY4" fmla="*/ 526320 h 526320"/>
                  <a:gd name="connsiteX5" fmla="*/ 0 w 708816"/>
                  <a:gd name="connsiteY5" fmla="*/ 526320 h 526320"/>
                  <a:gd name="connsiteX6" fmla="*/ 49804 w 708816"/>
                  <a:gd name="connsiteY6" fmla="*/ 522722 h 526320"/>
                  <a:gd name="connsiteX0" fmla="*/ 709655 w 709655"/>
                  <a:gd name="connsiteY0" fmla="*/ 409509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9655 w 709655"/>
                  <a:gd name="connsiteY0" fmla="*/ 409509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9655 w 709655"/>
                  <a:gd name="connsiteY0" fmla="*/ 409509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0" fmla="*/ 709854 w 709854"/>
                  <a:gd name="connsiteY0" fmla="*/ 409509 h 527006"/>
                  <a:gd name="connsiteX1" fmla="*/ 708418 w 709854"/>
                  <a:gd name="connsiteY1" fmla="*/ 1807 h 527006"/>
                  <a:gd name="connsiteX2" fmla="*/ 199 w 709854"/>
                  <a:gd name="connsiteY2" fmla="*/ 1807 h 527006"/>
                  <a:gd name="connsiteX3" fmla="*/ 199 w 709854"/>
                  <a:gd name="connsiteY3" fmla="*/ 526320 h 527006"/>
                  <a:gd name="connsiteX4" fmla="*/ 199 w 709854"/>
                  <a:gd name="connsiteY4" fmla="*/ 526320 h 527006"/>
                  <a:gd name="connsiteX5" fmla="*/ 199 w 709854"/>
                  <a:gd name="connsiteY5" fmla="*/ 526320 h 527006"/>
                  <a:gd name="connsiteX6" fmla="*/ 0 w 709854"/>
                  <a:gd name="connsiteY6" fmla="*/ 527006 h 527006"/>
                  <a:gd name="connsiteX0" fmla="*/ 709656 w 709656"/>
                  <a:gd name="connsiteY0" fmla="*/ 409509 h 532881"/>
                  <a:gd name="connsiteX1" fmla="*/ 708220 w 709656"/>
                  <a:gd name="connsiteY1" fmla="*/ 1807 h 532881"/>
                  <a:gd name="connsiteX2" fmla="*/ 1 w 709656"/>
                  <a:gd name="connsiteY2" fmla="*/ 1807 h 532881"/>
                  <a:gd name="connsiteX3" fmla="*/ 1 w 709656"/>
                  <a:gd name="connsiteY3" fmla="*/ 526320 h 532881"/>
                  <a:gd name="connsiteX4" fmla="*/ 1 w 709656"/>
                  <a:gd name="connsiteY4" fmla="*/ 526320 h 532881"/>
                  <a:gd name="connsiteX5" fmla="*/ 1 w 709656"/>
                  <a:gd name="connsiteY5" fmla="*/ 526320 h 532881"/>
                  <a:gd name="connsiteX6" fmla="*/ 107232 w 709656"/>
                  <a:gd name="connsiteY6" fmla="*/ 532881 h 532881"/>
                  <a:gd name="connsiteX0" fmla="*/ 709656 w 709656"/>
                  <a:gd name="connsiteY0" fmla="*/ 409509 h 526327"/>
                  <a:gd name="connsiteX1" fmla="*/ 708220 w 709656"/>
                  <a:gd name="connsiteY1" fmla="*/ 1807 h 526327"/>
                  <a:gd name="connsiteX2" fmla="*/ 1 w 709656"/>
                  <a:gd name="connsiteY2" fmla="*/ 1807 h 526327"/>
                  <a:gd name="connsiteX3" fmla="*/ 1 w 709656"/>
                  <a:gd name="connsiteY3" fmla="*/ 526320 h 526327"/>
                  <a:gd name="connsiteX4" fmla="*/ 1 w 709656"/>
                  <a:gd name="connsiteY4" fmla="*/ 526320 h 526327"/>
                  <a:gd name="connsiteX5" fmla="*/ 1 w 709656"/>
                  <a:gd name="connsiteY5" fmla="*/ 526320 h 526327"/>
                  <a:gd name="connsiteX6" fmla="*/ 327968 w 709656"/>
                  <a:gd name="connsiteY6" fmla="*/ 525327 h 526327"/>
                  <a:gd name="connsiteX0" fmla="*/ 709656 w 709656"/>
                  <a:gd name="connsiteY0" fmla="*/ 409509 h 526340"/>
                  <a:gd name="connsiteX1" fmla="*/ 708220 w 709656"/>
                  <a:gd name="connsiteY1" fmla="*/ 1807 h 526340"/>
                  <a:gd name="connsiteX2" fmla="*/ 1 w 709656"/>
                  <a:gd name="connsiteY2" fmla="*/ 1807 h 526340"/>
                  <a:gd name="connsiteX3" fmla="*/ 1 w 709656"/>
                  <a:gd name="connsiteY3" fmla="*/ 526320 h 526340"/>
                  <a:gd name="connsiteX4" fmla="*/ 1 w 709656"/>
                  <a:gd name="connsiteY4" fmla="*/ 526320 h 526340"/>
                  <a:gd name="connsiteX5" fmla="*/ 1 w 709656"/>
                  <a:gd name="connsiteY5" fmla="*/ 526320 h 526340"/>
                  <a:gd name="connsiteX6" fmla="*/ 324611 w 709656"/>
                  <a:gd name="connsiteY6" fmla="*/ 526166 h 526340"/>
                  <a:gd name="connsiteX0" fmla="*/ 709656 w 709656"/>
                  <a:gd name="connsiteY0" fmla="*/ 409509 h 526324"/>
                  <a:gd name="connsiteX1" fmla="*/ 708220 w 709656"/>
                  <a:gd name="connsiteY1" fmla="*/ 1807 h 526324"/>
                  <a:gd name="connsiteX2" fmla="*/ 1 w 709656"/>
                  <a:gd name="connsiteY2" fmla="*/ 1807 h 526324"/>
                  <a:gd name="connsiteX3" fmla="*/ 1 w 709656"/>
                  <a:gd name="connsiteY3" fmla="*/ 526320 h 526324"/>
                  <a:gd name="connsiteX4" fmla="*/ 1 w 709656"/>
                  <a:gd name="connsiteY4" fmla="*/ 526320 h 526324"/>
                  <a:gd name="connsiteX5" fmla="*/ 1 w 709656"/>
                  <a:gd name="connsiteY5" fmla="*/ 526320 h 526324"/>
                  <a:gd name="connsiteX6" fmla="*/ 329647 w 709656"/>
                  <a:gd name="connsiteY6" fmla="*/ 524487 h 526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9656" h="526324">
                    <a:moveTo>
                      <a:pt x="709656" y="409509"/>
                    </a:moveTo>
                    <a:cubicBezTo>
                      <a:pt x="707261" y="256260"/>
                      <a:pt x="709925" y="178574"/>
                      <a:pt x="708220" y="1807"/>
                    </a:cubicBezTo>
                    <a:cubicBezTo>
                      <a:pt x="487044" y="-2261"/>
                      <a:pt x="236074" y="1807"/>
                      <a:pt x="1" y="1807"/>
                    </a:cubicBezTo>
                    <a:lnTo>
                      <a:pt x="1" y="526320"/>
                    </a:lnTo>
                    <a:lnTo>
                      <a:pt x="1" y="526320"/>
                    </a:lnTo>
                    <a:lnTo>
                      <a:pt x="1" y="526320"/>
                    </a:lnTo>
                    <a:cubicBezTo>
                      <a:pt x="-32" y="526434"/>
                      <a:pt x="329688" y="524344"/>
                      <a:pt x="329647" y="524487"/>
                    </a:cubicBezTo>
                  </a:path>
                </a:pathLst>
              </a:custGeom>
              <a:noFill/>
              <a:ln w="19050" cap="sq">
                <a:solidFill>
                  <a:schemeClr val="tx2"/>
                </a:solidFill>
                <a:prstDash val="solid"/>
                <a:miter/>
              </a:ln>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p>
            </p:txBody>
          </p:sp>
          <p:sp>
            <p:nvSpPr>
              <p:cNvPr id="71" name="Freeform 6">
                <a:extLst>
                  <a:ext uri="{FF2B5EF4-FFF2-40B4-BE49-F238E27FC236}">
                    <a16:creationId xmlns:a16="http://schemas.microsoft.com/office/drawing/2014/main" id="{08B277EB-C55E-40D2-ABFB-4EAF42F8F1D6}"/>
                  </a:ext>
                </a:extLst>
              </p:cNvPr>
              <p:cNvSpPr>
                <a:spLocks noEditPoints="1"/>
              </p:cNvSpPr>
              <p:nvPr/>
            </p:nvSpPr>
            <p:spPr bwMode="auto">
              <a:xfrm>
                <a:off x="13294153" y="4852843"/>
                <a:ext cx="1945848" cy="1742143"/>
              </a:xfrm>
              <a:custGeom>
                <a:avLst/>
                <a:gdLst>
                  <a:gd name="T0" fmla="*/ 4 w 363"/>
                  <a:gd name="T1" fmla="*/ 325 h 325"/>
                  <a:gd name="T2" fmla="*/ 4 w 363"/>
                  <a:gd name="T3" fmla="*/ 277 h 325"/>
                  <a:gd name="T4" fmla="*/ 52 w 363"/>
                  <a:gd name="T5" fmla="*/ 325 h 325"/>
                  <a:gd name="T6" fmla="*/ 52 w 363"/>
                  <a:gd name="T7" fmla="*/ 229 h 325"/>
                  <a:gd name="T8" fmla="*/ 100 w 363"/>
                  <a:gd name="T9" fmla="*/ 325 h 325"/>
                  <a:gd name="T10" fmla="*/ 100 w 363"/>
                  <a:gd name="T11" fmla="*/ 181 h 325"/>
                  <a:gd name="T12" fmla="*/ 147 w 363"/>
                  <a:gd name="T13" fmla="*/ 325 h 325"/>
                  <a:gd name="T14" fmla="*/ 147 w 363"/>
                  <a:gd name="T15" fmla="*/ 133 h 325"/>
                  <a:gd name="T16" fmla="*/ 195 w 363"/>
                  <a:gd name="T17" fmla="*/ 325 h 325"/>
                  <a:gd name="T18" fmla="*/ 195 w 363"/>
                  <a:gd name="T19" fmla="*/ 133 h 325"/>
                  <a:gd name="T20" fmla="*/ 243 w 363"/>
                  <a:gd name="T21" fmla="*/ 325 h 325"/>
                  <a:gd name="T22" fmla="*/ 243 w 363"/>
                  <a:gd name="T23" fmla="*/ 180 h 325"/>
                  <a:gd name="T24" fmla="*/ 291 w 363"/>
                  <a:gd name="T25" fmla="*/ 325 h 325"/>
                  <a:gd name="T26" fmla="*/ 291 w 363"/>
                  <a:gd name="T27" fmla="*/ 133 h 325"/>
                  <a:gd name="T28" fmla="*/ 339 w 363"/>
                  <a:gd name="T29" fmla="*/ 325 h 325"/>
                  <a:gd name="T30" fmla="*/ 339 w 363"/>
                  <a:gd name="T31" fmla="*/ 109 h 325"/>
                  <a:gd name="T32" fmla="*/ 362 w 363"/>
                  <a:gd name="T33" fmla="*/ 0 h 325"/>
                  <a:gd name="T34" fmla="*/ 243 w 363"/>
                  <a:gd name="T35" fmla="*/ 120 h 325"/>
                  <a:gd name="T36" fmla="*/ 171 w 363"/>
                  <a:gd name="T37" fmla="*/ 48 h 325"/>
                  <a:gd name="T38" fmla="*/ 0 w 363"/>
                  <a:gd name="T39" fmla="*/ 220 h 325"/>
                  <a:gd name="T40" fmla="*/ 363 w 363"/>
                  <a:gd name="T41" fmla="*/ 72 h 325"/>
                  <a:gd name="T42" fmla="*/ 363 w 363"/>
                  <a:gd name="T43" fmla="*/ 0 h 325"/>
                  <a:gd name="T44" fmla="*/ 291 w 363"/>
                  <a:gd name="T45" fmla="*/ 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3" h="325">
                    <a:moveTo>
                      <a:pt x="4" y="325"/>
                    </a:moveTo>
                    <a:lnTo>
                      <a:pt x="4" y="277"/>
                    </a:lnTo>
                    <a:moveTo>
                      <a:pt x="52" y="325"/>
                    </a:moveTo>
                    <a:lnTo>
                      <a:pt x="52" y="229"/>
                    </a:lnTo>
                    <a:moveTo>
                      <a:pt x="100" y="325"/>
                    </a:moveTo>
                    <a:lnTo>
                      <a:pt x="100" y="181"/>
                    </a:lnTo>
                    <a:moveTo>
                      <a:pt x="147" y="325"/>
                    </a:moveTo>
                    <a:lnTo>
                      <a:pt x="147" y="133"/>
                    </a:lnTo>
                    <a:moveTo>
                      <a:pt x="195" y="325"/>
                    </a:moveTo>
                    <a:lnTo>
                      <a:pt x="195" y="133"/>
                    </a:lnTo>
                    <a:moveTo>
                      <a:pt x="243" y="325"/>
                    </a:moveTo>
                    <a:lnTo>
                      <a:pt x="243" y="180"/>
                    </a:lnTo>
                    <a:moveTo>
                      <a:pt x="291" y="325"/>
                    </a:moveTo>
                    <a:lnTo>
                      <a:pt x="291" y="133"/>
                    </a:lnTo>
                    <a:moveTo>
                      <a:pt x="339" y="325"/>
                    </a:moveTo>
                    <a:lnTo>
                      <a:pt x="339" y="109"/>
                    </a:lnTo>
                    <a:moveTo>
                      <a:pt x="362" y="0"/>
                    </a:moveTo>
                    <a:lnTo>
                      <a:pt x="243" y="120"/>
                    </a:lnTo>
                    <a:lnTo>
                      <a:pt x="171" y="48"/>
                    </a:lnTo>
                    <a:lnTo>
                      <a:pt x="0" y="220"/>
                    </a:lnTo>
                    <a:moveTo>
                      <a:pt x="363" y="72"/>
                    </a:moveTo>
                    <a:lnTo>
                      <a:pt x="363" y="0"/>
                    </a:lnTo>
                    <a:lnTo>
                      <a:pt x="291" y="0"/>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68" name="Oval 67">
              <a:extLst>
                <a:ext uri="{FF2B5EF4-FFF2-40B4-BE49-F238E27FC236}">
                  <a16:creationId xmlns:a16="http://schemas.microsoft.com/office/drawing/2014/main" id="{23D108E0-C8DD-4AE9-AB66-4BCEF80E545F}"/>
                </a:ext>
              </a:extLst>
            </p:cNvPr>
            <p:cNvSpPr/>
            <p:nvPr/>
          </p:nvSpPr>
          <p:spPr bwMode="auto">
            <a:xfrm>
              <a:off x="9451220" y="3231556"/>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spTree>
    <p:extLst>
      <p:ext uri="{BB962C8B-B14F-4D97-AF65-F5344CB8AC3E}">
        <p14:creationId xmlns:p14="http://schemas.microsoft.com/office/powerpoint/2010/main" val="265802511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8D00DC-76B8-4935-8991-E91B21412AAF}"/>
              </a:ext>
            </a:extLst>
          </p:cNvPr>
          <p:cNvSpPr>
            <a:spLocks noGrp="1"/>
          </p:cNvSpPr>
          <p:nvPr>
            <p:ph type="title"/>
          </p:nvPr>
        </p:nvSpPr>
        <p:spPr>
          <a:xfrm>
            <a:off x="457201" y="502479"/>
            <a:ext cx="11513820" cy="917575"/>
          </a:xfrm>
        </p:spPr>
        <p:txBody>
          <a:bodyPr/>
          <a:lstStyle/>
          <a:p>
            <a:r>
              <a:rPr lang="en-US">
                <a:solidFill>
                  <a:schemeClr val="tx2"/>
                </a:solidFill>
                <a:latin typeface="Segoe UI Semibold" panose="020B0702040204020203" pitchFamily="34" charset="0"/>
                <a:cs typeface="Segoe UI Semibold" panose="020B0702040204020203" pitchFamily="34" charset="0"/>
              </a:rPr>
              <a:t>Maintain student safety </a:t>
            </a:r>
            <a:r>
              <a:rPr lang="en-US"/>
              <a:t>with controls for meetings</a:t>
            </a:r>
          </a:p>
        </p:txBody>
      </p:sp>
      <p:sp>
        <p:nvSpPr>
          <p:cNvPr id="31" name="TextBox 30">
            <a:extLst>
              <a:ext uri="{FF2B5EF4-FFF2-40B4-BE49-F238E27FC236}">
                <a16:creationId xmlns:a16="http://schemas.microsoft.com/office/drawing/2014/main" id="{574DACB2-2D19-4FCD-8550-54E15AD16D1D}"/>
              </a:ext>
            </a:extLst>
          </p:cNvPr>
          <p:cNvSpPr txBox="1"/>
          <p:nvPr/>
        </p:nvSpPr>
        <p:spPr>
          <a:xfrm>
            <a:off x="453867" y="1578134"/>
            <a:ext cx="5468468" cy="2169825"/>
          </a:xfrm>
          <a:prstGeom prst="rect">
            <a:avLst/>
          </a:prstGeom>
          <a:noFill/>
        </p:spPr>
        <p:txBody>
          <a:bodyPr wrap="square" lIns="0" tIns="0" rIns="0" bIns="0">
            <a:spAutoFit/>
          </a:bodyPr>
          <a:lstStyle/>
          <a:p>
            <a:pPr>
              <a:spcAft>
                <a:spcPts val="600"/>
              </a:spcAft>
            </a:pPr>
            <a:r>
              <a:rPr lang="en-US">
                <a:solidFill>
                  <a:schemeClr val="tx2"/>
                </a:solidFill>
                <a:latin typeface="Segoe UI Semibold" panose="020B0702040204020203" pitchFamily="34" charset="0"/>
                <a:cs typeface="Segoe UI Semibold" panose="020B0702040204020203" pitchFamily="34" charset="0"/>
              </a:rPr>
              <a:t>Meeting options</a:t>
            </a:r>
          </a:p>
          <a:p>
            <a:pPr marL="285750" indent="-285750">
              <a:spcAft>
                <a:spcPts val="600"/>
              </a:spcAft>
              <a:buFont typeface="Arial" panose="020B0604020202020204" pitchFamily="34" charset="0"/>
              <a:buChar char="•"/>
            </a:pPr>
            <a:r>
              <a:rPr lang="en-US">
                <a:latin typeface="Segoe UI Semibold" panose="020B0702040204020203" pitchFamily="34" charset="0"/>
                <a:cs typeface="Segoe UI Semibold" panose="020B0702040204020203" pitchFamily="34" charset="0"/>
              </a:rPr>
              <a:t>Manage discussion with hard audio mute </a:t>
            </a:r>
            <a:r>
              <a:rPr lang="en-US">
                <a:cs typeface="Segoe UI Semibold" panose="020B0702040204020203" pitchFamily="34" charset="0"/>
              </a:rPr>
              <a:t>and the ability for students to request to speak</a:t>
            </a:r>
          </a:p>
          <a:p>
            <a:pPr marL="285750" indent="-285750">
              <a:spcAft>
                <a:spcPts val="600"/>
              </a:spcAft>
              <a:buFont typeface="Arial" panose="020B0604020202020204" pitchFamily="34" charset="0"/>
              <a:buChar char="•"/>
            </a:pPr>
            <a:r>
              <a:rPr lang="en-US">
                <a:latin typeface="Segoe UI Semibold" panose="020B0702040204020203" pitchFamily="34" charset="0"/>
                <a:cs typeface="Segoe UI Semibold" panose="020B0702040204020203" pitchFamily="34" charset="0"/>
              </a:rPr>
              <a:t>Control who can present during class </a:t>
            </a:r>
            <a:r>
              <a:rPr lang="en-US">
                <a:cs typeface="Segoe UI Semibold" panose="020B0702040204020203" pitchFamily="34" charset="0"/>
              </a:rPr>
              <a:t>or bypass the meeting lobby</a:t>
            </a:r>
          </a:p>
          <a:p>
            <a:pPr marL="285750" indent="-285750">
              <a:spcAft>
                <a:spcPts val="600"/>
              </a:spcAft>
              <a:buFont typeface="Arial" panose="020B0604020202020204" pitchFamily="34" charset="0"/>
              <a:buChar char="•"/>
            </a:pPr>
            <a:r>
              <a:rPr lang="en-US">
                <a:latin typeface="Segoe UI Semibold" panose="020B0702040204020203" pitchFamily="34" charset="0"/>
                <a:cs typeface="Segoe UI Semibold" panose="020B0702040204020203" pitchFamily="34" charset="0"/>
              </a:rPr>
              <a:t>Manage when students enter and leave </a:t>
            </a:r>
            <a:r>
              <a:rPr lang="en-US">
                <a:cs typeface="Segoe UI Semibold" panose="020B0702040204020203" pitchFamily="34" charset="0"/>
              </a:rPr>
              <a:t>with student lobby and end meeting for all participants</a:t>
            </a:r>
          </a:p>
        </p:txBody>
      </p:sp>
      <p:sp>
        <p:nvSpPr>
          <p:cNvPr id="16" name="TextBox 15">
            <a:extLst>
              <a:ext uri="{FF2B5EF4-FFF2-40B4-BE49-F238E27FC236}">
                <a16:creationId xmlns:a16="http://schemas.microsoft.com/office/drawing/2014/main" id="{4B3A428F-8502-4925-A180-A9F4754EBF19}"/>
              </a:ext>
            </a:extLst>
          </p:cNvPr>
          <p:cNvSpPr txBox="1"/>
          <p:nvPr/>
        </p:nvSpPr>
        <p:spPr>
          <a:xfrm>
            <a:off x="453867" y="3971240"/>
            <a:ext cx="5468468" cy="2523768"/>
          </a:xfrm>
          <a:prstGeom prst="rect">
            <a:avLst/>
          </a:prstGeom>
          <a:noFill/>
        </p:spPr>
        <p:txBody>
          <a:bodyPr wrap="square" lIns="0" tIns="0" rIns="0" bIns="0">
            <a:spAutoFit/>
          </a:bodyPr>
          <a:lstStyle/>
          <a:p>
            <a:pPr>
              <a:spcAft>
                <a:spcPts val="600"/>
              </a:spcAft>
            </a:pPr>
            <a:r>
              <a:rPr lang="en-US">
                <a:solidFill>
                  <a:schemeClr val="tx2"/>
                </a:solidFill>
                <a:latin typeface="Segoe UI Semibold" panose="020B0702040204020203" pitchFamily="34" charset="0"/>
                <a:cs typeface="Segoe UI Semibold" panose="020B0702040204020203" pitchFamily="34" charset="0"/>
              </a:rPr>
              <a:t>Admin policies</a:t>
            </a:r>
          </a:p>
          <a:p>
            <a:pPr marL="285750" indent="-285750">
              <a:spcAft>
                <a:spcPts val="600"/>
              </a:spcAft>
              <a:buFont typeface="Arial" panose="020B0604020202020204" pitchFamily="34" charset="0"/>
              <a:buChar char="•"/>
            </a:pPr>
            <a:r>
              <a:rPr lang="en-US">
                <a:latin typeface="Segoe UI Semibold" panose="020B0702040204020203" pitchFamily="34" charset="0"/>
                <a:cs typeface="Segoe UI Semibold" panose="020B0702040204020203" pitchFamily="34" charset="0"/>
              </a:rPr>
              <a:t>Apply global remote learning policy settings </a:t>
            </a:r>
            <a:r>
              <a:rPr lang="en-US">
                <a:cs typeface="Segoe UI Semibold" panose="020B0702040204020203" pitchFamily="34" charset="0"/>
              </a:rPr>
              <a:t>to easily manage safety settings</a:t>
            </a:r>
          </a:p>
          <a:p>
            <a:pPr marL="285750" indent="-285750">
              <a:spcAft>
                <a:spcPts val="600"/>
              </a:spcAft>
              <a:buFont typeface="Arial" panose="020B0604020202020204" pitchFamily="34" charset="0"/>
              <a:buChar char="•"/>
            </a:pPr>
            <a:r>
              <a:rPr lang="en-US">
                <a:latin typeface="Segoe UI Semibold" panose="020B0702040204020203" pitchFamily="34" charset="0"/>
                <a:cs typeface="Segoe UI Semibold" panose="020B0702040204020203" pitchFamily="34" charset="0"/>
              </a:rPr>
              <a:t>Set who can present in meetings </a:t>
            </a:r>
            <a:r>
              <a:rPr lang="en-US">
                <a:cs typeface="Segoe UI Semibold" panose="020B0702040204020203" pitchFamily="34" charset="0"/>
              </a:rPr>
              <a:t>with a default global administrative policy</a:t>
            </a:r>
          </a:p>
          <a:p>
            <a:pPr marL="285750" indent="-285750">
              <a:spcAft>
                <a:spcPts val="600"/>
              </a:spcAft>
              <a:buFont typeface="Arial" panose="020B0604020202020204" pitchFamily="34" charset="0"/>
              <a:buChar char="•"/>
            </a:pPr>
            <a:r>
              <a:rPr lang="en-US">
                <a:latin typeface="Segoe UI Semibold" panose="020B0702040204020203" pitchFamily="34" charset="0"/>
                <a:cs typeface="Segoe UI Semibold" panose="020B0702040204020203" pitchFamily="34" charset="0"/>
              </a:rPr>
              <a:t>Control the use of custom backgrounds </a:t>
            </a:r>
            <a:r>
              <a:rPr lang="en-US">
                <a:cs typeface="Segoe UI Semibold" panose="020B0702040204020203" pitchFamily="34" charset="0"/>
              </a:rPr>
              <a:t>in meetings with pre-set selections</a:t>
            </a:r>
          </a:p>
          <a:p>
            <a:endParaRPr lang="en-US">
              <a:cs typeface="Segoe UI Semibold" panose="020B0702040204020203" pitchFamily="34" charset="0"/>
            </a:endParaRPr>
          </a:p>
        </p:txBody>
      </p:sp>
      <p:pic>
        <p:nvPicPr>
          <p:cNvPr id="3" name="Picture 2" descr="A student playing with block during class in front of a laptop with their teacher on it">
            <a:extLst>
              <a:ext uri="{FF2B5EF4-FFF2-40B4-BE49-F238E27FC236}">
                <a16:creationId xmlns:a16="http://schemas.microsoft.com/office/drawing/2014/main" id="{631F944C-86F4-4A04-9CB2-9B2C8F8BF3E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317656" y="1578133"/>
            <a:ext cx="5624530" cy="4786213"/>
          </a:xfrm>
          <a:prstGeom prst="rect">
            <a:avLst/>
          </a:prstGeom>
        </p:spPr>
      </p:pic>
      <p:grpSp>
        <p:nvGrpSpPr>
          <p:cNvPr id="35" name="Group 34">
            <a:extLst>
              <a:ext uri="{FF2B5EF4-FFF2-40B4-BE49-F238E27FC236}">
                <a16:creationId xmlns:a16="http://schemas.microsoft.com/office/drawing/2014/main" id="{7DCF3C25-0AFC-47B4-B630-C1828C8EA15E}"/>
              </a:ext>
              <a:ext uri="{C183D7F6-B498-43B3-948B-1728B52AA6E4}">
                <adec:decorative xmlns:adec="http://schemas.microsoft.com/office/drawing/2017/decorative" val="1"/>
              </a:ext>
            </a:extLst>
          </p:cNvPr>
          <p:cNvGrpSpPr/>
          <p:nvPr/>
        </p:nvGrpSpPr>
        <p:grpSpPr>
          <a:xfrm>
            <a:off x="11488324" y="162790"/>
            <a:ext cx="777240" cy="778243"/>
            <a:chOff x="9451220" y="3231556"/>
            <a:chExt cx="1466268" cy="1466264"/>
          </a:xfrm>
        </p:grpSpPr>
        <p:grpSp>
          <p:nvGrpSpPr>
            <p:cNvPr id="36" name="Group 35">
              <a:extLst>
                <a:ext uri="{FF2B5EF4-FFF2-40B4-BE49-F238E27FC236}">
                  <a16:creationId xmlns:a16="http://schemas.microsoft.com/office/drawing/2014/main" id="{9A9035C0-6119-436C-860E-9A74997A9E01}"/>
                </a:ext>
              </a:extLst>
            </p:cNvPr>
            <p:cNvGrpSpPr/>
            <p:nvPr/>
          </p:nvGrpSpPr>
          <p:grpSpPr>
            <a:xfrm>
              <a:off x="9858188" y="3517807"/>
              <a:ext cx="652332" cy="893762"/>
              <a:chOff x="12901109" y="3390467"/>
              <a:chExt cx="2338892" cy="3204519"/>
            </a:xfrm>
          </p:grpSpPr>
          <p:sp>
            <p:nvSpPr>
              <p:cNvPr id="38" name="Freeform: Shape 37">
                <a:extLst>
                  <a:ext uri="{FF2B5EF4-FFF2-40B4-BE49-F238E27FC236}">
                    <a16:creationId xmlns:a16="http://schemas.microsoft.com/office/drawing/2014/main" id="{3DA150F4-19E6-4109-B055-60B3AACD369F}"/>
                  </a:ext>
                </a:extLst>
              </p:cNvPr>
              <p:cNvSpPr/>
              <p:nvPr/>
            </p:nvSpPr>
            <p:spPr>
              <a:xfrm>
                <a:off x="13188664" y="3390467"/>
                <a:ext cx="1006470" cy="1052478"/>
              </a:xfrm>
              <a:custGeom>
                <a:avLst/>
                <a:gdLst>
                  <a:gd name="connsiteX0" fmla="*/ 0 w 443429"/>
                  <a:gd name="connsiteY0" fmla="*/ 463700 h 463700"/>
                  <a:gd name="connsiteX1" fmla="*/ 0 w 443429"/>
                  <a:gd name="connsiteY1" fmla="*/ 221715 h 463700"/>
                  <a:gd name="connsiteX2" fmla="*/ 221715 w 443429"/>
                  <a:gd name="connsiteY2" fmla="*/ 0 h 463700"/>
                  <a:gd name="connsiteX3" fmla="*/ 443429 w 443429"/>
                  <a:gd name="connsiteY3" fmla="*/ 221715 h 463700"/>
                  <a:gd name="connsiteX4" fmla="*/ 443429 w 443429"/>
                  <a:gd name="connsiteY4" fmla="*/ 463700 h 463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429" h="463700">
                    <a:moveTo>
                      <a:pt x="0" y="463700"/>
                    </a:moveTo>
                    <a:cubicBezTo>
                      <a:pt x="0" y="221715"/>
                      <a:pt x="0" y="221715"/>
                      <a:pt x="0" y="221715"/>
                    </a:cubicBezTo>
                    <a:cubicBezTo>
                      <a:pt x="0" y="101355"/>
                      <a:pt x="97555" y="0"/>
                      <a:pt x="221715" y="0"/>
                    </a:cubicBezTo>
                    <a:cubicBezTo>
                      <a:pt x="345875" y="0"/>
                      <a:pt x="443429" y="100088"/>
                      <a:pt x="443429" y="221715"/>
                    </a:cubicBezTo>
                    <a:cubicBezTo>
                      <a:pt x="443429" y="463700"/>
                      <a:pt x="443429" y="463700"/>
                      <a:pt x="443429" y="463700"/>
                    </a:cubicBezTo>
                  </a:path>
                </a:pathLst>
              </a:custGeom>
              <a:noFill/>
              <a:ln w="19050" cap="sq">
                <a:solidFill>
                  <a:schemeClr val="tx2"/>
                </a:solidFill>
                <a:prstDash val="solid"/>
                <a:miter/>
              </a:ln>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p>
            </p:txBody>
          </p:sp>
          <p:sp>
            <p:nvSpPr>
              <p:cNvPr id="39" name="Freeform: Shape 38">
                <a:extLst>
                  <a:ext uri="{FF2B5EF4-FFF2-40B4-BE49-F238E27FC236}">
                    <a16:creationId xmlns:a16="http://schemas.microsoft.com/office/drawing/2014/main" id="{26BDAE58-ADA1-487F-99AF-5FA880710ADC}"/>
                  </a:ext>
                </a:extLst>
              </p:cNvPr>
              <p:cNvSpPr/>
              <p:nvPr/>
            </p:nvSpPr>
            <p:spPr>
              <a:xfrm>
                <a:off x="12901109" y="4476924"/>
                <a:ext cx="1610742" cy="1194621"/>
              </a:xfrm>
              <a:custGeom>
                <a:avLst/>
                <a:gdLst>
                  <a:gd name="connsiteX0" fmla="*/ 0 w 708219"/>
                  <a:gd name="connsiteY0" fmla="*/ 524513 h 524513"/>
                  <a:gd name="connsiteX1" fmla="*/ 708219 w 708219"/>
                  <a:gd name="connsiteY1" fmla="*/ 524513 h 524513"/>
                  <a:gd name="connsiteX2" fmla="*/ 708219 w 708219"/>
                  <a:gd name="connsiteY2" fmla="*/ 0 h 524513"/>
                  <a:gd name="connsiteX3" fmla="*/ 0 w 708219"/>
                  <a:gd name="connsiteY3" fmla="*/ 0 h 524513"/>
                  <a:gd name="connsiteX4" fmla="*/ 0 w 708219"/>
                  <a:gd name="connsiteY4" fmla="*/ 524513 h 524513"/>
                  <a:gd name="connsiteX5" fmla="*/ 0 w 708219"/>
                  <a:gd name="connsiteY5" fmla="*/ 524513 h 524513"/>
                  <a:gd name="connsiteX6" fmla="*/ 0 w 708219"/>
                  <a:gd name="connsiteY6" fmla="*/ 524513 h 524513"/>
                  <a:gd name="connsiteX0" fmla="*/ 708219 w 880918"/>
                  <a:gd name="connsiteY0" fmla="*/ 524513 h 697212"/>
                  <a:gd name="connsiteX1" fmla="*/ 708219 w 880918"/>
                  <a:gd name="connsiteY1" fmla="*/ 0 h 697212"/>
                  <a:gd name="connsiteX2" fmla="*/ 0 w 880918"/>
                  <a:gd name="connsiteY2" fmla="*/ 0 h 697212"/>
                  <a:gd name="connsiteX3" fmla="*/ 0 w 880918"/>
                  <a:gd name="connsiteY3" fmla="*/ 524513 h 697212"/>
                  <a:gd name="connsiteX4" fmla="*/ 0 w 880918"/>
                  <a:gd name="connsiteY4" fmla="*/ 524513 h 697212"/>
                  <a:gd name="connsiteX5" fmla="*/ 0 w 880918"/>
                  <a:gd name="connsiteY5" fmla="*/ 524513 h 697212"/>
                  <a:gd name="connsiteX6" fmla="*/ 880918 w 880918"/>
                  <a:gd name="connsiteY6" fmla="*/ 697212 h 697212"/>
                  <a:gd name="connsiteX0" fmla="*/ 708219 w 708219"/>
                  <a:gd name="connsiteY0" fmla="*/ 524513 h 524513"/>
                  <a:gd name="connsiteX1" fmla="*/ 708219 w 708219"/>
                  <a:gd name="connsiteY1" fmla="*/ 0 h 524513"/>
                  <a:gd name="connsiteX2" fmla="*/ 0 w 708219"/>
                  <a:gd name="connsiteY2" fmla="*/ 0 h 524513"/>
                  <a:gd name="connsiteX3" fmla="*/ 0 w 708219"/>
                  <a:gd name="connsiteY3" fmla="*/ 524513 h 524513"/>
                  <a:gd name="connsiteX4" fmla="*/ 0 w 708219"/>
                  <a:gd name="connsiteY4" fmla="*/ 524513 h 524513"/>
                  <a:gd name="connsiteX5" fmla="*/ 0 w 708219"/>
                  <a:gd name="connsiteY5" fmla="*/ 524513 h 524513"/>
                  <a:gd name="connsiteX6" fmla="*/ 323244 w 708219"/>
                  <a:gd name="connsiteY6" fmla="*/ 517317 h 524513"/>
                  <a:gd name="connsiteX0" fmla="*/ 708219 w 708219"/>
                  <a:gd name="connsiteY0" fmla="*/ 524513 h 524513"/>
                  <a:gd name="connsiteX1" fmla="*/ 708219 w 708219"/>
                  <a:gd name="connsiteY1" fmla="*/ 0 h 524513"/>
                  <a:gd name="connsiteX2" fmla="*/ 0 w 708219"/>
                  <a:gd name="connsiteY2" fmla="*/ 0 h 524513"/>
                  <a:gd name="connsiteX3" fmla="*/ 0 w 708219"/>
                  <a:gd name="connsiteY3" fmla="*/ 524513 h 524513"/>
                  <a:gd name="connsiteX4" fmla="*/ 0 w 708219"/>
                  <a:gd name="connsiteY4" fmla="*/ 524513 h 524513"/>
                  <a:gd name="connsiteX5" fmla="*/ 0 w 708219"/>
                  <a:gd name="connsiteY5" fmla="*/ 524513 h 524513"/>
                  <a:gd name="connsiteX6" fmla="*/ 49804 w 708219"/>
                  <a:gd name="connsiteY6" fmla="*/ 520915 h 524513"/>
                  <a:gd name="connsiteX0" fmla="*/ 701023 w 758848"/>
                  <a:gd name="connsiteY0" fmla="*/ 420384 h 553506"/>
                  <a:gd name="connsiteX1" fmla="*/ 708219 w 758848"/>
                  <a:gd name="connsiteY1" fmla="*/ 28993 h 553506"/>
                  <a:gd name="connsiteX2" fmla="*/ 0 w 758848"/>
                  <a:gd name="connsiteY2" fmla="*/ 28993 h 553506"/>
                  <a:gd name="connsiteX3" fmla="*/ 0 w 758848"/>
                  <a:gd name="connsiteY3" fmla="*/ 553506 h 553506"/>
                  <a:gd name="connsiteX4" fmla="*/ 0 w 758848"/>
                  <a:gd name="connsiteY4" fmla="*/ 553506 h 553506"/>
                  <a:gd name="connsiteX5" fmla="*/ 0 w 758848"/>
                  <a:gd name="connsiteY5" fmla="*/ 553506 h 553506"/>
                  <a:gd name="connsiteX6" fmla="*/ 49804 w 758848"/>
                  <a:gd name="connsiteY6" fmla="*/ 549908 h 553506"/>
                  <a:gd name="connsiteX0" fmla="*/ 701023 w 758850"/>
                  <a:gd name="connsiteY0" fmla="*/ 401195 h 534317"/>
                  <a:gd name="connsiteX1" fmla="*/ 708219 w 758850"/>
                  <a:gd name="connsiteY1" fmla="*/ 9804 h 534317"/>
                  <a:gd name="connsiteX2" fmla="*/ 0 w 758850"/>
                  <a:gd name="connsiteY2" fmla="*/ 9804 h 534317"/>
                  <a:gd name="connsiteX3" fmla="*/ 0 w 758850"/>
                  <a:gd name="connsiteY3" fmla="*/ 534317 h 534317"/>
                  <a:gd name="connsiteX4" fmla="*/ 0 w 758850"/>
                  <a:gd name="connsiteY4" fmla="*/ 534317 h 534317"/>
                  <a:gd name="connsiteX5" fmla="*/ 0 w 758850"/>
                  <a:gd name="connsiteY5" fmla="*/ 534317 h 534317"/>
                  <a:gd name="connsiteX6" fmla="*/ 49804 w 758850"/>
                  <a:gd name="connsiteY6" fmla="*/ 530719 h 534317"/>
                  <a:gd name="connsiteX0" fmla="*/ 701023 w 708500"/>
                  <a:gd name="connsiteY0" fmla="*/ 401195 h 534317"/>
                  <a:gd name="connsiteX1" fmla="*/ 708219 w 708500"/>
                  <a:gd name="connsiteY1" fmla="*/ 9804 h 534317"/>
                  <a:gd name="connsiteX2" fmla="*/ 0 w 708500"/>
                  <a:gd name="connsiteY2" fmla="*/ 9804 h 534317"/>
                  <a:gd name="connsiteX3" fmla="*/ 0 w 708500"/>
                  <a:gd name="connsiteY3" fmla="*/ 534317 h 534317"/>
                  <a:gd name="connsiteX4" fmla="*/ 0 w 708500"/>
                  <a:gd name="connsiteY4" fmla="*/ 534317 h 534317"/>
                  <a:gd name="connsiteX5" fmla="*/ 0 w 708500"/>
                  <a:gd name="connsiteY5" fmla="*/ 534317 h 534317"/>
                  <a:gd name="connsiteX6" fmla="*/ 49804 w 708500"/>
                  <a:gd name="connsiteY6" fmla="*/ 530719 h 534317"/>
                  <a:gd name="connsiteX0" fmla="*/ 701023 w 708500"/>
                  <a:gd name="connsiteY0" fmla="*/ 391391 h 524513"/>
                  <a:gd name="connsiteX1" fmla="*/ 708219 w 708500"/>
                  <a:gd name="connsiteY1" fmla="*/ 0 h 524513"/>
                  <a:gd name="connsiteX2" fmla="*/ 0 w 708500"/>
                  <a:gd name="connsiteY2" fmla="*/ 0 h 524513"/>
                  <a:gd name="connsiteX3" fmla="*/ 0 w 708500"/>
                  <a:gd name="connsiteY3" fmla="*/ 524513 h 524513"/>
                  <a:gd name="connsiteX4" fmla="*/ 0 w 708500"/>
                  <a:gd name="connsiteY4" fmla="*/ 524513 h 524513"/>
                  <a:gd name="connsiteX5" fmla="*/ 0 w 708500"/>
                  <a:gd name="connsiteY5" fmla="*/ 524513 h 524513"/>
                  <a:gd name="connsiteX6" fmla="*/ 49804 w 708500"/>
                  <a:gd name="connsiteY6" fmla="*/ 520915 h 524513"/>
                  <a:gd name="connsiteX0" fmla="*/ 701023 w 708500"/>
                  <a:gd name="connsiteY0" fmla="*/ 399595 h 532717"/>
                  <a:gd name="connsiteX1" fmla="*/ 708219 w 708500"/>
                  <a:gd name="connsiteY1" fmla="*/ 8204 h 532717"/>
                  <a:gd name="connsiteX2" fmla="*/ 0 w 708500"/>
                  <a:gd name="connsiteY2" fmla="*/ 8204 h 532717"/>
                  <a:gd name="connsiteX3" fmla="*/ 0 w 708500"/>
                  <a:gd name="connsiteY3" fmla="*/ 532717 h 532717"/>
                  <a:gd name="connsiteX4" fmla="*/ 0 w 708500"/>
                  <a:gd name="connsiteY4" fmla="*/ 532717 h 532717"/>
                  <a:gd name="connsiteX5" fmla="*/ 0 w 708500"/>
                  <a:gd name="connsiteY5" fmla="*/ 532717 h 532717"/>
                  <a:gd name="connsiteX6" fmla="*/ 49804 w 708500"/>
                  <a:gd name="connsiteY6" fmla="*/ 529119 h 532717"/>
                  <a:gd name="connsiteX0" fmla="*/ 701023 w 708500"/>
                  <a:gd name="connsiteY0" fmla="*/ 393198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01023 w 708500"/>
                  <a:gd name="connsiteY0" fmla="*/ 393198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11816 w 712529"/>
                  <a:gd name="connsiteY0" fmla="*/ 400394 h 526320"/>
                  <a:gd name="connsiteX1" fmla="*/ 708219 w 712529"/>
                  <a:gd name="connsiteY1" fmla="*/ 1807 h 526320"/>
                  <a:gd name="connsiteX2" fmla="*/ 0 w 712529"/>
                  <a:gd name="connsiteY2" fmla="*/ 1807 h 526320"/>
                  <a:gd name="connsiteX3" fmla="*/ 0 w 712529"/>
                  <a:gd name="connsiteY3" fmla="*/ 526320 h 526320"/>
                  <a:gd name="connsiteX4" fmla="*/ 0 w 712529"/>
                  <a:gd name="connsiteY4" fmla="*/ 526320 h 526320"/>
                  <a:gd name="connsiteX5" fmla="*/ 0 w 712529"/>
                  <a:gd name="connsiteY5" fmla="*/ 526320 h 526320"/>
                  <a:gd name="connsiteX6" fmla="*/ 49804 w 712529"/>
                  <a:gd name="connsiteY6" fmla="*/ 522722 h 526320"/>
                  <a:gd name="connsiteX0" fmla="*/ 697423 w 708412"/>
                  <a:gd name="connsiteY0" fmla="*/ 393198 h 526320"/>
                  <a:gd name="connsiteX1" fmla="*/ 708219 w 708412"/>
                  <a:gd name="connsiteY1" fmla="*/ 1807 h 526320"/>
                  <a:gd name="connsiteX2" fmla="*/ 0 w 708412"/>
                  <a:gd name="connsiteY2" fmla="*/ 1807 h 526320"/>
                  <a:gd name="connsiteX3" fmla="*/ 0 w 708412"/>
                  <a:gd name="connsiteY3" fmla="*/ 526320 h 526320"/>
                  <a:gd name="connsiteX4" fmla="*/ 0 w 708412"/>
                  <a:gd name="connsiteY4" fmla="*/ 526320 h 526320"/>
                  <a:gd name="connsiteX5" fmla="*/ 0 w 708412"/>
                  <a:gd name="connsiteY5" fmla="*/ 526320 h 526320"/>
                  <a:gd name="connsiteX6" fmla="*/ 49804 w 708412"/>
                  <a:gd name="connsiteY6" fmla="*/ 522722 h 526320"/>
                  <a:gd name="connsiteX0" fmla="*/ 711815 w 712527"/>
                  <a:gd name="connsiteY0" fmla="*/ 400394 h 526320"/>
                  <a:gd name="connsiteX1" fmla="*/ 708219 w 712527"/>
                  <a:gd name="connsiteY1" fmla="*/ 1807 h 526320"/>
                  <a:gd name="connsiteX2" fmla="*/ 0 w 712527"/>
                  <a:gd name="connsiteY2" fmla="*/ 1807 h 526320"/>
                  <a:gd name="connsiteX3" fmla="*/ 0 w 712527"/>
                  <a:gd name="connsiteY3" fmla="*/ 526320 h 526320"/>
                  <a:gd name="connsiteX4" fmla="*/ 0 w 712527"/>
                  <a:gd name="connsiteY4" fmla="*/ 526320 h 526320"/>
                  <a:gd name="connsiteX5" fmla="*/ 0 w 712527"/>
                  <a:gd name="connsiteY5" fmla="*/ 526320 h 526320"/>
                  <a:gd name="connsiteX6" fmla="*/ 49804 w 712527"/>
                  <a:gd name="connsiteY6" fmla="*/ 522722 h 526320"/>
                  <a:gd name="connsiteX0" fmla="*/ 701021 w 708500"/>
                  <a:gd name="connsiteY0" fmla="*/ 403992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11815 w 712527"/>
                  <a:gd name="connsiteY0" fmla="*/ 418383 h 526320"/>
                  <a:gd name="connsiteX1" fmla="*/ 708219 w 712527"/>
                  <a:gd name="connsiteY1" fmla="*/ 1807 h 526320"/>
                  <a:gd name="connsiteX2" fmla="*/ 0 w 712527"/>
                  <a:gd name="connsiteY2" fmla="*/ 1807 h 526320"/>
                  <a:gd name="connsiteX3" fmla="*/ 0 w 712527"/>
                  <a:gd name="connsiteY3" fmla="*/ 526320 h 526320"/>
                  <a:gd name="connsiteX4" fmla="*/ 0 w 712527"/>
                  <a:gd name="connsiteY4" fmla="*/ 526320 h 526320"/>
                  <a:gd name="connsiteX5" fmla="*/ 0 w 712527"/>
                  <a:gd name="connsiteY5" fmla="*/ 526320 h 526320"/>
                  <a:gd name="connsiteX6" fmla="*/ 49804 w 712527"/>
                  <a:gd name="connsiteY6" fmla="*/ 522722 h 526320"/>
                  <a:gd name="connsiteX0" fmla="*/ 701021 w 708500"/>
                  <a:gd name="connsiteY0" fmla="*/ 407589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04619 w 708730"/>
                  <a:gd name="connsiteY0" fmla="*/ 411187 h 526320"/>
                  <a:gd name="connsiteX1" fmla="*/ 708219 w 708730"/>
                  <a:gd name="connsiteY1" fmla="*/ 1807 h 526320"/>
                  <a:gd name="connsiteX2" fmla="*/ 0 w 708730"/>
                  <a:gd name="connsiteY2" fmla="*/ 1807 h 526320"/>
                  <a:gd name="connsiteX3" fmla="*/ 0 w 708730"/>
                  <a:gd name="connsiteY3" fmla="*/ 526320 h 526320"/>
                  <a:gd name="connsiteX4" fmla="*/ 0 w 708730"/>
                  <a:gd name="connsiteY4" fmla="*/ 526320 h 526320"/>
                  <a:gd name="connsiteX5" fmla="*/ 0 w 708730"/>
                  <a:gd name="connsiteY5" fmla="*/ 526320 h 526320"/>
                  <a:gd name="connsiteX6" fmla="*/ 49804 w 708730"/>
                  <a:gd name="connsiteY6" fmla="*/ 522722 h 526320"/>
                  <a:gd name="connsiteX0" fmla="*/ 704619 w 709416"/>
                  <a:gd name="connsiteY0" fmla="*/ 411187 h 526320"/>
                  <a:gd name="connsiteX1" fmla="*/ 708219 w 709416"/>
                  <a:gd name="connsiteY1" fmla="*/ 1807 h 526320"/>
                  <a:gd name="connsiteX2" fmla="*/ 0 w 709416"/>
                  <a:gd name="connsiteY2" fmla="*/ 1807 h 526320"/>
                  <a:gd name="connsiteX3" fmla="*/ 0 w 709416"/>
                  <a:gd name="connsiteY3" fmla="*/ 526320 h 526320"/>
                  <a:gd name="connsiteX4" fmla="*/ 0 w 709416"/>
                  <a:gd name="connsiteY4" fmla="*/ 526320 h 526320"/>
                  <a:gd name="connsiteX5" fmla="*/ 0 w 709416"/>
                  <a:gd name="connsiteY5" fmla="*/ 526320 h 526320"/>
                  <a:gd name="connsiteX6" fmla="*/ 49804 w 709416"/>
                  <a:gd name="connsiteY6" fmla="*/ 522722 h 526320"/>
                  <a:gd name="connsiteX0" fmla="*/ 709655 w 712327"/>
                  <a:gd name="connsiteY0" fmla="*/ 412866 h 526320"/>
                  <a:gd name="connsiteX1" fmla="*/ 708219 w 712327"/>
                  <a:gd name="connsiteY1" fmla="*/ 1807 h 526320"/>
                  <a:gd name="connsiteX2" fmla="*/ 0 w 712327"/>
                  <a:gd name="connsiteY2" fmla="*/ 1807 h 526320"/>
                  <a:gd name="connsiteX3" fmla="*/ 0 w 712327"/>
                  <a:gd name="connsiteY3" fmla="*/ 526320 h 526320"/>
                  <a:gd name="connsiteX4" fmla="*/ 0 w 712327"/>
                  <a:gd name="connsiteY4" fmla="*/ 526320 h 526320"/>
                  <a:gd name="connsiteX5" fmla="*/ 0 w 712327"/>
                  <a:gd name="connsiteY5" fmla="*/ 526320 h 526320"/>
                  <a:gd name="connsiteX6" fmla="*/ 49804 w 712327"/>
                  <a:gd name="connsiteY6" fmla="*/ 522722 h 526320"/>
                  <a:gd name="connsiteX0" fmla="*/ 709655 w 709655"/>
                  <a:gd name="connsiteY0" fmla="*/ 412866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9655 w 709655"/>
                  <a:gd name="connsiteY0" fmla="*/ 412866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6298 w 708527"/>
                  <a:gd name="connsiteY0" fmla="*/ 409509 h 526320"/>
                  <a:gd name="connsiteX1" fmla="*/ 708219 w 708527"/>
                  <a:gd name="connsiteY1" fmla="*/ 1807 h 526320"/>
                  <a:gd name="connsiteX2" fmla="*/ 0 w 708527"/>
                  <a:gd name="connsiteY2" fmla="*/ 1807 h 526320"/>
                  <a:gd name="connsiteX3" fmla="*/ 0 w 708527"/>
                  <a:gd name="connsiteY3" fmla="*/ 526320 h 526320"/>
                  <a:gd name="connsiteX4" fmla="*/ 0 w 708527"/>
                  <a:gd name="connsiteY4" fmla="*/ 526320 h 526320"/>
                  <a:gd name="connsiteX5" fmla="*/ 0 w 708527"/>
                  <a:gd name="connsiteY5" fmla="*/ 526320 h 526320"/>
                  <a:gd name="connsiteX6" fmla="*/ 49804 w 708527"/>
                  <a:gd name="connsiteY6" fmla="*/ 522722 h 526320"/>
                  <a:gd name="connsiteX0" fmla="*/ 708816 w 708816"/>
                  <a:gd name="connsiteY0" fmla="*/ 408670 h 526320"/>
                  <a:gd name="connsiteX1" fmla="*/ 708219 w 708816"/>
                  <a:gd name="connsiteY1" fmla="*/ 1807 h 526320"/>
                  <a:gd name="connsiteX2" fmla="*/ 0 w 708816"/>
                  <a:gd name="connsiteY2" fmla="*/ 1807 h 526320"/>
                  <a:gd name="connsiteX3" fmla="*/ 0 w 708816"/>
                  <a:gd name="connsiteY3" fmla="*/ 526320 h 526320"/>
                  <a:gd name="connsiteX4" fmla="*/ 0 w 708816"/>
                  <a:gd name="connsiteY4" fmla="*/ 526320 h 526320"/>
                  <a:gd name="connsiteX5" fmla="*/ 0 w 708816"/>
                  <a:gd name="connsiteY5" fmla="*/ 526320 h 526320"/>
                  <a:gd name="connsiteX6" fmla="*/ 49804 w 708816"/>
                  <a:gd name="connsiteY6" fmla="*/ 522722 h 526320"/>
                  <a:gd name="connsiteX0" fmla="*/ 709655 w 709655"/>
                  <a:gd name="connsiteY0" fmla="*/ 409509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9655 w 709655"/>
                  <a:gd name="connsiteY0" fmla="*/ 409509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9655 w 709655"/>
                  <a:gd name="connsiteY0" fmla="*/ 409509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0" fmla="*/ 709854 w 709854"/>
                  <a:gd name="connsiteY0" fmla="*/ 409509 h 527006"/>
                  <a:gd name="connsiteX1" fmla="*/ 708418 w 709854"/>
                  <a:gd name="connsiteY1" fmla="*/ 1807 h 527006"/>
                  <a:gd name="connsiteX2" fmla="*/ 199 w 709854"/>
                  <a:gd name="connsiteY2" fmla="*/ 1807 h 527006"/>
                  <a:gd name="connsiteX3" fmla="*/ 199 w 709854"/>
                  <a:gd name="connsiteY3" fmla="*/ 526320 h 527006"/>
                  <a:gd name="connsiteX4" fmla="*/ 199 w 709854"/>
                  <a:gd name="connsiteY4" fmla="*/ 526320 h 527006"/>
                  <a:gd name="connsiteX5" fmla="*/ 199 w 709854"/>
                  <a:gd name="connsiteY5" fmla="*/ 526320 h 527006"/>
                  <a:gd name="connsiteX6" fmla="*/ 0 w 709854"/>
                  <a:gd name="connsiteY6" fmla="*/ 527006 h 527006"/>
                  <a:gd name="connsiteX0" fmla="*/ 709656 w 709656"/>
                  <a:gd name="connsiteY0" fmla="*/ 409509 h 532881"/>
                  <a:gd name="connsiteX1" fmla="*/ 708220 w 709656"/>
                  <a:gd name="connsiteY1" fmla="*/ 1807 h 532881"/>
                  <a:gd name="connsiteX2" fmla="*/ 1 w 709656"/>
                  <a:gd name="connsiteY2" fmla="*/ 1807 h 532881"/>
                  <a:gd name="connsiteX3" fmla="*/ 1 w 709656"/>
                  <a:gd name="connsiteY3" fmla="*/ 526320 h 532881"/>
                  <a:gd name="connsiteX4" fmla="*/ 1 w 709656"/>
                  <a:gd name="connsiteY4" fmla="*/ 526320 h 532881"/>
                  <a:gd name="connsiteX5" fmla="*/ 1 w 709656"/>
                  <a:gd name="connsiteY5" fmla="*/ 526320 h 532881"/>
                  <a:gd name="connsiteX6" fmla="*/ 107232 w 709656"/>
                  <a:gd name="connsiteY6" fmla="*/ 532881 h 532881"/>
                  <a:gd name="connsiteX0" fmla="*/ 709656 w 709656"/>
                  <a:gd name="connsiteY0" fmla="*/ 409509 h 526327"/>
                  <a:gd name="connsiteX1" fmla="*/ 708220 w 709656"/>
                  <a:gd name="connsiteY1" fmla="*/ 1807 h 526327"/>
                  <a:gd name="connsiteX2" fmla="*/ 1 w 709656"/>
                  <a:gd name="connsiteY2" fmla="*/ 1807 h 526327"/>
                  <a:gd name="connsiteX3" fmla="*/ 1 w 709656"/>
                  <a:gd name="connsiteY3" fmla="*/ 526320 h 526327"/>
                  <a:gd name="connsiteX4" fmla="*/ 1 w 709656"/>
                  <a:gd name="connsiteY4" fmla="*/ 526320 h 526327"/>
                  <a:gd name="connsiteX5" fmla="*/ 1 w 709656"/>
                  <a:gd name="connsiteY5" fmla="*/ 526320 h 526327"/>
                  <a:gd name="connsiteX6" fmla="*/ 327968 w 709656"/>
                  <a:gd name="connsiteY6" fmla="*/ 525327 h 526327"/>
                  <a:gd name="connsiteX0" fmla="*/ 709656 w 709656"/>
                  <a:gd name="connsiteY0" fmla="*/ 409509 h 526340"/>
                  <a:gd name="connsiteX1" fmla="*/ 708220 w 709656"/>
                  <a:gd name="connsiteY1" fmla="*/ 1807 h 526340"/>
                  <a:gd name="connsiteX2" fmla="*/ 1 w 709656"/>
                  <a:gd name="connsiteY2" fmla="*/ 1807 h 526340"/>
                  <a:gd name="connsiteX3" fmla="*/ 1 w 709656"/>
                  <a:gd name="connsiteY3" fmla="*/ 526320 h 526340"/>
                  <a:gd name="connsiteX4" fmla="*/ 1 w 709656"/>
                  <a:gd name="connsiteY4" fmla="*/ 526320 h 526340"/>
                  <a:gd name="connsiteX5" fmla="*/ 1 w 709656"/>
                  <a:gd name="connsiteY5" fmla="*/ 526320 h 526340"/>
                  <a:gd name="connsiteX6" fmla="*/ 324611 w 709656"/>
                  <a:gd name="connsiteY6" fmla="*/ 526166 h 526340"/>
                  <a:gd name="connsiteX0" fmla="*/ 709656 w 709656"/>
                  <a:gd name="connsiteY0" fmla="*/ 409509 h 526324"/>
                  <a:gd name="connsiteX1" fmla="*/ 708220 w 709656"/>
                  <a:gd name="connsiteY1" fmla="*/ 1807 h 526324"/>
                  <a:gd name="connsiteX2" fmla="*/ 1 w 709656"/>
                  <a:gd name="connsiteY2" fmla="*/ 1807 h 526324"/>
                  <a:gd name="connsiteX3" fmla="*/ 1 w 709656"/>
                  <a:gd name="connsiteY3" fmla="*/ 526320 h 526324"/>
                  <a:gd name="connsiteX4" fmla="*/ 1 w 709656"/>
                  <a:gd name="connsiteY4" fmla="*/ 526320 h 526324"/>
                  <a:gd name="connsiteX5" fmla="*/ 1 w 709656"/>
                  <a:gd name="connsiteY5" fmla="*/ 526320 h 526324"/>
                  <a:gd name="connsiteX6" fmla="*/ 329647 w 709656"/>
                  <a:gd name="connsiteY6" fmla="*/ 524487 h 526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9656" h="526324">
                    <a:moveTo>
                      <a:pt x="709656" y="409509"/>
                    </a:moveTo>
                    <a:cubicBezTo>
                      <a:pt x="707261" y="256260"/>
                      <a:pt x="709925" y="178574"/>
                      <a:pt x="708220" y="1807"/>
                    </a:cubicBezTo>
                    <a:cubicBezTo>
                      <a:pt x="487044" y="-2261"/>
                      <a:pt x="236074" y="1807"/>
                      <a:pt x="1" y="1807"/>
                    </a:cubicBezTo>
                    <a:lnTo>
                      <a:pt x="1" y="526320"/>
                    </a:lnTo>
                    <a:lnTo>
                      <a:pt x="1" y="526320"/>
                    </a:lnTo>
                    <a:lnTo>
                      <a:pt x="1" y="526320"/>
                    </a:lnTo>
                    <a:cubicBezTo>
                      <a:pt x="-32" y="526434"/>
                      <a:pt x="329688" y="524344"/>
                      <a:pt x="329647" y="524487"/>
                    </a:cubicBezTo>
                  </a:path>
                </a:pathLst>
              </a:custGeom>
              <a:noFill/>
              <a:ln w="19050" cap="sq">
                <a:solidFill>
                  <a:schemeClr val="tx2"/>
                </a:solidFill>
                <a:prstDash val="solid"/>
                <a:miter/>
              </a:ln>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p>
            </p:txBody>
          </p:sp>
          <p:sp>
            <p:nvSpPr>
              <p:cNvPr id="40" name="Freeform 6">
                <a:extLst>
                  <a:ext uri="{FF2B5EF4-FFF2-40B4-BE49-F238E27FC236}">
                    <a16:creationId xmlns:a16="http://schemas.microsoft.com/office/drawing/2014/main" id="{97D0A2B2-B77A-43C7-A442-F186117910F6}"/>
                  </a:ext>
                </a:extLst>
              </p:cNvPr>
              <p:cNvSpPr>
                <a:spLocks noEditPoints="1"/>
              </p:cNvSpPr>
              <p:nvPr/>
            </p:nvSpPr>
            <p:spPr bwMode="auto">
              <a:xfrm>
                <a:off x="13294153" y="4852843"/>
                <a:ext cx="1945848" cy="1742143"/>
              </a:xfrm>
              <a:custGeom>
                <a:avLst/>
                <a:gdLst>
                  <a:gd name="T0" fmla="*/ 4 w 363"/>
                  <a:gd name="T1" fmla="*/ 325 h 325"/>
                  <a:gd name="T2" fmla="*/ 4 w 363"/>
                  <a:gd name="T3" fmla="*/ 277 h 325"/>
                  <a:gd name="T4" fmla="*/ 52 w 363"/>
                  <a:gd name="T5" fmla="*/ 325 h 325"/>
                  <a:gd name="T6" fmla="*/ 52 w 363"/>
                  <a:gd name="T7" fmla="*/ 229 h 325"/>
                  <a:gd name="T8" fmla="*/ 100 w 363"/>
                  <a:gd name="T9" fmla="*/ 325 h 325"/>
                  <a:gd name="T10" fmla="*/ 100 w 363"/>
                  <a:gd name="T11" fmla="*/ 181 h 325"/>
                  <a:gd name="T12" fmla="*/ 147 w 363"/>
                  <a:gd name="T13" fmla="*/ 325 h 325"/>
                  <a:gd name="T14" fmla="*/ 147 w 363"/>
                  <a:gd name="T15" fmla="*/ 133 h 325"/>
                  <a:gd name="T16" fmla="*/ 195 w 363"/>
                  <a:gd name="T17" fmla="*/ 325 h 325"/>
                  <a:gd name="T18" fmla="*/ 195 w 363"/>
                  <a:gd name="T19" fmla="*/ 133 h 325"/>
                  <a:gd name="T20" fmla="*/ 243 w 363"/>
                  <a:gd name="T21" fmla="*/ 325 h 325"/>
                  <a:gd name="T22" fmla="*/ 243 w 363"/>
                  <a:gd name="T23" fmla="*/ 180 h 325"/>
                  <a:gd name="T24" fmla="*/ 291 w 363"/>
                  <a:gd name="T25" fmla="*/ 325 h 325"/>
                  <a:gd name="T26" fmla="*/ 291 w 363"/>
                  <a:gd name="T27" fmla="*/ 133 h 325"/>
                  <a:gd name="T28" fmla="*/ 339 w 363"/>
                  <a:gd name="T29" fmla="*/ 325 h 325"/>
                  <a:gd name="T30" fmla="*/ 339 w 363"/>
                  <a:gd name="T31" fmla="*/ 109 h 325"/>
                  <a:gd name="T32" fmla="*/ 362 w 363"/>
                  <a:gd name="T33" fmla="*/ 0 h 325"/>
                  <a:gd name="T34" fmla="*/ 243 w 363"/>
                  <a:gd name="T35" fmla="*/ 120 h 325"/>
                  <a:gd name="T36" fmla="*/ 171 w 363"/>
                  <a:gd name="T37" fmla="*/ 48 h 325"/>
                  <a:gd name="T38" fmla="*/ 0 w 363"/>
                  <a:gd name="T39" fmla="*/ 220 h 325"/>
                  <a:gd name="T40" fmla="*/ 363 w 363"/>
                  <a:gd name="T41" fmla="*/ 72 h 325"/>
                  <a:gd name="T42" fmla="*/ 363 w 363"/>
                  <a:gd name="T43" fmla="*/ 0 h 325"/>
                  <a:gd name="T44" fmla="*/ 291 w 363"/>
                  <a:gd name="T45" fmla="*/ 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3" h="325">
                    <a:moveTo>
                      <a:pt x="4" y="325"/>
                    </a:moveTo>
                    <a:lnTo>
                      <a:pt x="4" y="277"/>
                    </a:lnTo>
                    <a:moveTo>
                      <a:pt x="52" y="325"/>
                    </a:moveTo>
                    <a:lnTo>
                      <a:pt x="52" y="229"/>
                    </a:lnTo>
                    <a:moveTo>
                      <a:pt x="100" y="325"/>
                    </a:moveTo>
                    <a:lnTo>
                      <a:pt x="100" y="181"/>
                    </a:lnTo>
                    <a:moveTo>
                      <a:pt x="147" y="325"/>
                    </a:moveTo>
                    <a:lnTo>
                      <a:pt x="147" y="133"/>
                    </a:lnTo>
                    <a:moveTo>
                      <a:pt x="195" y="325"/>
                    </a:moveTo>
                    <a:lnTo>
                      <a:pt x="195" y="133"/>
                    </a:lnTo>
                    <a:moveTo>
                      <a:pt x="243" y="325"/>
                    </a:moveTo>
                    <a:lnTo>
                      <a:pt x="243" y="180"/>
                    </a:lnTo>
                    <a:moveTo>
                      <a:pt x="291" y="325"/>
                    </a:moveTo>
                    <a:lnTo>
                      <a:pt x="291" y="133"/>
                    </a:lnTo>
                    <a:moveTo>
                      <a:pt x="339" y="325"/>
                    </a:moveTo>
                    <a:lnTo>
                      <a:pt x="339" y="109"/>
                    </a:lnTo>
                    <a:moveTo>
                      <a:pt x="362" y="0"/>
                    </a:moveTo>
                    <a:lnTo>
                      <a:pt x="243" y="120"/>
                    </a:lnTo>
                    <a:lnTo>
                      <a:pt x="171" y="48"/>
                    </a:lnTo>
                    <a:lnTo>
                      <a:pt x="0" y="220"/>
                    </a:lnTo>
                    <a:moveTo>
                      <a:pt x="363" y="72"/>
                    </a:moveTo>
                    <a:lnTo>
                      <a:pt x="363" y="0"/>
                    </a:lnTo>
                    <a:lnTo>
                      <a:pt x="291" y="0"/>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7" name="Oval 36">
              <a:extLst>
                <a:ext uri="{FF2B5EF4-FFF2-40B4-BE49-F238E27FC236}">
                  <a16:creationId xmlns:a16="http://schemas.microsoft.com/office/drawing/2014/main" id="{37340345-85A9-4515-8492-56C6DBDA6297}"/>
                </a:ext>
              </a:extLst>
            </p:cNvPr>
            <p:cNvSpPr/>
            <p:nvPr/>
          </p:nvSpPr>
          <p:spPr bwMode="auto">
            <a:xfrm>
              <a:off x="9451220" y="3231556"/>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spTree>
    <p:extLst>
      <p:ext uri="{BB962C8B-B14F-4D97-AF65-F5344CB8AC3E}">
        <p14:creationId xmlns:p14="http://schemas.microsoft.com/office/powerpoint/2010/main" val="289644428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DD3384B-76F8-4BCA-999E-79F31E1339E1}"/>
              </a:ext>
            </a:extLst>
          </p:cNvPr>
          <p:cNvSpPr>
            <a:spLocks noGrp="1"/>
          </p:cNvSpPr>
          <p:nvPr>
            <p:ph type="title"/>
          </p:nvPr>
        </p:nvSpPr>
        <p:spPr>
          <a:xfrm>
            <a:off x="457200" y="503238"/>
            <a:ext cx="10788650" cy="1208604"/>
          </a:xfrm>
        </p:spPr>
        <p:txBody>
          <a:bodyPr/>
          <a:lstStyle/>
          <a:p>
            <a:r>
              <a:rPr lang="en-US">
                <a:solidFill>
                  <a:schemeClr val="tx2"/>
                </a:solidFill>
                <a:latin typeface="Segoe UI Semibold" panose="020B0702040204020203" pitchFamily="34" charset="0"/>
                <a:cs typeface="Segoe UI Semibold" panose="020B0702040204020203" pitchFamily="34" charset="0"/>
              </a:rPr>
              <a:t>Have confidence students are protected </a:t>
            </a:r>
            <a:r>
              <a:rPr lang="en-US"/>
              <a:t>with industry-leading security </a:t>
            </a:r>
          </a:p>
        </p:txBody>
      </p:sp>
      <p:pic>
        <p:nvPicPr>
          <p:cNvPr id="4" name="Picture 3" descr="A young girl smiling in front of her laptop on a table inside">
            <a:extLst>
              <a:ext uri="{FF2B5EF4-FFF2-40B4-BE49-F238E27FC236}">
                <a16:creationId xmlns:a16="http://schemas.microsoft.com/office/drawing/2014/main" id="{016ECF10-9DFE-4018-9567-DD6F99564BB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57197" y="1818100"/>
            <a:ext cx="5642378" cy="4803363"/>
          </a:xfrm>
          <a:prstGeom prst="rect">
            <a:avLst/>
          </a:prstGeom>
        </p:spPr>
      </p:pic>
      <p:grpSp>
        <p:nvGrpSpPr>
          <p:cNvPr id="36" name="Group 35">
            <a:extLst>
              <a:ext uri="{FF2B5EF4-FFF2-40B4-BE49-F238E27FC236}">
                <a16:creationId xmlns:a16="http://schemas.microsoft.com/office/drawing/2014/main" id="{969F009C-6EFC-4B81-A7FC-4C5A4EBEE834}"/>
              </a:ext>
              <a:ext uri="{C183D7F6-B498-43B3-948B-1728B52AA6E4}">
                <adec:decorative xmlns:adec="http://schemas.microsoft.com/office/drawing/2017/decorative" val="1"/>
              </a:ext>
            </a:extLst>
          </p:cNvPr>
          <p:cNvGrpSpPr/>
          <p:nvPr/>
        </p:nvGrpSpPr>
        <p:grpSpPr>
          <a:xfrm>
            <a:off x="11488324" y="162790"/>
            <a:ext cx="777240" cy="778243"/>
            <a:chOff x="9451220" y="3231556"/>
            <a:chExt cx="1466268" cy="1466264"/>
          </a:xfrm>
        </p:grpSpPr>
        <p:grpSp>
          <p:nvGrpSpPr>
            <p:cNvPr id="37" name="Group 36">
              <a:extLst>
                <a:ext uri="{FF2B5EF4-FFF2-40B4-BE49-F238E27FC236}">
                  <a16:creationId xmlns:a16="http://schemas.microsoft.com/office/drawing/2014/main" id="{585B4A00-577E-4A0C-8681-3A0C55C4CE6B}"/>
                </a:ext>
              </a:extLst>
            </p:cNvPr>
            <p:cNvGrpSpPr/>
            <p:nvPr/>
          </p:nvGrpSpPr>
          <p:grpSpPr>
            <a:xfrm>
              <a:off x="9858188" y="3517807"/>
              <a:ext cx="652332" cy="893762"/>
              <a:chOff x="12901109" y="3390467"/>
              <a:chExt cx="2338892" cy="3204519"/>
            </a:xfrm>
          </p:grpSpPr>
          <p:sp>
            <p:nvSpPr>
              <p:cNvPr id="39" name="Freeform: Shape 38">
                <a:extLst>
                  <a:ext uri="{FF2B5EF4-FFF2-40B4-BE49-F238E27FC236}">
                    <a16:creationId xmlns:a16="http://schemas.microsoft.com/office/drawing/2014/main" id="{1FFD3083-7D85-417A-A970-31DD8E3577B6}"/>
                  </a:ext>
                </a:extLst>
              </p:cNvPr>
              <p:cNvSpPr/>
              <p:nvPr/>
            </p:nvSpPr>
            <p:spPr>
              <a:xfrm>
                <a:off x="13188664" y="3390467"/>
                <a:ext cx="1006470" cy="1052478"/>
              </a:xfrm>
              <a:custGeom>
                <a:avLst/>
                <a:gdLst>
                  <a:gd name="connsiteX0" fmla="*/ 0 w 443429"/>
                  <a:gd name="connsiteY0" fmla="*/ 463700 h 463700"/>
                  <a:gd name="connsiteX1" fmla="*/ 0 w 443429"/>
                  <a:gd name="connsiteY1" fmla="*/ 221715 h 463700"/>
                  <a:gd name="connsiteX2" fmla="*/ 221715 w 443429"/>
                  <a:gd name="connsiteY2" fmla="*/ 0 h 463700"/>
                  <a:gd name="connsiteX3" fmla="*/ 443429 w 443429"/>
                  <a:gd name="connsiteY3" fmla="*/ 221715 h 463700"/>
                  <a:gd name="connsiteX4" fmla="*/ 443429 w 443429"/>
                  <a:gd name="connsiteY4" fmla="*/ 463700 h 463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429" h="463700">
                    <a:moveTo>
                      <a:pt x="0" y="463700"/>
                    </a:moveTo>
                    <a:cubicBezTo>
                      <a:pt x="0" y="221715"/>
                      <a:pt x="0" y="221715"/>
                      <a:pt x="0" y="221715"/>
                    </a:cubicBezTo>
                    <a:cubicBezTo>
                      <a:pt x="0" y="101355"/>
                      <a:pt x="97555" y="0"/>
                      <a:pt x="221715" y="0"/>
                    </a:cubicBezTo>
                    <a:cubicBezTo>
                      <a:pt x="345875" y="0"/>
                      <a:pt x="443429" y="100088"/>
                      <a:pt x="443429" y="221715"/>
                    </a:cubicBezTo>
                    <a:cubicBezTo>
                      <a:pt x="443429" y="463700"/>
                      <a:pt x="443429" y="463700"/>
                      <a:pt x="443429" y="463700"/>
                    </a:cubicBezTo>
                  </a:path>
                </a:pathLst>
              </a:custGeom>
              <a:noFill/>
              <a:ln w="19050" cap="sq">
                <a:solidFill>
                  <a:schemeClr val="tx2"/>
                </a:solidFill>
                <a:prstDash val="solid"/>
                <a:miter/>
              </a:ln>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p>
            </p:txBody>
          </p:sp>
          <p:sp>
            <p:nvSpPr>
              <p:cNvPr id="40" name="Freeform: Shape 39">
                <a:extLst>
                  <a:ext uri="{FF2B5EF4-FFF2-40B4-BE49-F238E27FC236}">
                    <a16:creationId xmlns:a16="http://schemas.microsoft.com/office/drawing/2014/main" id="{9F07ED23-2811-4E4D-9C91-DED3DC360406}"/>
                  </a:ext>
                </a:extLst>
              </p:cNvPr>
              <p:cNvSpPr/>
              <p:nvPr/>
            </p:nvSpPr>
            <p:spPr>
              <a:xfrm>
                <a:off x="12901109" y="4476924"/>
                <a:ext cx="1610742" cy="1194621"/>
              </a:xfrm>
              <a:custGeom>
                <a:avLst/>
                <a:gdLst>
                  <a:gd name="connsiteX0" fmla="*/ 0 w 708219"/>
                  <a:gd name="connsiteY0" fmla="*/ 524513 h 524513"/>
                  <a:gd name="connsiteX1" fmla="*/ 708219 w 708219"/>
                  <a:gd name="connsiteY1" fmla="*/ 524513 h 524513"/>
                  <a:gd name="connsiteX2" fmla="*/ 708219 w 708219"/>
                  <a:gd name="connsiteY2" fmla="*/ 0 h 524513"/>
                  <a:gd name="connsiteX3" fmla="*/ 0 w 708219"/>
                  <a:gd name="connsiteY3" fmla="*/ 0 h 524513"/>
                  <a:gd name="connsiteX4" fmla="*/ 0 w 708219"/>
                  <a:gd name="connsiteY4" fmla="*/ 524513 h 524513"/>
                  <a:gd name="connsiteX5" fmla="*/ 0 w 708219"/>
                  <a:gd name="connsiteY5" fmla="*/ 524513 h 524513"/>
                  <a:gd name="connsiteX6" fmla="*/ 0 w 708219"/>
                  <a:gd name="connsiteY6" fmla="*/ 524513 h 524513"/>
                  <a:gd name="connsiteX0" fmla="*/ 708219 w 880918"/>
                  <a:gd name="connsiteY0" fmla="*/ 524513 h 697212"/>
                  <a:gd name="connsiteX1" fmla="*/ 708219 w 880918"/>
                  <a:gd name="connsiteY1" fmla="*/ 0 h 697212"/>
                  <a:gd name="connsiteX2" fmla="*/ 0 w 880918"/>
                  <a:gd name="connsiteY2" fmla="*/ 0 h 697212"/>
                  <a:gd name="connsiteX3" fmla="*/ 0 w 880918"/>
                  <a:gd name="connsiteY3" fmla="*/ 524513 h 697212"/>
                  <a:gd name="connsiteX4" fmla="*/ 0 w 880918"/>
                  <a:gd name="connsiteY4" fmla="*/ 524513 h 697212"/>
                  <a:gd name="connsiteX5" fmla="*/ 0 w 880918"/>
                  <a:gd name="connsiteY5" fmla="*/ 524513 h 697212"/>
                  <a:gd name="connsiteX6" fmla="*/ 880918 w 880918"/>
                  <a:gd name="connsiteY6" fmla="*/ 697212 h 697212"/>
                  <a:gd name="connsiteX0" fmla="*/ 708219 w 708219"/>
                  <a:gd name="connsiteY0" fmla="*/ 524513 h 524513"/>
                  <a:gd name="connsiteX1" fmla="*/ 708219 w 708219"/>
                  <a:gd name="connsiteY1" fmla="*/ 0 h 524513"/>
                  <a:gd name="connsiteX2" fmla="*/ 0 w 708219"/>
                  <a:gd name="connsiteY2" fmla="*/ 0 h 524513"/>
                  <a:gd name="connsiteX3" fmla="*/ 0 w 708219"/>
                  <a:gd name="connsiteY3" fmla="*/ 524513 h 524513"/>
                  <a:gd name="connsiteX4" fmla="*/ 0 w 708219"/>
                  <a:gd name="connsiteY4" fmla="*/ 524513 h 524513"/>
                  <a:gd name="connsiteX5" fmla="*/ 0 w 708219"/>
                  <a:gd name="connsiteY5" fmla="*/ 524513 h 524513"/>
                  <a:gd name="connsiteX6" fmla="*/ 323244 w 708219"/>
                  <a:gd name="connsiteY6" fmla="*/ 517317 h 524513"/>
                  <a:gd name="connsiteX0" fmla="*/ 708219 w 708219"/>
                  <a:gd name="connsiteY0" fmla="*/ 524513 h 524513"/>
                  <a:gd name="connsiteX1" fmla="*/ 708219 w 708219"/>
                  <a:gd name="connsiteY1" fmla="*/ 0 h 524513"/>
                  <a:gd name="connsiteX2" fmla="*/ 0 w 708219"/>
                  <a:gd name="connsiteY2" fmla="*/ 0 h 524513"/>
                  <a:gd name="connsiteX3" fmla="*/ 0 w 708219"/>
                  <a:gd name="connsiteY3" fmla="*/ 524513 h 524513"/>
                  <a:gd name="connsiteX4" fmla="*/ 0 w 708219"/>
                  <a:gd name="connsiteY4" fmla="*/ 524513 h 524513"/>
                  <a:gd name="connsiteX5" fmla="*/ 0 w 708219"/>
                  <a:gd name="connsiteY5" fmla="*/ 524513 h 524513"/>
                  <a:gd name="connsiteX6" fmla="*/ 49804 w 708219"/>
                  <a:gd name="connsiteY6" fmla="*/ 520915 h 524513"/>
                  <a:gd name="connsiteX0" fmla="*/ 701023 w 758848"/>
                  <a:gd name="connsiteY0" fmla="*/ 420384 h 553506"/>
                  <a:gd name="connsiteX1" fmla="*/ 708219 w 758848"/>
                  <a:gd name="connsiteY1" fmla="*/ 28993 h 553506"/>
                  <a:gd name="connsiteX2" fmla="*/ 0 w 758848"/>
                  <a:gd name="connsiteY2" fmla="*/ 28993 h 553506"/>
                  <a:gd name="connsiteX3" fmla="*/ 0 w 758848"/>
                  <a:gd name="connsiteY3" fmla="*/ 553506 h 553506"/>
                  <a:gd name="connsiteX4" fmla="*/ 0 w 758848"/>
                  <a:gd name="connsiteY4" fmla="*/ 553506 h 553506"/>
                  <a:gd name="connsiteX5" fmla="*/ 0 w 758848"/>
                  <a:gd name="connsiteY5" fmla="*/ 553506 h 553506"/>
                  <a:gd name="connsiteX6" fmla="*/ 49804 w 758848"/>
                  <a:gd name="connsiteY6" fmla="*/ 549908 h 553506"/>
                  <a:gd name="connsiteX0" fmla="*/ 701023 w 758850"/>
                  <a:gd name="connsiteY0" fmla="*/ 401195 h 534317"/>
                  <a:gd name="connsiteX1" fmla="*/ 708219 w 758850"/>
                  <a:gd name="connsiteY1" fmla="*/ 9804 h 534317"/>
                  <a:gd name="connsiteX2" fmla="*/ 0 w 758850"/>
                  <a:gd name="connsiteY2" fmla="*/ 9804 h 534317"/>
                  <a:gd name="connsiteX3" fmla="*/ 0 w 758850"/>
                  <a:gd name="connsiteY3" fmla="*/ 534317 h 534317"/>
                  <a:gd name="connsiteX4" fmla="*/ 0 w 758850"/>
                  <a:gd name="connsiteY4" fmla="*/ 534317 h 534317"/>
                  <a:gd name="connsiteX5" fmla="*/ 0 w 758850"/>
                  <a:gd name="connsiteY5" fmla="*/ 534317 h 534317"/>
                  <a:gd name="connsiteX6" fmla="*/ 49804 w 758850"/>
                  <a:gd name="connsiteY6" fmla="*/ 530719 h 534317"/>
                  <a:gd name="connsiteX0" fmla="*/ 701023 w 708500"/>
                  <a:gd name="connsiteY0" fmla="*/ 401195 h 534317"/>
                  <a:gd name="connsiteX1" fmla="*/ 708219 w 708500"/>
                  <a:gd name="connsiteY1" fmla="*/ 9804 h 534317"/>
                  <a:gd name="connsiteX2" fmla="*/ 0 w 708500"/>
                  <a:gd name="connsiteY2" fmla="*/ 9804 h 534317"/>
                  <a:gd name="connsiteX3" fmla="*/ 0 w 708500"/>
                  <a:gd name="connsiteY3" fmla="*/ 534317 h 534317"/>
                  <a:gd name="connsiteX4" fmla="*/ 0 w 708500"/>
                  <a:gd name="connsiteY4" fmla="*/ 534317 h 534317"/>
                  <a:gd name="connsiteX5" fmla="*/ 0 w 708500"/>
                  <a:gd name="connsiteY5" fmla="*/ 534317 h 534317"/>
                  <a:gd name="connsiteX6" fmla="*/ 49804 w 708500"/>
                  <a:gd name="connsiteY6" fmla="*/ 530719 h 534317"/>
                  <a:gd name="connsiteX0" fmla="*/ 701023 w 708500"/>
                  <a:gd name="connsiteY0" fmla="*/ 391391 h 524513"/>
                  <a:gd name="connsiteX1" fmla="*/ 708219 w 708500"/>
                  <a:gd name="connsiteY1" fmla="*/ 0 h 524513"/>
                  <a:gd name="connsiteX2" fmla="*/ 0 w 708500"/>
                  <a:gd name="connsiteY2" fmla="*/ 0 h 524513"/>
                  <a:gd name="connsiteX3" fmla="*/ 0 w 708500"/>
                  <a:gd name="connsiteY3" fmla="*/ 524513 h 524513"/>
                  <a:gd name="connsiteX4" fmla="*/ 0 w 708500"/>
                  <a:gd name="connsiteY4" fmla="*/ 524513 h 524513"/>
                  <a:gd name="connsiteX5" fmla="*/ 0 w 708500"/>
                  <a:gd name="connsiteY5" fmla="*/ 524513 h 524513"/>
                  <a:gd name="connsiteX6" fmla="*/ 49804 w 708500"/>
                  <a:gd name="connsiteY6" fmla="*/ 520915 h 524513"/>
                  <a:gd name="connsiteX0" fmla="*/ 701023 w 708500"/>
                  <a:gd name="connsiteY0" fmla="*/ 399595 h 532717"/>
                  <a:gd name="connsiteX1" fmla="*/ 708219 w 708500"/>
                  <a:gd name="connsiteY1" fmla="*/ 8204 h 532717"/>
                  <a:gd name="connsiteX2" fmla="*/ 0 w 708500"/>
                  <a:gd name="connsiteY2" fmla="*/ 8204 h 532717"/>
                  <a:gd name="connsiteX3" fmla="*/ 0 w 708500"/>
                  <a:gd name="connsiteY3" fmla="*/ 532717 h 532717"/>
                  <a:gd name="connsiteX4" fmla="*/ 0 w 708500"/>
                  <a:gd name="connsiteY4" fmla="*/ 532717 h 532717"/>
                  <a:gd name="connsiteX5" fmla="*/ 0 w 708500"/>
                  <a:gd name="connsiteY5" fmla="*/ 532717 h 532717"/>
                  <a:gd name="connsiteX6" fmla="*/ 49804 w 708500"/>
                  <a:gd name="connsiteY6" fmla="*/ 529119 h 532717"/>
                  <a:gd name="connsiteX0" fmla="*/ 701023 w 708500"/>
                  <a:gd name="connsiteY0" fmla="*/ 393198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01023 w 708500"/>
                  <a:gd name="connsiteY0" fmla="*/ 393198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11816 w 712529"/>
                  <a:gd name="connsiteY0" fmla="*/ 400394 h 526320"/>
                  <a:gd name="connsiteX1" fmla="*/ 708219 w 712529"/>
                  <a:gd name="connsiteY1" fmla="*/ 1807 h 526320"/>
                  <a:gd name="connsiteX2" fmla="*/ 0 w 712529"/>
                  <a:gd name="connsiteY2" fmla="*/ 1807 h 526320"/>
                  <a:gd name="connsiteX3" fmla="*/ 0 w 712529"/>
                  <a:gd name="connsiteY3" fmla="*/ 526320 h 526320"/>
                  <a:gd name="connsiteX4" fmla="*/ 0 w 712529"/>
                  <a:gd name="connsiteY4" fmla="*/ 526320 h 526320"/>
                  <a:gd name="connsiteX5" fmla="*/ 0 w 712529"/>
                  <a:gd name="connsiteY5" fmla="*/ 526320 h 526320"/>
                  <a:gd name="connsiteX6" fmla="*/ 49804 w 712529"/>
                  <a:gd name="connsiteY6" fmla="*/ 522722 h 526320"/>
                  <a:gd name="connsiteX0" fmla="*/ 697423 w 708412"/>
                  <a:gd name="connsiteY0" fmla="*/ 393198 h 526320"/>
                  <a:gd name="connsiteX1" fmla="*/ 708219 w 708412"/>
                  <a:gd name="connsiteY1" fmla="*/ 1807 h 526320"/>
                  <a:gd name="connsiteX2" fmla="*/ 0 w 708412"/>
                  <a:gd name="connsiteY2" fmla="*/ 1807 h 526320"/>
                  <a:gd name="connsiteX3" fmla="*/ 0 w 708412"/>
                  <a:gd name="connsiteY3" fmla="*/ 526320 h 526320"/>
                  <a:gd name="connsiteX4" fmla="*/ 0 w 708412"/>
                  <a:gd name="connsiteY4" fmla="*/ 526320 h 526320"/>
                  <a:gd name="connsiteX5" fmla="*/ 0 w 708412"/>
                  <a:gd name="connsiteY5" fmla="*/ 526320 h 526320"/>
                  <a:gd name="connsiteX6" fmla="*/ 49804 w 708412"/>
                  <a:gd name="connsiteY6" fmla="*/ 522722 h 526320"/>
                  <a:gd name="connsiteX0" fmla="*/ 711815 w 712527"/>
                  <a:gd name="connsiteY0" fmla="*/ 400394 h 526320"/>
                  <a:gd name="connsiteX1" fmla="*/ 708219 w 712527"/>
                  <a:gd name="connsiteY1" fmla="*/ 1807 h 526320"/>
                  <a:gd name="connsiteX2" fmla="*/ 0 w 712527"/>
                  <a:gd name="connsiteY2" fmla="*/ 1807 h 526320"/>
                  <a:gd name="connsiteX3" fmla="*/ 0 w 712527"/>
                  <a:gd name="connsiteY3" fmla="*/ 526320 h 526320"/>
                  <a:gd name="connsiteX4" fmla="*/ 0 w 712527"/>
                  <a:gd name="connsiteY4" fmla="*/ 526320 h 526320"/>
                  <a:gd name="connsiteX5" fmla="*/ 0 w 712527"/>
                  <a:gd name="connsiteY5" fmla="*/ 526320 h 526320"/>
                  <a:gd name="connsiteX6" fmla="*/ 49804 w 712527"/>
                  <a:gd name="connsiteY6" fmla="*/ 522722 h 526320"/>
                  <a:gd name="connsiteX0" fmla="*/ 701021 w 708500"/>
                  <a:gd name="connsiteY0" fmla="*/ 403992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11815 w 712527"/>
                  <a:gd name="connsiteY0" fmla="*/ 418383 h 526320"/>
                  <a:gd name="connsiteX1" fmla="*/ 708219 w 712527"/>
                  <a:gd name="connsiteY1" fmla="*/ 1807 h 526320"/>
                  <a:gd name="connsiteX2" fmla="*/ 0 w 712527"/>
                  <a:gd name="connsiteY2" fmla="*/ 1807 h 526320"/>
                  <a:gd name="connsiteX3" fmla="*/ 0 w 712527"/>
                  <a:gd name="connsiteY3" fmla="*/ 526320 h 526320"/>
                  <a:gd name="connsiteX4" fmla="*/ 0 w 712527"/>
                  <a:gd name="connsiteY4" fmla="*/ 526320 h 526320"/>
                  <a:gd name="connsiteX5" fmla="*/ 0 w 712527"/>
                  <a:gd name="connsiteY5" fmla="*/ 526320 h 526320"/>
                  <a:gd name="connsiteX6" fmla="*/ 49804 w 712527"/>
                  <a:gd name="connsiteY6" fmla="*/ 522722 h 526320"/>
                  <a:gd name="connsiteX0" fmla="*/ 701021 w 708500"/>
                  <a:gd name="connsiteY0" fmla="*/ 407589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04619 w 708730"/>
                  <a:gd name="connsiteY0" fmla="*/ 411187 h 526320"/>
                  <a:gd name="connsiteX1" fmla="*/ 708219 w 708730"/>
                  <a:gd name="connsiteY1" fmla="*/ 1807 h 526320"/>
                  <a:gd name="connsiteX2" fmla="*/ 0 w 708730"/>
                  <a:gd name="connsiteY2" fmla="*/ 1807 h 526320"/>
                  <a:gd name="connsiteX3" fmla="*/ 0 w 708730"/>
                  <a:gd name="connsiteY3" fmla="*/ 526320 h 526320"/>
                  <a:gd name="connsiteX4" fmla="*/ 0 w 708730"/>
                  <a:gd name="connsiteY4" fmla="*/ 526320 h 526320"/>
                  <a:gd name="connsiteX5" fmla="*/ 0 w 708730"/>
                  <a:gd name="connsiteY5" fmla="*/ 526320 h 526320"/>
                  <a:gd name="connsiteX6" fmla="*/ 49804 w 708730"/>
                  <a:gd name="connsiteY6" fmla="*/ 522722 h 526320"/>
                  <a:gd name="connsiteX0" fmla="*/ 704619 w 709416"/>
                  <a:gd name="connsiteY0" fmla="*/ 411187 h 526320"/>
                  <a:gd name="connsiteX1" fmla="*/ 708219 w 709416"/>
                  <a:gd name="connsiteY1" fmla="*/ 1807 h 526320"/>
                  <a:gd name="connsiteX2" fmla="*/ 0 w 709416"/>
                  <a:gd name="connsiteY2" fmla="*/ 1807 h 526320"/>
                  <a:gd name="connsiteX3" fmla="*/ 0 w 709416"/>
                  <a:gd name="connsiteY3" fmla="*/ 526320 h 526320"/>
                  <a:gd name="connsiteX4" fmla="*/ 0 w 709416"/>
                  <a:gd name="connsiteY4" fmla="*/ 526320 h 526320"/>
                  <a:gd name="connsiteX5" fmla="*/ 0 w 709416"/>
                  <a:gd name="connsiteY5" fmla="*/ 526320 h 526320"/>
                  <a:gd name="connsiteX6" fmla="*/ 49804 w 709416"/>
                  <a:gd name="connsiteY6" fmla="*/ 522722 h 526320"/>
                  <a:gd name="connsiteX0" fmla="*/ 709655 w 712327"/>
                  <a:gd name="connsiteY0" fmla="*/ 412866 h 526320"/>
                  <a:gd name="connsiteX1" fmla="*/ 708219 w 712327"/>
                  <a:gd name="connsiteY1" fmla="*/ 1807 h 526320"/>
                  <a:gd name="connsiteX2" fmla="*/ 0 w 712327"/>
                  <a:gd name="connsiteY2" fmla="*/ 1807 h 526320"/>
                  <a:gd name="connsiteX3" fmla="*/ 0 w 712327"/>
                  <a:gd name="connsiteY3" fmla="*/ 526320 h 526320"/>
                  <a:gd name="connsiteX4" fmla="*/ 0 w 712327"/>
                  <a:gd name="connsiteY4" fmla="*/ 526320 h 526320"/>
                  <a:gd name="connsiteX5" fmla="*/ 0 w 712327"/>
                  <a:gd name="connsiteY5" fmla="*/ 526320 h 526320"/>
                  <a:gd name="connsiteX6" fmla="*/ 49804 w 712327"/>
                  <a:gd name="connsiteY6" fmla="*/ 522722 h 526320"/>
                  <a:gd name="connsiteX0" fmla="*/ 709655 w 709655"/>
                  <a:gd name="connsiteY0" fmla="*/ 412866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9655 w 709655"/>
                  <a:gd name="connsiteY0" fmla="*/ 412866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6298 w 708527"/>
                  <a:gd name="connsiteY0" fmla="*/ 409509 h 526320"/>
                  <a:gd name="connsiteX1" fmla="*/ 708219 w 708527"/>
                  <a:gd name="connsiteY1" fmla="*/ 1807 h 526320"/>
                  <a:gd name="connsiteX2" fmla="*/ 0 w 708527"/>
                  <a:gd name="connsiteY2" fmla="*/ 1807 h 526320"/>
                  <a:gd name="connsiteX3" fmla="*/ 0 w 708527"/>
                  <a:gd name="connsiteY3" fmla="*/ 526320 h 526320"/>
                  <a:gd name="connsiteX4" fmla="*/ 0 w 708527"/>
                  <a:gd name="connsiteY4" fmla="*/ 526320 h 526320"/>
                  <a:gd name="connsiteX5" fmla="*/ 0 w 708527"/>
                  <a:gd name="connsiteY5" fmla="*/ 526320 h 526320"/>
                  <a:gd name="connsiteX6" fmla="*/ 49804 w 708527"/>
                  <a:gd name="connsiteY6" fmla="*/ 522722 h 526320"/>
                  <a:gd name="connsiteX0" fmla="*/ 708816 w 708816"/>
                  <a:gd name="connsiteY0" fmla="*/ 408670 h 526320"/>
                  <a:gd name="connsiteX1" fmla="*/ 708219 w 708816"/>
                  <a:gd name="connsiteY1" fmla="*/ 1807 h 526320"/>
                  <a:gd name="connsiteX2" fmla="*/ 0 w 708816"/>
                  <a:gd name="connsiteY2" fmla="*/ 1807 h 526320"/>
                  <a:gd name="connsiteX3" fmla="*/ 0 w 708816"/>
                  <a:gd name="connsiteY3" fmla="*/ 526320 h 526320"/>
                  <a:gd name="connsiteX4" fmla="*/ 0 w 708816"/>
                  <a:gd name="connsiteY4" fmla="*/ 526320 h 526320"/>
                  <a:gd name="connsiteX5" fmla="*/ 0 w 708816"/>
                  <a:gd name="connsiteY5" fmla="*/ 526320 h 526320"/>
                  <a:gd name="connsiteX6" fmla="*/ 49804 w 708816"/>
                  <a:gd name="connsiteY6" fmla="*/ 522722 h 526320"/>
                  <a:gd name="connsiteX0" fmla="*/ 709655 w 709655"/>
                  <a:gd name="connsiteY0" fmla="*/ 409509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9655 w 709655"/>
                  <a:gd name="connsiteY0" fmla="*/ 409509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9655 w 709655"/>
                  <a:gd name="connsiteY0" fmla="*/ 409509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0" fmla="*/ 709854 w 709854"/>
                  <a:gd name="connsiteY0" fmla="*/ 409509 h 527006"/>
                  <a:gd name="connsiteX1" fmla="*/ 708418 w 709854"/>
                  <a:gd name="connsiteY1" fmla="*/ 1807 h 527006"/>
                  <a:gd name="connsiteX2" fmla="*/ 199 w 709854"/>
                  <a:gd name="connsiteY2" fmla="*/ 1807 h 527006"/>
                  <a:gd name="connsiteX3" fmla="*/ 199 w 709854"/>
                  <a:gd name="connsiteY3" fmla="*/ 526320 h 527006"/>
                  <a:gd name="connsiteX4" fmla="*/ 199 w 709854"/>
                  <a:gd name="connsiteY4" fmla="*/ 526320 h 527006"/>
                  <a:gd name="connsiteX5" fmla="*/ 199 w 709854"/>
                  <a:gd name="connsiteY5" fmla="*/ 526320 h 527006"/>
                  <a:gd name="connsiteX6" fmla="*/ 0 w 709854"/>
                  <a:gd name="connsiteY6" fmla="*/ 527006 h 527006"/>
                  <a:gd name="connsiteX0" fmla="*/ 709656 w 709656"/>
                  <a:gd name="connsiteY0" fmla="*/ 409509 h 532881"/>
                  <a:gd name="connsiteX1" fmla="*/ 708220 w 709656"/>
                  <a:gd name="connsiteY1" fmla="*/ 1807 h 532881"/>
                  <a:gd name="connsiteX2" fmla="*/ 1 w 709656"/>
                  <a:gd name="connsiteY2" fmla="*/ 1807 h 532881"/>
                  <a:gd name="connsiteX3" fmla="*/ 1 w 709656"/>
                  <a:gd name="connsiteY3" fmla="*/ 526320 h 532881"/>
                  <a:gd name="connsiteX4" fmla="*/ 1 w 709656"/>
                  <a:gd name="connsiteY4" fmla="*/ 526320 h 532881"/>
                  <a:gd name="connsiteX5" fmla="*/ 1 w 709656"/>
                  <a:gd name="connsiteY5" fmla="*/ 526320 h 532881"/>
                  <a:gd name="connsiteX6" fmla="*/ 107232 w 709656"/>
                  <a:gd name="connsiteY6" fmla="*/ 532881 h 532881"/>
                  <a:gd name="connsiteX0" fmla="*/ 709656 w 709656"/>
                  <a:gd name="connsiteY0" fmla="*/ 409509 h 526327"/>
                  <a:gd name="connsiteX1" fmla="*/ 708220 w 709656"/>
                  <a:gd name="connsiteY1" fmla="*/ 1807 h 526327"/>
                  <a:gd name="connsiteX2" fmla="*/ 1 w 709656"/>
                  <a:gd name="connsiteY2" fmla="*/ 1807 h 526327"/>
                  <a:gd name="connsiteX3" fmla="*/ 1 w 709656"/>
                  <a:gd name="connsiteY3" fmla="*/ 526320 h 526327"/>
                  <a:gd name="connsiteX4" fmla="*/ 1 w 709656"/>
                  <a:gd name="connsiteY4" fmla="*/ 526320 h 526327"/>
                  <a:gd name="connsiteX5" fmla="*/ 1 w 709656"/>
                  <a:gd name="connsiteY5" fmla="*/ 526320 h 526327"/>
                  <a:gd name="connsiteX6" fmla="*/ 327968 w 709656"/>
                  <a:gd name="connsiteY6" fmla="*/ 525327 h 526327"/>
                  <a:gd name="connsiteX0" fmla="*/ 709656 w 709656"/>
                  <a:gd name="connsiteY0" fmla="*/ 409509 h 526340"/>
                  <a:gd name="connsiteX1" fmla="*/ 708220 w 709656"/>
                  <a:gd name="connsiteY1" fmla="*/ 1807 h 526340"/>
                  <a:gd name="connsiteX2" fmla="*/ 1 w 709656"/>
                  <a:gd name="connsiteY2" fmla="*/ 1807 h 526340"/>
                  <a:gd name="connsiteX3" fmla="*/ 1 w 709656"/>
                  <a:gd name="connsiteY3" fmla="*/ 526320 h 526340"/>
                  <a:gd name="connsiteX4" fmla="*/ 1 w 709656"/>
                  <a:gd name="connsiteY4" fmla="*/ 526320 h 526340"/>
                  <a:gd name="connsiteX5" fmla="*/ 1 w 709656"/>
                  <a:gd name="connsiteY5" fmla="*/ 526320 h 526340"/>
                  <a:gd name="connsiteX6" fmla="*/ 324611 w 709656"/>
                  <a:gd name="connsiteY6" fmla="*/ 526166 h 526340"/>
                  <a:gd name="connsiteX0" fmla="*/ 709656 w 709656"/>
                  <a:gd name="connsiteY0" fmla="*/ 409509 h 526324"/>
                  <a:gd name="connsiteX1" fmla="*/ 708220 w 709656"/>
                  <a:gd name="connsiteY1" fmla="*/ 1807 h 526324"/>
                  <a:gd name="connsiteX2" fmla="*/ 1 w 709656"/>
                  <a:gd name="connsiteY2" fmla="*/ 1807 h 526324"/>
                  <a:gd name="connsiteX3" fmla="*/ 1 w 709656"/>
                  <a:gd name="connsiteY3" fmla="*/ 526320 h 526324"/>
                  <a:gd name="connsiteX4" fmla="*/ 1 w 709656"/>
                  <a:gd name="connsiteY4" fmla="*/ 526320 h 526324"/>
                  <a:gd name="connsiteX5" fmla="*/ 1 w 709656"/>
                  <a:gd name="connsiteY5" fmla="*/ 526320 h 526324"/>
                  <a:gd name="connsiteX6" fmla="*/ 329647 w 709656"/>
                  <a:gd name="connsiteY6" fmla="*/ 524487 h 526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9656" h="526324">
                    <a:moveTo>
                      <a:pt x="709656" y="409509"/>
                    </a:moveTo>
                    <a:cubicBezTo>
                      <a:pt x="707261" y="256260"/>
                      <a:pt x="709925" y="178574"/>
                      <a:pt x="708220" y="1807"/>
                    </a:cubicBezTo>
                    <a:cubicBezTo>
                      <a:pt x="487044" y="-2261"/>
                      <a:pt x="236074" y="1807"/>
                      <a:pt x="1" y="1807"/>
                    </a:cubicBezTo>
                    <a:lnTo>
                      <a:pt x="1" y="526320"/>
                    </a:lnTo>
                    <a:lnTo>
                      <a:pt x="1" y="526320"/>
                    </a:lnTo>
                    <a:lnTo>
                      <a:pt x="1" y="526320"/>
                    </a:lnTo>
                    <a:cubicBezTo>
                      <a:pt x="-32" y="526434"/>
                      <a:pt x="329688" y="524344"/>
                      <a:pt x="329647" y="524487"/>
                    </a:cubicBezTo>
                  </a:path>
                </a:pathLst>
              </a:custGeom>
              <a:noFill/>
              <a:ln w="19050" cap="sq">
                <a:solidFill>
                  <a:schemeClr val="tx2"/>
                </a:solidFill>
                <a:prstDash val="solid"/>
                <a:miter/>
              </a:ln>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p>
            </p:txBody>
          </p:sp>
          <p:sp>
            <p:nvSpPr>
              <p:cNvPr id="41" name="Freeform 6">
                <a:extLst>
                  <a:ext uri="{FF2B5EF4-FFF2-40B4-BE49-F238E27FC236}">
                    <a16:creationId xmlns:a16="http://schemas.microsoft.com/office/drawing/2014/main" id="{13587A5F-449B-484F-ACCB-CE44C39D9AEC}"/>
                  </a:ext>
                </a:extLst>
              </p:cNvPr>
              <p:cNvSpPr>
                <a:spLocks noEditPoints="1"/>
              </p:cNvSpPr>
              <p:nvPr/>
            </p:nvSpPr>
            <p:spPr bwMode="auto">
              <a:xfrm>
                <a:off x="13294153" y="4852843"/>
                <a:ext cx="1945848" cy="1742143"/>
              </a:xfrm>
              <a:custGeom>
                <a:avLst/>
                <a:gdLst>
                  <a:gd name="T0" fmla="*/ 4 w 363"/>
                  <a:gd name="T1" fmla="*/ 325 h 325"/>
                  <a:gd name="T2" fmla="*/ 4 w 363"/>
                  <a:gd name="T3" fmla="*/ 277 h 325"/>
                  <a:gd name="T4" fmla="*/ 52 w 363"/>
                  <a:gd name="T5" fmla="*/ 325 h 325"/>
                  <a:gd name="T6" fmla="*/ 52 w 363"/>
                  <a:gd name="T7" fmla="*/ 229 h 325"/>
                  <a:gd name="T8" fmla="*/ 100 w 363"/>
                  <a:gd name="T9" fmla="*/ 325 h 325"/>
                  <a:gd name="T10" fmla="*/ 100 w 363"/>
                  <a:gd name="T11" fmla="*/ 181 h 325"/>
                  <a:gd name="T12" fmla="*/ 147 w 363"/>
                  <a:gd name="T13" fmla="*/ 325 h 325"/>
                  <a:gd name="T14" fmla="*/ 147 w 363"/>
                  <a:gd name="T15" fmla="*/ 133 h 325"/>
                  <a:gd name="T16" fmla="*/ 195 w 363"/>
                  <a:gd name="T17" fmla="*/ 325 h 325"/>
                  <a:gd name="T18" fmla="*/ 195 w 363"/>
                  <a:gd name="T19" fmla="*/ 133 h 325"/>
                  <a:gd name="T20" fmla="*/ 243 w 363"/>
                  <a:gd name="T21" fmla="*/ 325 h 325"/>
                  <a:gd name="T22" fmla="*/ 243 w 363"/>
                  <a:gd name="T23" fmla="*/ 180 h 325"/>
                  <a:gd name="T24" fmla="*/ 291 w 363"/>
                  <a:gd name="T25" fmla="*/ 325 h 325"/>
                  <a:gd name="T26" fmla="*/ 291 w 363"/>
                  <a:gd name="T27" fmla="*/ 133 h 325"/>
                  <a:gd name="T28" fmla="*/ 339 w 363"/>
                  <a:gd name="T29" fmla="*/ 325 h 325"/>
                  <a:gd name="T30" fmla="*/ 339 w 363"/>
                  <a:gd name="T31" fmla="*/ 109 h 325"/>
                  <a:gd name="T32" fmla="*/ 362 w 363"/>
                  <a:gd name="T33" fmla="*/ 0 h 325"/>
                  <a:gd name="T34" fmla="*/ 243 w 363"/>
                  <a:gd name="T35" fmla="*/ 120 h 325"/>
                  <a:gd name="T36" fmla="*/ 171 w 363"/>
                  <a:gd name="T37" fmla="*/ 48 h 325"/>
                  <a:gd name="T38" fmla="*/ 0 w 363"/>
                  <a:gd name="T39" fmla="*/ 220 h 325"/>
                  <a:gd name="T40" fmla="*/ 363 w 363"/>
                  <a:gd name="T41" fmla="*/ 72 h 325"/>
                  <a:gd name="T42" fmla="*/ 363 w 363"/>
                  <a:gd name="T43" fmla="*/ 0 h 325"/>
                  <a:gd name="T44" fmla="*/ 291 w 363"/>
                  <a:gd name="T45" fmla="*/ 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3" h="325">
                    <a:moveTo>
                      <a:pt x="4" y="325"/>
                    </a:moveTo>
                    <a:lnTo>
                      <a:pt x="4" y="277"/>
                    </a:lnTo>
                    <a:moveTo>
                      <a:pt x="52" y="325"/>
                    </a:moveTo>
                    <a:lnTo>
                      <a:pt x="52" y="229"/>
                    </a:lnTo>
                    <a:moveTo>
                      <a:pt x="100" y="325"/>
                    </a:moveTo>
                    <a:lnTo>
                      <a:pt x="100" y="181"/>
                    </a:lnTo>
                    <a:moveTo>
                      <a:pt x="147" y="325"/>
                    </a:moveTo>
                    <a:lnTo>
                      <a:pt x="147" y="133"/>
                    </a:lnTo>
                    <a:moveTo>
                      <a:pt x="195" y="325"/>
                    </a:moveTo>
                    <a:lnTo>
                      <a:pt x="195" y="133"/>
                    </a:lnTo>
                    <a:moveTo>
                      <a:pt x="243" y="325"/>
                    </a:moveTo>
                    <a:lnTo>
                      <a:pt x="243" y="180"/>
                    </a:lnTo>
                    <a:moveTo>
                      <a:pt x="291" y="325"/>
                    </a:moveTo>
                    <a:lnTo>
                      <a:pt x="291" y="133"/>
                    </a:lnTo>
                    <a:moveTo>
                      <a:pt x="339" y="325"/>
                    </a:moveTo>
                    <a:lnTo>
                      <a:pt x="339" y="109"/>
                    </a:lnTo>
                    <a:moveTo>
                      <a:pt x="362" y="0"/>
                    </a:moveTo>
                    <a:lnTo>
                      <a:pt x="243" y="120"/>
                    </a:lnTo>
                    <a:lnTo>
                      <a:pt x="171" y="48"/>
                    </a:lnTo>
                    <a:lnTo>
                      <a:pt x="0" y="220"/>
                    </a:lnTo>
                    <a:moveTo>
                      <a:pt x="363" y="72"/>
                    </a:moveTo>
                    <a:lnTo>
                      <a:pt x="363" y="0"/>
                    </a:lnTo>
                    <a:lnTo>
                      <a:pt x="291" y="0"/>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8" name="Oval 37">
              <a:extLst>
                <a:ext uri="{FF2B5EF4-FFF2-40B4-BE49-F238E27FC236}">
                  <a16:creationId xmlns:a16="http://schemas.microsoft.com/office/drawing/2014/main" id="{37C4FDEB-8F90-4B59-A805-5B48F727E0F2}"/>
                </a:ext>
              </a:extLst>
            </p:cNvPr>
            <p:cNvSpPr/>
            <p:nvPr/>
          </p:nvSpPr>
          <p:spPr bwMode="auto">
            <a:xfrm>
              <a:off x="9451220" y="3231556"/>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sp>
        <p:nvSpPr>
          <p:cNvPr id="16" name="Rectangle 15">
            <a:extLst>
              <a:ext uri="{FF2B5EF4-FFF2-40B4-BE49-F238E27FC236}">
                <a16:creationId xmlns:a16="http://schemas.microsoft.com/office/drawing/2014/main" id="{E625DBD4-8644-4556-B9F6-1632D62087BF}"/>
              </a:ext>
            </a:extLst>
          </p:cNvPr>
          <p:cNvSpPr/>
          <p:nvPr/>
        </p:nvSpPr>
        <p:spPr>
          <a:xfrm>
            <a:off x="6532236" y="1835250"/>
            <a:ext cx="5599531" cy="830997"/>
          </a:xfrm>
          <a:prstGeom prst="rect">
            <a:avLst/>
          </a:prstGeom>
        </p:spPr>
        <p:txBody>
          <a:bodyPr wrap="square" lIns="0" tIns="0" rIns="0" bIns="0" anchor="ctr">
            <a:spAutoFit/>
          </a:bodyPr>
          <a:lstStyle/>
          <a:p>
            <a:pPr lvl="0"/>
            <a:r>
              <a:rPr lang="en-US" kern="0">
                <a:solidFill>
                  <a:schemeClr val="tx2"/>
                </a:solidFill>
                <a:latin typeface="Segoe UI Semibold" panose="020B0702040204020203" pitchFamily="34" charset="0"/>
                <a:cs typeface="Segoe UI Semibold" panose="020B0702040204020203" pitchFamily="34" charset="0"/>
              </a:rPr>
              <a:t>Identity management. </a:t>
            </a:r>
            <a:r>
              <a:rPr lang="en-US"/>
              <a:t>Enable multi-factor authentication to secure your school against breaches due to lost or stolen credentials.</a:t>
            </a:r>
          </a:p>
        </p:txBody>
      </p:sp>
      <p:sp>
        <p:nvSpPr>
          <p:cNvPr id="15" name="TextBox 14">
            <a:extLst>
              <a:ext uri="{FF2B5EF4-FFF2-40B4-BE49-F238E27FC236}">
                <a16:creationId xmlns:a16="http://schemas.microsoft.com/office/drawing/2014/main" id="{BEBA58D9-2061-4515-977C-E7252096AA31}"/>
              </a:ext>
            </a:extLst>
          </p:cNvPr>
          <p:cNvSpPr txBox="1"/>
          <p:nvPr/>
        </p:nvSpPr>
        <p:spPr>
          <a:xfrm>
            <a:off x="6532235" y="2926851"/>
            <a:ext cx="5599708" cy="830997"/>
          </a:xfrm>
          <a:prstGeom prst="rect">
            <a:avLst/>
          </a:prstGeom>
          <a:noFill/>
        </p:spPr>
        <p:txBody>
          <a:bodyPr wrap="square" lIns="0" tIns="0" rIns="0" bIns="0">
            <a:spAutoFit/>
          </a:bodyPr>
          <a:lstStyle/>
          <a:p>
            <a:pPr>
              <a:spcAft>
                <a:spcPts val="3000"/>
              </a:spcAft>
            </a:pPr>
            <a:r>
              <a:rPr lang="en-US">
                <a:solidFill>
                  <a:srgbClr val="0078D7"/>
                </a:solidFill>
                <a:latin typeface="Segoe UI Semibold" panose="020B0702040204020203" pitchFamily="34" charset="0"/>
                <a:cs typeface="Segoe UI Semibold" panose="020B0702040204020203" pitchFamily="34" charset="0"/>
              </a:rPr>
              <a:t>Defend against malicious threats</a:t>
            </a:r>
            <a:r>
              <a:rPr lang="en-US">
                <a:cs typeface="Segoe UI Semibold" panose="020B0702040204020203" pitchFamily="34" charset="0"/>
              </a:rPr>
              <a:t>. Protect students and educators from threats in emails, links, and collaboration tools with Microsoft Defender for Office 365.</a:t>
            </a:r>
          </a:p>
        </p:txBody>
      </p:sp>
      <p:sp>
        <p:nvSpPr>
          <p:cNvPr id="18" name="TextBox 17">
            <a:extLst>
              <a:ext uri="{FF2B5EF4-FFF2-40B4-BE49-F238E27FC236}">
                <a16:creationId xmlns:a16="http://schemas.microsoft.com/office/drawing/2014/main" id="{1272B2CC-8DDC-4089-AC96-BE5E5435B83D}"/>
              </a:ext>
            </a:extLst>
          </p:cNvPr>
          <p:cNvSpPr txBox="1"/>
          <p:nvPr/>
        </p:nvSpPr>
        <p:spPr>
          <a:xfrm>
            <a:off x="6532235" y="4018452"/>
            <a:ext cx="5760244" cy="830997"/>
          </a:xfrm>
          <a:prstGeom prst="rect">
            <a:avLst/>
          </a:prstGeom>
          <a:noFill/>
        </p:spPr>
        <p:txBody>
          <a:bodyPr wrap="square" lIns="0" tIns="0" rIns="0" bIns="0">
            <a:spAutoFit/>
          </a:bodyPr>
          <a:lstStyle/>
          <a:p>
            <a:pPr marL="0" lvl="1">
              <a:spcBef>
                <a:spcPts val="600"/>
              </a:spcBef>
              <a:spcAft>
                <a:spcPts val="3000"/>
              </a:spcAft>
              <a:defRPr/>
            </a:pPr>
            <a:r>
              <a:rPr lang="en-US">
                <a:solidFill>
                  <a:srgbClr val="0078D7"/>
                </a:solidFill>
                <a:latin typeface="Segoe UI Semibold" panose="020B0702040204020203" pitchFamily="34" charset="0"/>
                <a:cs typeface="Segoe UI Semibold" panose="020B0702040204020203" pitchFamily="34" charset="0"/>
              </a:rPr>
              <a:t>Manage identity access policies. </a:t>
            </a:r>
            <a:r>
              <a:rPr lang="en-US">
                <a:cs typeface="Segoe UI Semibold" panose="020B0702040204020203" pitchFamily="34" charset="0"/>
              </a:rPr>
              <a:t>Microsoft Intune for Education makes it easy to manage users, data, and devices with a single dashboard.</a:t>
            </a:r>
          </a:p>
        </p:txBody>
      </p:sp>
      <p:sp>
        <p:nvSpPr>
          <p:cNvPr id="24" name="TextBox 23">
            <a:extLst>
              <a:ext uri="{FF2B5EF4-FFF2-40B4-BE49-F238E27FC236}">
                <a16:creationId xmlns:a16="http://schemas.microsoft.com/office/drawing/2014/main" id="{E643C5CA-93F4-4784-ACB0-2037232B946D}"/>
              </a:ext>
            </a:extLst>
          </p:cNvPr>
          <p:cNvSpPr txBox="1"/>
          <p:nvPr/>
        </p:nvSpPr>
        <p:spPr>
          <a:xfrm>
            <a:off x="6532059" y="5110053"/>
            <a:ext cx="5599708" cy="830997"/>
          </a:xfrm>
          <a:prstGeom prst="rect">
            <a:avLst/>
          </a:prstGeom>
          <a:noFill/>
        </p:spPr>
        <p:txBody>
          <a:bodyPr wrap="square" lIns="0" tIns="0" rIns="0" bIns="0">
            <a:spAutoFit/>
          </a:bodyPr>
          <a:lstStyle/>
          <a:p>
            <a:pPr>
              <a:spcAft>
                <a:spcPts val="3000"/>
              </a:spcAft>
            </a:pPr>
            <a:r>
              <a:rPr lang="en-US">
                <a:solidFill>
                  <a:srgbClr val="0078D7"/>
                </a:solidFill>
                <a:latin typeface="Segoe UI Semibold" panose="020B0702040204020203" pitchFamily="34" charset="0"/>
                <a:cs typeface="Segoe UI Semibold" panose="020B0702040204020203" pitchFamily="34" charset="0"/>
              </a:rPr>
              <a:t>Have confidence apps are safe. </a:t>
            </a:r>
            <a:r>
              <a:rPr lang="en-US">
                <a:cs typeface="Segoe UI Semibold" panose="020B0702040204020203" pitchFamily="34" charset="0"/>
              </a:rPr>
              <a:t>Windows 10 apps are curated and proactively checked for dangerous code before they enter the store.</a:t>
            </a:r>
            <a:endParaRPr lang="en-US" baseline="30000">
              <a:cs typeface="Segoe UI Semibold" panose="020B0702040204020203" pitchFamily="34" charset="0"/>
            </a:endParaRPr>
          </a:p>
        </p:txBody>
      </p:sp>
    </p:spTree>
    <p:extLst>
      <p:ext uri="{BB962C8B-B14F-4D97-AF65-F5344CB8AC3E}">
        <p14:creationId xmlns:p14="http://schemas.microsoft.com/office/powerpoint/2010/main" val="373837481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67793F6-A65A-42BE-B0D9-F70F31AD2E78}"/>
              </a:ext>
            </a:extLst>
          </p:cNvPr>
          <p:cNvSpPr>
            <a:spLocks noGrp="1"/>
          </p:cNvSpPr>
          <p:nvPr>
            <p:ph type="title"/>
          </p:nvPr>
        </p:nvSpPr>
        <p:spPr>
          <a:xfrm>
            <a:off x="457200" y="2444894"/>
            <a:ext cx="4800253" cy="2104737"/>
          </a:xfrm>
        </p:spPr>
        <p:txBody>
          <a:bodyPr lIns="0" tIns="0" rIns="0" bIns="0" anchor="ctr"/>
          <a:lstStyle/>
          <a:p>
            <a:r>
              <a:rPr lang="en-US" noProof="0">
                <a:solidFill>
                  <a:schemeClr val="bg1"/>
                </a:solidFill>
              </a:rPr>
              <a:t>Empower students to </a:t>
            </a:r>
            <a:r>
              <a:rPr lang="en-US" noProof="0">
                <a:solidFill>
                  <a:schemeClr val="bg1"/>
                </a:solidFill>
                <a:latin typeface="Segoe UI Semibold" panose="020B0702040204020203" pitchFamily="34" charset="0"/>
                <a:cs typeface="Segoe UI Semibold" panose="020B0702040204020203" pitchFamily="34" charset="0"/>
              </a:rPr>
              <a:t>learn anywhere</a:t>
            </a:r>
            <a:endParaRPr lang="en-IN">
              <a:solidFill>
                <a:schemeClr val="bg1"/>
              </a:solidFill>
              <a:latin typeface="Segoe UI Semibold" panose="020B0702040204020203" pitchFamily="34" charset="0"/>
              <a:cs typeface="Segoe UI Semibold" panose="020B0702040204020203" pitchFamily="34" charset="0"/>
            </a:endParaRPr>
          </a:p>
        </p:txBody>
      </p:sp>
      <p:pic>
        <p:nvPicPr>
          <p:cNvPr id="3" name="Picture 2">
            <a:extLst>
              <a:ext uri="{FF2B5EF4-FFF2-40B4-BE49-F238E27FC236}">
                <a16:creationId xmlns:a16="http://schemas.microsoft.com/office/drawing/2014/main" id="{B52800B8-AB19-43E9-B977-22A4FE8FC982}"/>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68"/>
          <a:stretch/>
        </p:blipFill>
        <p:spPr>
          <a:xfrm>
            <a:off x="9018632" y="794"/>
            <a:ext cx="3417394" cy="3495674"/>
          </a:xfrm>
          <a:prstGeom prst="rect">
            <a:avLst/>
          </a:prstGeom>
        </p:spPr>
      </p:pic>
      <p:pic>
        <p:nvPicPr>
          <p:cNvPr id="6" name="Picture 5">
            <a:extLst>
              <a:ext uri="{FF2B5EF4-FFF2-40B4-BE49-F238E27FC236}">
                <a16:creationId xmlns:a16="http://schemas.microsoft.com/office/drawing/2014/main" id="{344ADA34-6325-41E9-93B5-8A8B14182E9E}"/>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flipH="1">
            <a:off x="5604933" y="-8737"/>
            <a:ext cx="3417394" cy="3510763"/>
          </a:xfrm>
          <a:prstGeom prst="rect">
            <a:avLst/>
          </a:prstGeom>
        </p:spPr>
      </p:pic>
      <p:pic>
        <p:nvPicPr>
          <p:cNvPr id="8" name="Picture 7">
            <a:extLst>
              <a:ext uri="{FF2B5EF4-FFF2-40B4-BE49-F238E27FC236}">
                <a16:creationId xmlns:a16="http://schemas.microsoft.com/office/drawing/2014/main" id="{DAAC2D46-9873-4159-81BA-3763F1FC8A65}"/>
              </a:ext>
              <a:ext uri="{C183D7F6-B498-43B3-948B-1728B52AA6E4}">
                <adec:decorative xmlns:adec="http://schemas.microsoft.com/office/drawing/2017/decorative" val="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603701" y="3498850"/>
            <a:ext cx="3410620" cy="3492496"/>
          </a:xfrm>
          <a:prstGeom prst="rect">
            <a:avLst/>
          </a:prstGeom>
        </p:spPr>
      </p:pic>
      <p:pic>
        <p:nvPicPr>
          <p:cNvPr id="10" name="Picture 9">
            <a:extLst>
              <a:ext uri="{FF2B5EF4-FFF2-40B4-BE49-F238E27FC236}">
                <a16:creationId xmlns:a16="http://schemas.microsoft.com/office/drawing/2014/main" id="{994432B3-E415-4BEF-A27C-D8557FAE13A1}"/>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013089" y="3505201"/>
            <a:ext cx="3417394" cy="3480587"/>
          </a:xfrm>
          <a:prstGeom prst="rect">
            <a:avLst/>
          </a:prstGeom>
        </p:spPr>
      </p:pic>
    </p:spTree>
    <p:extLst>
      <p:ext uri="{BB962C8B-B14F-4D97-AF65-F5344CB8AC3E}">
        <p14:creationId xmlns:p14="http://schemas.microsoft.com/office/powerpoint/2010/main" val="3819469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5E202FAD-5402-4AC2-BBE6-6EE51C8650A0}"/>
              </a:ext>
            </a:extLst>
          </p:cNvPr>
          <p:cNvSpPr txBox="1">
            <a:spLocks noGrp="1"/>
          </p:cNvSpPr>
          <p:nvPr>
            <p:ph type="title" idx="4294967295"/>
          </p:nvPr>
        </p:nvSpPr>
        <p:spPr>
          <a:xfrm>
            <a:off x="5938120" y="296686"/>
            <a:ext cx="6496768" cy="1532114"/>
          </a:xfrm>
          <a:prstGeom prst="rect">
            <a:avLst/>
          </a:prstGeom>
          <a:noFill/>
          <a:ln>
            <a:noFill/>
            <a:prstDash/>
          </a:ln>
          <a:effectLst/>
        </p:spPr>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lvl1pPr algn="l" defTabSz="932742" rtl="0" eaLnBrk="1" latinLnBrk="0" hangingPunct="1">
              <a:lnSpc>
                <a:spcPct val="90000"/>
              </a:lnSpc>
              <a:spcBef>
                <a:spcPct val="0"/>
              </a:spcBef>
              <a:buNone/>
              <a:defRPr lang="en-US" sz="4000" b="0" kern="1200" cap="none" spc="-102" baseline="0" dirty="0" smtClean="0">
                <a:ln w="3175">
                  <a:noFill/>
                </a:ln>
                <a:solidFill>
                  <a:schemeClr val="accent2"/>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a:ln w="3175">
                  <a:noFill/>
                </a:ln>
                <a:solidFill>
                  <a:schemeClr val="accent2"/>
                </a:solidFill>
                <a:effectLst/>
                <a:uLnTx/>
                <a:uFillTx/>
                <a:latin typeface="+mj-lt"/>
                <a:ea typeface="+mn-ea"/>
                <a:cs typeface="Segoe UI" pitchFamily="34" charset="0"/>
              </a:rPr>
              <a:t>Microsoft provides </a:t>
            </a:r>
            <a:r>
              <a:rPr kumimoji="0" lang="en-US" sz="4000" b="0" i="0" u="none" strike="noStrike" kern="1200" cap="none" spc="-102" normalizeH="0" baseline="0" noProof="0">
                <a:ln w="3175">
                  <a:noFill/>
                </a:ln>
                <a:solidFill>
                  <a:schemeClr val="tx2"/>
                </a:solidFill>
                <a:effectLst/>
                <a:uLnTx/>
                <a:uFillTx/>
                <a:latin typeface="Segoe UI Semibold" panose="020B0702040204020203" pitchFamily="34" charset="0"/>
                <a:ea typeface="+mn-ea"/>
                <a:cs typeface="Segoe UI Semibold" panose="020B0702040204020203" pitchFamily="34" charset="0"/>
              </a:rPr>
              <a:t>support throughout your journey</a:t>
            </a:r>
            <a:endParaRPr kumimoji="0" lang="en-US" sz="4000" b="0" i="0" u="none" strike="noStrike" kern="1200" cap="none" spc="-102" normalizeH="0" baseline="0" noProof="0">
              <a:ln w="3175">
                <a:noFill/>
              </a:ln>
              <a:solidFill>
                <a:schemeClr val="tx1"/>
              </a:solidFill>
              <a:effectLst/>
              <a:uLnTx/>
              <a:uFillTx/>
              <a:latin typeface="+mj-lt"/>
              <a:ea typeface="+mn-ea"/>
              <a:cs typeface="Segoe UI" pitchFamily="34" charset="0"/>
            </a:endParaRPr>
          </a:p>
        </p:txBody>
      </p:sp>
      <p:pic>
        <p:nvPicPr>
          <p:cNvPr id="6" name="Picture 5" descr="A student sitting on the floor with a laptop in front of them">
            <a:extLst>
              <a:ext uri="{FF2B5EF4-FFF2-40B4-BE49-F238E27FC236}">
                <a16:creationId xmlns:a16="http://schemas.microsoft.com/office/drawing/2014/main" id="{8B12C4A2-58FA-4B0B-A5F0-AB30280FEAA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5743898" cy="6994525"/>
          </a:xfrm>
          <a:prstGeom prst="rect">
            <a:avLst/>
          </a:prstGeom>
        </p:spPr>
      </p:pic>
      <p:sp>
        <p:nvSpPr>
          <p:cNvPr id="14" name="Rectangle 13">
            <a:extLst>
              <a:ext uri="{FF2B5EF4-FFF2-40B4-BE49-F238E27FC236}">
                <a16:creationId xmlns:a16="http://schemas.microsoft.com/office/drawing/2014/main" id="{8362FCC2-1847-4EB5-B2CD-901DB54786BB}"/>
              </a:ext>
            </a:extLst>
          </p:cNvPr>
          <p:cNvSpPr/>
          <p:nvPr/>
        </p:nvSpPr>
        <p:spPr bwMode="auto">
          <a:xfrm>
            <a:off x="6175907" y="1979432"/>
            <a:ext cx="2615695" cy="14002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839142" rtl="0" eaLnBrk="1" fontAlgn="base" latinLnBrk="0" hangingPunct="1">
              <a:lnSpc>
                <a:spcPct val="100000"/>
              </a:lnSpc>
              <a:spcBef>
                <a:spcPct val="0"/>
              </a:spcBef>
              <a:spcAft>
                <a:spcPct val="0"/>
              </a:spcAft>
              <a:buClrTx/>
              <a:buSzTx/>
              <a:buFontTx/>
              <a:buNone/>
              <a:tabLst/>
              <a:defRPr/>
            </a:pPr>
            <a:r>
              <a:rPr kumimoji="0" lang="en-US" sz="48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1,000+</a:t>
            </a:r>
          </a:p>
          <a:p>
            <a:pPr marL="0" marR="0" lvl="0" indent="0" algn="l" defTabSz="83914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Segoe UI Semibold" panose="020B0702040204020203" pitchFamily="34" charset="0"/>
              </a:rPr>
              <a:t>free learning paths to help teach technology skills</a:t>
            </a:r>
          </a:p>
        </p:txBody>
      </p:sp>
      <p:sp>
        <p:nvSpPr>
          <p:cNvPr id="34" name="Rectangle 33">
            <a:extLst>
              <a:ext uri="{FF2B5EF4-FFF2-40B4-BE49-F238E27FC236}">
                <a16:creationId xmlns:a16="http://schemas.microsoft.com/office/drawing/2014/main" id="{AD76BCB9-9FFB-49DC-8311-56BDAC21C48F}"/>
              </a:ext>
            </a:extLst>
          </p:cNvPr>
          <p:cNvSpPr/>
          <p:nvPr/>
        </p:nvSpPr>
        <p:spPr bwMode="auto">
          <a:xfrm>
            <a:off x="9026237" y="1979432"/>
            <a:ext cx="2974311" cy="14002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839142" rtl="0" eaLnBrk="1" fontAlgn="base" latinLnBrk="0" hangingPunct="1">
              <a:lnSpc>
                <a:spcPct val="100000"/>
              </a:lnSpc>
              <a:spcBef>
                <a:spcPct val="0"/>
              </a:spcBef>
              <a:spcAft>
                <a:spcPct val="0"/>
              </a:spcAft>
              <a:buClrTx/>
              <a:buSzTx/>
              <a:buFontTx/>
              <a:buNone/>
              <a:tabLst/>
              <a:defRPr/>
            </a:pPr>
            <a:r>
              <a:rPr kumimoji="0" lang="en-US" sz="48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400+</a:t>
            </a:r>
          </a:p>
          <a:p>
            <a:pPr marL="0" marR="0" lvl="0" indent="0" algn="l" defTabSz="83914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Segoe UI Semibold" panose="020B0702040204020203" pitchFamily="34" charset="0"/>
              </a:rPr>
              <a:t>engineers building education-</a:t>
            </a:r>
            <a:br>
              <a:rPr kumimoji="0" lang="en-US" sz="1800" b="0" i="0" u="none" strike="noStrike" kern="1200" cap="none" spc="0" normalizeH="0" baseline="0" noProof="0">
                <a:ln>
                  <a:noFill/>
                </a:ln>
                <a:solidFill>
                  <a:srgbClr val="353535"/>
                </a:solidFill>
                <a:effectLst/>
                <a:uLnTx/>
                <a:uFillTx/>
                <a:latin typeface="Segoe UI Semilight"/>
                <a:ea typeface="+mn-ea"/>
                <a:cs typeface="Segoe UI Semibold" panose="020B0702040204020203" pitchFamily="34" charset="0"/>
              </a:rPr>
            </a:br>
            <a:r>
              <a:rPr kumimoji="0" lang="en-US" sz="1800" b="0" i="0" u="none" strike="noStrike" kern="1200" cap="none" spc="0" normalizeH="0" baseline="0" noProof="0">
                <a:ln>
                  <a:noFill/>
                </a:ln>
                <a:solidFill>
                  <a:srgbClr val="353535"/>
                </a:solidFill>
                <a:effectLst/>
                <a:uLnTx/>
                <a:uFillTx/>
                <a:latin typeface="Segoe UI Semilight"/>
                <a:ea typeface="+mn-ea"/>
                <a:cs typeface="Segoe UI Semibold" panose="020B0702040204020203" pitchFamily="34" charset="0"/>
              </a:rPr>
              <a:t>specific technologies</a:t>
            </a:r>
          </a:p>
        </p:txBody>
      </p:sp>
      <p:sp>
        <p:nvSpPr>
          <p:cNvPr id="32" name="Rectangle 31">
            <a:extLst>
              <a:ext uri="{FF2B5EF4-FFF2-40B4-BE49-F238E27FC236}">
                <a16:creationId xmlns:a16="http://schemas.microsoft.com/office/drawing/2014/main" id="{FC45382D-8124-43BF-99B5-335167A0DEB0}"/>
              </a:ext>
            </a:extLst>
          </p:cNvPr>
          <p:cNvSpPr/>
          <p:nvPr/>
        </p:nvSpPr>
        <p:spPr bwMode="auto">
          <a:xfrm>
            <a:off x="6175907" y="3609565"/>
            <a:ext cx="2615695" cy="16652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839142" rtl="0" eaLnBrk="1" fontAlgn="base" latinLnBrk="0" hangingPunct="1">
              <a:lnSpc>
                <a:spcPct val="100000"/>
              </a:lnSpc>
              <a:spcBef>
                <a:spcPct val="0"/>
              </a:spcBef>
              <a:spcAft>
                <a:spcPct val="0"/>
              </a:spcAft>
              <a:buClrTx/>
              <a:buSzTx/>
              <a:buFontTx/>
              <a:buNone/>
              <a:tabLst/>
              <a:defRPr/>
            </a:pPr>
            <a:r>
              <a:rPr kumimoji="0" lang="en-US" sz="48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1.2B+</a:t>
            </a:r>
          </a:p>
          <a:p>
            <a:pPr marL="0" marR="0" lvl="0" indent="0" algn="l" defTabSz="83914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Segoe UI Semibold" panose="020B0702040204020203" pitchFamily="34" charset="0"/>
              </a:rPr>
              <a:t>in software and services donated to 90,000+ nonprofits</a:t>
            </a:r>
          </a:p>
        </p:txBody>
      </p:sp>
      <p:sp>
        <p:nvSpPr>
          <p:cNvPr id="35" name="Rectangle 34">
            <a:extLst>
              <a:ext uri="{FF2B5EF4-FFF2-40B4-BE49-F238E27FC236}">
                <a16:creationId xmlns:a16="http://schemas.microsoft.com/office/drawing/2014/main" id="{2FBDE3B9-BC92-4AB6-A1B5-57EBB2CB1274}"/>
              </a:ext>
            </a:extLst>
          </p:cNvPr>
          <p:cNvSpPr/>
          <p:nvPr/>
        </p:nvSpPr>
        <p:spPr bwMode="auto">
          <a:xfrm>
            <a:off x="9026237" y="3609565"/>
            <a:ext cx="2974311" cy="16652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839142" rtl="0" eaLnBrk="1" fontAlgn="base" latinLnBrk="0" hangingPunct="1">
              <a:lnSpc>
                <a:spcPct val="100000"/>
              </a:lnSpc>
              <a:spcBef>
                <a:spcPct val="0"/>
              </a:spcBef>
              <a:spcAft>
                <a:spcPct val="0"/>
              </a:spcAft>
              <a:buClrTx/>
              <a:buSzTx/>
              <a:buFontTx/>
              <a:buNone/>
              <a:tabLst/>
              <a:defRPr/>
            </a:pPr>
            <a:r>
              <a:rPr kumimoji="0" lang="en-US" sz="48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150M+</a:t>
            </a:r>
          </a:p>
          <a:p>
            <a:pPr marL="0" marR="0" lvl="0" indent="0" algn="l" defTabSz="83914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Segoe UI Semibold" panose="020B0702040204020203" pitchFamily="34" charset="0"/>
              </a:rPr>
              <a:t>s</a:t>
            </a:r>
            <a:r>
              <a:rPr kumimoji="0" lang="en-US" sz="1800" b="0" i="0" u="none" strike="noStrike" kern="1200" cap="none" spc="0" normalizeH="0" baseline="0" noProof="0" err="1">
                <a:ln>
                  <a:noFill/>
                </a:ln>
                <a:solidFill>
                  <a:srgbClr val="353535"/>
                </a:solidFill>
                <a:effectLst/>
                <a:uLnTx/>
                <a:uFillTx/>
                <a:latin typeface="Segoe UI Semilight"/>
                <a:ea typeface="+mn-ea"/>
                <a:cs typeface="Segoe UI Semibold" panose="020B0702040204020203" pitchFamily="34" charset="0"/>
              </a:rPr>
              <a:t>tudents</a:t>
            </a:r>
            <a:r>
              <a:rPr kumimoji="0" lang="en-US" sz="1800" b="0" i="0" u="none" strike="noStrike" kern="1200" cap="none" spc="0" normalizeH="0" baseline="0" noProof="0">
                <a:ln>
                  <a:noFill/>
                </a:ln>
                <a:solidFill>
                  <a:srgbClr val="353535"/>
                </a:solidFill>
                <a:effectLst/>
                <a:uLnTx/>
                <a:uFillTx/>
                <a:latin typeface="Segoe UI Semilight"/>
                <a:ea typeface="+mn-ea"/>
                <a:cs typeface="Segoe UI Semibold" panose="020B0702040204020203" pitchFamily="34" charset="0"/>
              </a:rPr>
              <a:t>, faculty, and teachers using </a:t>
            </a:r>
            <a:r>
              <a:rPr kumimoji="0" lang="en-US" sz="1800" b="0" i="0" u="none" strike="noStrike" kern="1200" cap="none" spc="0" normalizeH="0" baseline="0" noProof="0" err="1">
                <a:ln>
                  <a:noFill/>
                </a:ln>
                <a:solidFill>
                  <a:srgbClr val="353535"/>
                </a:solidFill>
                <a:effectLst/>
                <a:uLnTx/>
                <a:uFillTx/>
                <a:latin typeface="Segoe UI Semilight"/>
                <a:ea typeface="+mn-ea"/>
                <a:cs typeface="Segoe UI Semibold" panose="020B0702040204020203" pitchFamily="34" charset="0"/>
              </a:rPr>
              <a:t>Microsof</a:t>
            </a:r>
            <a:r>
              <a:rPr kumimoji="0" lang="en-US" sz="1800" b="0" i="0" u="none" strike="noStrike" kern="1200" cap="none" spc="0" normalizeH="0" baseline="0" noProof="0">
                <a:ln>
                  <a:noFill/>
                </a:ln>
                <a:solidFill>
                  <a:srgbClr val="353535"/>
                </a:solidFill>
                <a:effectLst/>
                <a:uLnTx/>
                <a:uFillTx/>
                <a:latin typeface="Segoe UI Semilight"/>
                <a:ea typeface="+mn-ea"/>
                <a:cs typeface="Segoe UI Semibold" panose="020B0702040204020203" pitchFamily="34" charset="0"/>
              </a:rPr>
              <a:t>t Education products worldwide</a:t>
            </a:r>
          </a:p>
        </p:txBody>
      </p:sp>
      <p:sp>
        <p:nvSpPr>
          <p:cNvPr id="33" name="Rectangle 32">
            <a:extLst>
              <a:ext uri="{FF2B5EF4-FFF2-40B4-BE49-F238E27FC236}">
                <a16:creationId xmlns:a16="http://schemas.microsoft.com/office/drawing/2014/main" id="{AC068894-9622-437A-B604-52CD0CBD81AC}"/>
              </a:ext>
            </a:extLst>
          </p:cNvPr>
          <p:cNvSpPr/>
          <p:nvPr/>
        </p:nvSpPr>
        <p:spPr bwMode="auto">
          <a:xfrm>
            <a:off x="6175907" y="5504691"/>
            <a:ext cx="5824641" cy="11666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839142" rtl="0" eaLnBrk="1" fontAlgn="base" latinLnBrk="0" hangingPunct="1">
              <a:lnSpc>
                <a:spcPct val="100000"/>
              </a:lnSpc>
              <a:spcBef>
                <a:spcPct val="0"/>
              </a:spcBef>
              <a:spcAft>
                <a:spcPct val="0"/>
              </a:spcAft>
              <a:buClrTx/>
              <a:buSzTx/>
              <a:buFontTx/>
              <a:buNone/>
              <a:tabLst/>
              <a:defRPr/>
            </a:pPr>
            <a:r>
              <a:rPr kumimoji="0" lang="en-US" sz="48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110+ nonprofits</a:t>
            </a:r>
          </a:p>
          <a:p>
            <a:pPr marL="0" marR="0" lvl="0" indent="0" algn="l" defTabSz="83914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Segoe UI Semibold" panose="020B0702040204020203" pitchFamily="34" charset="0"/>
              </a:rPr>
              <a:t>in partnership with Microsoft to reach millions of learners</a:t>
            </a:r>
          </a:p>
        </p:txBody>
      </p:sp>
    </p:spTree>
    <p:extLst>
      <p:ext uri="{BB962C8B-B14F-4D97-AF65-F5344CB8AC3E}">
        <p14:creationId xmlns:p14="http://schemas.microsoft.com/office/powerpoint/2010/main" val="162178760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44C90562-784E-4D76-AB89-1A8E4E21919E}"/>
              </a:ext>
              <a:ext uri="{C183D7F6-B498-43B3-948B-1728B52AA6E4}">
                <adec:decorative xmlns:adec="http://schemas.microsoft.com/office/drawing/2017/decorative" val="1"/>
              </a:ext>
            </a:extLst>
          </p:cNvPr>
          <p:cNvSpPr/>
          <p:nvPr/>
        </p:nvSpPr>
        <p:spPr bwMode="auto">
          <a:xfrm>
            <a:off x="89" y="5787512"/>
            <a:ext cx="12434711" cy="1220165"/>
          </a:xfrm>
          <a:prstGeom prst="rect">
            <a:avLst/>
          </a:prstGeom>
          <a:solidFill>
            <a:schemeClr val="tx2"/>
          </a:solidFill>
          <a:ln>
            <a:noFill/>
            <a:headEnd type="none" w="med" len="med"/>
            <a:tailEnd type="none" w="med" len="med"/>
          </a:ln>
          <a:effectLst>
            <a:outerShdw blurRad="190500" dist="381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3B502701-C9EF-45D6-868D-DF7186421821}"/>
              </a:ext>
            </a:extLst>
          </p:cNvPr>
          <p:cNvSpPr>
            <a:spLocks noGrp="1"/>
          </p:cNvSpPr>
          <p:nvPr>
            <p:ph type="title"/>
          </p:nvPr>
        </p:nvSpPr>
        <p:spPr>
          <a:xfrm>
            <a:off x="457200" y="503238"/>
            <a:ext cx="11520488" cy="730139"/>
          </a:xfrm>
        </p:spPr>
        <p:txBody>
          <a:bodyPr/>
          <a:lstStyle/>
          <a:p>
            <a:r>
              <a:rPr lang="en-US">
                <a:solidFill>
                  <a:schemeClr val="tx2"/>
                </a:solidFill>
                <a:latin typeface="Segoe UI Semibold" panose="020B0702040204020203" pitchFamily="34" charset="0"/>
                <a:cs typeface="Segoe UI Semibold" panose="020B0702040204020203" pitchFamily="34" charset="0"/>
              </a:rPr>
              <a:t>Find the right devices </a:t>
            </a:r>
            <a:r>
              <a:rPr lang="en-US"/>
              <a:t>for your school </a:t>
            </a:r>
            <a:r>
              <a:rPr lang="en-US">
                <a:solidFill>
                  <a:schemeClr val="bg1"/>
                </a:solidFill>
              </a:rPr>
              <a:t>slide 1</a:t>
            </a:r>
          </a:p>
        </p:txBody>
      </p:sp>
      <p:graphicFrame>
        <p:nvGraphicFramePr>
          <p:cNvPr id="278" name="Table 2">
            <a:extLst>
              <a:ext uri="{FF2B5EF4-FFF2-40B4-BE49-F238E27FC236}">
                <a16:creationId xmlns:a16="http://schemas.microsoft.com/office/drawing/2014/main" id="{039CD077-F5A7-44B4-A255-0D9AD75F0CC1}"/>
              </a:ext>
            </a:extLst>
          </p:cNvPr>
          <p:cNvGraphicFramePr>
            <a:graphicFrameLocks noGrp="1"/>
          </p:cNvGraphicFramePr>
          <p:nvPr>
            <p:extLst>
              <p:ext uri="{D42A27DB-BD31-4B8C-83A1-F6EECF244321}">
                <p14:modId xmlns:p14="http://schemas.microsoft.com/office/powerpoint/2010/main" val="2383976485"/>
              </p:ext>
            </p:extLst>
          </p:nvPr>
        </p:nvGraphicFramePr>
        <p:xfrm>
          <a:off x="-8741" y="2313335"/>
          <a:ext cx="12431180" cy="1081886"/>
        </p:xfrm>
        <a:graphic>
          <a:graphicData uri="http://schemas.openxmlformats.org/drawingml/2006/table">
            <a:tbl>
              <a:tblPr firstRow="1" bandRow="1">
                <a:tableStyleId>{5C22544A-7EE6-4342-B048-85BDC9FD1C3A}</a:tableStyleId>
              </a:tblPr>
              <a:tblGrid>
                <a:gridCol w="3107795">
                  <a:extLst>
                    <a:ext uri="{9D8B030D-6E8A-4147-A177-3AD203B41FA5}">
                      <a16:colId xmlns:a16="http://schemas.microsoft.com/office/drawing/2014/main" val="3398982997"/>
                    </a:ext>
                  </a:extLst>
                </a:gridCol>
                <a:gridCol w="3107795">
                  <a:extLst>
                    <a:ext uri="{9D8B030D-6E8A-4147-A177-3AD203B41FA5}">
                      <a16:colId xmlns:a16="http://schemas.microsoft.com/office/drawing/2014/main" val="39528479"/>
                    </a:ext>
                  </a:extLst>
                </a:gridCol>
                <a:gridCol w="3107795">
                  <a:extLst>
                    <a:ext uri="{9D8B030D-6E8A-4147-A177-3AD203B41FA5}">
                      <a16:colId xmlns:a16="http://schemas.microsoft.com/office/drawing/2014/main" val="4197934073"/>
                    </a:ext>
                  </a:extLst>
                </a:gridCol>
                <a:gridCol w="3107795">
                  <a:extLst>
                    <a:ext uri="{9D8B030D-6E8A-4147-A177-3AD203B41FA5}">
                      <a16:colId xmlns:a16="http://schemas.microsoft.com/office/drawing/2014/main" val="1162122615"/>
                    </a:ext>
                  </a:extLst>
                </a:gridCol>
              </a:tblGrid>
              <a:tr h="624751">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1400" b="1">
                          <a:solidFill>
                            <a:srgbClr val="0078D7"/>
                          </a:solidFill>
                          <a:latin typeface="Segoe UI Semibold"/>
                          <a:cs typeface="Segoe UI Semibold"/>
                        </a:rPr>
                        <a:t>Acer</a:t>
                      </a:r>
                      <a:r>
                        <a:rPr lang="en-US" sz="1100" b="1">
                          <a:solidFill>
                            <a:srgbClr val="0078D7"/>
                          </a:solidFill>
                          <a:latin typeface="Segoe UI Semibold"/>
                          <a:cs typeface="Segoe UI Semibold"/>
                        </a:rPr>
                        <a:t> </a:t>
                      </a:r>
                    </a:p>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b="0" err="1">
                          <a:solidFill>
                            <a:schemeClr val="tx1"/>
                          </a:solidFill>
                          <a:latin typeface="Segoe UI Semibold" panose="020B0702040204020203" pitchFamily="34" charset="0"/>
                          <a:cs typeface="Segoe UI Semibold" panose="020B0702040204020203" pitchFamily="34" charset="0"/>
                        </a:rPr>
                        <a:t>TravelMate</a:t>
                      </a:r>
                      <a:r>
                        <a:rPr lang="en-US" sz="1000" b="0">
                          <a:solidFill>
                            <a:schemeClr val="tx1"/>
                          </a:solidFill>
                          <a:latin typeface="+mj-lt"/>
                          <a:cs typeface="Segoe UI Semibold" panose="020B0702040204020203" pitchFamily="34" charset="0"/>
                        </a:rPr>
                        <a:t> </a:t>
                      </a:r>
                      <a:r>
                        <a:rPr lang="en-US" sz="1000" b="0" kern="1200">
                          <a:solidFill>
                            <a:schemeClr val="tx1"/>
                          </a:solidFill>
                          <a:latin typeface="+mn-lt"/>
                          <a:ea typeface="+mn-ea"/>
                          <a:cs typeface="Segoe UI Semibold"/>
                        </a:rPr>
                        <a:t>B1/B1 Spin</a:t>
                      </a:r>
                    </a:p>
                    <a:p>
                      <a:pPr marL="0" marR="0" lvl="0" indent="0" algn="ctr" defTabSz="932104" rtl="0" eaLnBrk="1" fontAlgn="auto" latinLnBrk="0" hangingPunct="1">
                        <a:lnSpc>
                          <a:spcPct val="100000"/>
                        </a:lnSpc>
                        <a:spcBef>
                          <a:spcPts val="0"/>
                        </a:spcBef>
                        <a:spcAft>
                          <a:spcPts val="0"/>
                        </a:spcAft>
                        <a:buClrTx/>
                        <a:buSzTx/>
                        <a:buFontTx/>
                        <a:buNone/>
                        <a:tabLst/>
                        <a:defRPr/>
                      </a:pPr>
                      <a:endParaRPr lang="en-US" sz="1000" b="0" kern="1200">
                        <a:solidFill>
                          <a:schemeClr val="tx1"/>
                        </a:solidFill>
                        <a:latin typeface="+mn-lt"/>
                        <a:ea typeface="+mn-ea"/>
                        <a:cs typeface="Segoe UI Semibold"/>
                      </a:endParaRPr>
                    </a:p>
                  </a:txBody>
                  <a:tcPr marL="0" marR="0" marT="45713" marB="45713">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kern="1200">
                          <a:solidFill>
                            <a:srgbClr val="0078D7"/>
                          </a:solidFill>
                          <a:latin typeface="Segoe UI Semibold"/>
                          <a:ea typeface="+mn-ea"/>
                          <a:cs typeface="Segoe UI Semibold"/>
                        </a:rPr>
                        <a:t>Acer</a:t>
                      </a:r>
                      <a:r>
                        <a:rPr lang="en-US" sz="1100" b="1">
                          <a:solidFill>
                            <a:srgbClr val="0078D7"/>
                          </a:solidFill>
                          <a:latin typeface="Segoe UI Semibold"/>
                          <a:cs typeface="Segoe UI Semibold"/>
                        </a:rPr>
                        <a:t> </a:t>
                      </a:r>
                    </a:p>
                    <a:p>
                      <a:pPr algn="ctr"/>
                      <a:r>
                        <a:rPr lang="en-US" sz="1000" b="0" kern="1200" err="1">
                          <a:solidFill>
                            <a:schemeClr val="tx1"/>
                          </a:solidFill>
                          <a:latin typeface="Segoe UI Semibold" panose="020B0702040204020203" pitchFamily="34" charset="0"/>
                          <a:ea typeface="+mn-ea"/>
                          <a:cs typeface="Segoe UI Semibold" panose="020B0702040204020203" pitchFamily="34" charset="0"/>
                        </a:rPr>
                        <a:t>TravelMate</a:t>
                      </a:r>
                      <a:r>
                        <a:rPr lang="en-US" sz="1000" b="0" kern="1200">
                          <a:solidFill>
                            <a:schemeClr val="tx1"/>
                          </a:solidFill>
                          <a:latin typeface="+mj-lt"/>
                          <a:ea typeface="+mn-ea"/>
                          <a:cs typeface="Segoe UI Semibold" panose="020B0702040204020203" pitchFamily="34" charset="0"/>
                        </a:rPr>
                        <a:t> </a:t>
                      </a:r>
                      <a:r>
                        <a:rPr lang="en-US" sz="1000" b="0" kern="1200">
                          <a:solidFill>
                            <a:schemeClr val="tx1"/>
                          </a:solidFill>
                          <a:latin typeface="+mn-lt"/>
                          <a:ea typeface="+mn-ea"/>
                          <a:cs typeface="Segoe UI Semibold"/>
                        </a:rPr>
                        <a:t>B3/B3 Spin</a:t>
                      </a:r>
                    </a:p>
                    <a:p>
                      <a:pPr algn="ctr"/>
                      <a:endParaRPr lang="en-US" sz="1000" b="0" kern="1200">
                        <a:solidFill>
                          <a:schemeClr val="tx1"/>
                        </a:solidFill>
                        <a:latin typeface="+mn-lt"/>
                        <a:ea typeface="+mn-ea"/>
                        <a:cs typeface="Segoe UI Semibold"/>
                      </a:endParaRPr>
                    </a:p>
                  </a:txBody>
                  <a:tcPr marL="0" marR="0" marT="45713" marB="4571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1" kern="1200">
                          <a:solidFill>
                            <a:srgbClr val="0078D7"/>
                          </a:solidFill>
                          <a:latin typeface="Segoe UI Semibold"/>
                          <a:ea typeface="+mn-ea"/>
                          <a:cs typeface="Segoe UI Semibold"/>
                        </a:rPr>
                        <a:t>Asus </a:t>
                      </a:r>
                    </a:p>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Segoe UI Semibold" panose="020B0702040204020203" pitchFamily="34" charset="0"/>
                          <a:ea typeface="+mn-ea"/>
                          <a:cs typeface="Segoe UI Semibold" panose="020B0702040204020203" pitchFamily="34" charset="0"/>
                        </a:rPr>
                        <a:t>NEW Devices </a:t>
                      </a:r>
                      <a:r>
                        <a:rPr lang="en-US" sz="1000" b="0" kern="1200">
                          <a:solidFill>
                            <a:schemeClr val="tx1"/>
                          </a:solidFill>
                          <a:latin typeface="+mn-lt"/>
                          <a:ea typeface="+mn-ea"/>
                          <a:cs typeface="Segoe UI Semibold"/>
                        </a:rPr>
                        <a:t>Coming Soon</a:t>
                      </a:r>
                    </a:p>
                    <a:p>
                      <a:pPr algn="ctr">
                        <a:spcAft>
                          <a:spcPts val="0"/>
                        </a:spcAft>
                      </a:pPr>
                      <a:endParaRPr lang="en-US" sz="1000" b="0" kern="1200">
                        <a:solidFill>
                          <a:schemeClr val="tx1"/>
                        </a:solidFill>
                        <a:latin typeface="+mn-lt"/>
                        <a:ea typeface="+mn-ea"/>
                        <a:cs typeface="Segoe UI Semibold"/>
                      </a:endParaRPr>
                    </a:p>
                  </a:txBody>
                  <a:tcPr marL="0" marR="0" marT="45713" marB="4571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1" kern="1200">
                          <a:solidFill>
                            <a:srgbClr val="0078D7"/>
                          </a:solidFill>
                          <a:latin typeface="Segoe UI Semibold"/>
                          <a:ea typeface="+mn-ea"/>
                          <a:cs typeface="Segoe UI Semibold"/>
                        </a:rPr>
                        <a:t>Asus</a:t>
                      </a:r>
                      <a:endParaRPr lang="en-US" sz="1000" b="1" kern="1200">
                        <a:solidFill>
                          <a:srgbClr val="0078D7"/>
                        </a:solidFill>
                        <a:latin typeface="Segoe UI Semibold"/>
                        <a:ea typeface="+mn-ea"/>
                        <a:cs typeface="Segoe UI Semibold"/>
                      </a:endParaRPr>
                    </a:p>
                    <a:p>
                      <a:pPr algn="ctr">
                        <a:spcAft>
                          <a:spcPts val="0"/>
                        </a:spcAft>
                      </a:pPr>
                      <a:r>
                        <a:rPr lang="en-US" sz="1000" b="0" kern="1200">
                          <a:solidFill>
                            <a:schemeClr val="tx1"/>
                          </a:solidFill>
                          <a:latin typeface="Segoe UI Semibold" panose="020B0702040204020203" pitchFamily="34" charset="0"/>
                          <a:ea typeface="+mn-ea"/>
                          <a:cs typeface="Segoe UI Semibold" panose="020B0702040204020203" pitchFamily="34" charset="0"/>
                        </a:rPr>
                        <a:t>VivoBook</a:t>
                      </a:r>
                      <a:r>
                        <a:rPr lang="en-US" sz="1000" b="0">
                          <a:solidFill>
                            <a:schemeClr val="tx1"/>
                          </a:solidFill>
                          <a:latin typeface="+mj-lt"/>
                          <a:cs typeface="Segoe UI Semibold"/>
                        </a:rPr>
                        <a:t> </a:t>
                      </a:r>
                      <a:r>
                        <a:rPr lang="en-US" sz="1000" b="0" kern="1200">
                          <a:solidFill>
                            <a:schemeClr val="tx1"/>
                          </a:solidFill>
                          <a:latin typeface="+mn-lt"/>
                          <a:ea typeface="+mn-ea"/>
                          <a:cs typeface="Segoe UI Semibold"/>
                        </a:rPr>
                        <a:t>W202</a:t>
                      </a:r>
                    </a:p>
                    <a:p>
                      <a:pPr algn="ctr">
                        <a:spcAft>
                          <a:spcPts val="0"/>
                        </a:spcAft>
                      </a:pPr>
                      <a:endParaRPr lang="en-US" sz="1000" b="0" kern="1200">
                        <a:solidFill>
                          <a:schemeClr val="tx1"/>
                        </a:solidFill>
                        <a:latin typeface="+mn-lt"/>
                        <a:ea typeface="+mn-ea"/>
                        <a:cs typeface="Segoe UI Semibold"/>
                      </a:endParaRPr>
                    </a:p>
                  </a:txBody>
                  <a:tcPr marL="0" marR="0" marT="45713" marB="4571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9340179"/>
                  </a:ext>
                </a:extLst>
              </a:tr>
              <a:tr h="457135">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a:solidFill>
                            <a:schemeClr val="tx1"/>
                          </a:solidFill>
                          <a:latin typeface="Segoe UI Semibold" panose="020B0702040204020203" pitchFamily="34" charset="0"/>
                          <a:cs typeface="Segoe UI Semibold" panose="020B0702040204020203" pitchFamily="34" charset="0"/>
                        </a:rPr>
                        <a:t>Intel</a:t>
                      </a:r>
                      <a:r>
                        <a:rPr lang="en-US" sz="1000">
                          <a:solidFill>
                            <a:schemeClr val="tx1"/>
                          </a:solidFill>
                          <a:latin typeface="+mn-lt"/>
                          <a:cs typeface="Segoe UI Semibold" panose="020B0702040204020203" pitchFamily="34" charset="0"/>
                        </a:rPr>
                        <a:t>: $259+</a:t>
                      </a:r>
                    </a:p>
                  </a:txBody>
                  <a:tcPr marL="0" marR="0" marT="91427"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kern="1200">
                          <a:solidFill>
                            <a:schemeClr val="tx1"/>
                          </a:solidFill>
                          <a:latin typeface="Segoe UI Semibold" panose="020B0702040204020203" pitchFamily="34" charset="0"/>
                          <a:ea typeface="+mn-ea"/>
                          <a:cs typeface="Segoe UI Semibold" panose="020B0702040204020203" pitchFamily="34" charset="0"/>
                        </a:rPr>
                        <a:t>Intel</a:t>
                      </a:r>
                      <a:r>
                        <a:rPr lang="en-US" sz="1000">
                          <a:solidFill>
                            <a:schemeClr val="tx1"/>
                          </a:solidFill>
                          <a:latin typeface="+mn-lt"/>
                          <a:cs typeface="Segoe UI Semibold"/>
                        </a:rPr>
                        <a:t>: $239+</a:t>
                      </a:r>
                    </a:p>
                  </a:txBody>
                  <a:tcPr marL="0" marR="0" marT="9142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a:solidFill>
                          <a:schemeClr val="tx1"/>
                        </a:solidFill>
                        <a:latin typeface="+mn-lt"/>
                        <a:cs typeface="Segoe UI Semibold"/>
                      </a:endParaRPr>
                    </a:p>
                  </a:txBody>
                  <a:tcPr marL="0" marR="0" marT="9142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kern="1200">
                          <a:solidFill>
                            <a:schemeClr val="tx1"/>
                          </a:solidFill>
                          <a:latin typeface="Segoe UI Semibold" panose="020B0702040204020203" pitchFamily="34" charset="0"/>
                          <a:ea typeface="+mn-ea"/>
                          <a:cs typeface="Segoe UI Semibold" panose="020B0702040204020203" pitchFamily="34" charset="0"/>
                        </a:rPr>
                        <a:t>Intel</a:t>
                      </a:r>
                      <a:r>
                        <a:rPr lang="en-US" sz="1000">
                          <a:solidFill>
                            <a:schemeClr val="tx1"/>
                          </a:solidFill>
                          <a:latin typeface="+mn-lt"/>
                          <a:cs typeface="Segoe UI Semibold"/>
                        </a:rPr>
                        <a:t>: $199+</a:t>
                      </a:r>
                    </a:p>
                    <a:p>
                      <a:pPr marL="0" marR="0" lvl="0" indent="0" algn="ctr" defTabSz="932104" rtl="0" eaLnBrk="1" fontAlgn="auto" latinLnBrk="0" hangingPunct="1">
                        <a:lnSpc>
                          <a:spcPct val="100000"/>
                        </a:lnSpc>
                        <a:spcBef>
                          <a:spcPts val="0"/>
                        </a:spcBef>
                        <a:spcAft>
                          <a:spcPts val="0"/>
                        </a:spcAft>
                        <a:buClrTx/>
                        <a:buSzTx/>
                        <a:buFontTx/>
                        <a:buNone/>
                        <a:tabLst/>
                        <a:defRPr/>
                      </a:pPr>
                      <a:endParaRPr lang="en-US" sz="800">
                        <a:solidFill>
                          <a:schemeClr val="tx1"/>
                        </a:solidFill>
                        <a:latin typeface="+mn-lt"/>
                        <a:cs typeface="Segoe UI Semibold"/>
                      </a:endParaRPr>
                    </a:p>
                  </a:txBody>
                  <a:tcPr marL="0" marR="0" marT="9142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9416787"/>
                  </a:ext>
                </a:extLst>
              </a:tr>
            </a:tbl>
          </a:graphicData>
        </a:graphic>
      </p:graphicFrame>
      <p:graphicFrame>
        <p:nvGraphicFramePr>
          <p:cNvPr id="283" name="Table 2">
            <a:extLst>
              <a:ext uri="{FF2B5EF4-FFF2-40B4-BE49-F238E27FC236}">
                <a16:creationId xmlns:a16="http://schemas.microsoft.com/office/drawing/2014/main" id="{12EA3EA6-CAB7-441D-8E19-401F6F7C96B1}"/>
              </a:ext>
            </a:extLst>
          </p:cNvPr>
          <p:cNvGraphicFramePr>
            <a:graphicFrameLocks noGrp="1"/>
          </p:cNvGraphicFramePr>
          <p:nvPr>
            <p:extLst>
              <p:ext uri="{D42A27DB-BD31-4B8C-83A1-F6EECF244321}">
                <p14:modId xmlns:p14="http://schemas.microsoft.com/office/powerpoint/2010/main" val="1655125920"/>
              </p:ext>
            </p:extLst>
          </p:nvPr>
        </p:nvGraphicFramePr>
        <p:xfrm>
          <a:off x="91" y="4661068"/>
          <a:ext cx="12431175" cy="1081886"/>
        </p:xfrm>
        <a:graphic>
          <a:graphicData uri="http://schemas.openxmlformats.org/drawingml/2006/table">
            <a:tbl>
              <a:tblPr firstRow="1" bandRow="1">
                <a:tableStyleId>{5C22544A-7EE6-4342-B048-85BDC9FD1C3A}</a:tableStyleId>
              </a:tblPr>
              <a:tblGrid>
                <a:gridCol w="2486235">
                  <a:extLst>
                    <a:ext uri="{9D8B030D-6E8A-4147-A177-3AD203B41FA5}">
                      <a16:colId xmlns:a16="http://schemas.microsoft.com/office/drawing/2014/main" val="3398982997"/>
                    </a:ext>
                  </a:extLst>
                </a:gridCol>
                <a:gridCol w="2486235">
                  <a:extLst>
                    <a:ext uri="{9D8B030D-6E8A-4147-A177-3AD203B41FA5}">
                      <a16:colId xmlns:a16="http://schemas.microsoft.com/office/drawing/2014/main" val="39528479"/>
                    </a:ext>
                  </a:extLst>
                </a:gridCol>
                <a:gridCol w="2486235">
                  <a:extLst>
                    <a:ext uri="{9D8B030D-6E8A-4147-A177-3AD203B41FA5}">
                      <a16:colId xmlns:a16="http://schemas.microsoft.com/office/drawing/2014/main" val="4197934073"/>
                    </a:ext>
                  </a:extLst>
                </a:gridCol>
                <a:gridCol w="2486235">
                  <a:extLst>
                    <a:ext uri="{9D8B030D-6E8A-4147-A177-3AD203B41FA5}">
                      <a16:colId xmlns:a16="http://schemas.microsoft.com/office/drawing/2014/main" val="1162122615"/>
                    </a:ext>
                  </a:extLst>
                </a:gridCol>
                <a:gridCol w="2486235">
                  <a:extLst>
                    <a:ext uri="{9D8B030D-6E8A-4147-A177-3AD203B41FA5}">
                      <a16:colId xmlns:a16="http://schemas.microsoft.com/office/drawing/2014/main" val="20185284"/>
                    </a:ext>
                  </a:extLst>
                </a:gridCol>
              </a:tblGrid>
              <a:tr h="624751">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1400" b="1" kern="1200">
                          <a:solidFill>
                            <a:srgbClr val="0078D7"/>
                          </a:solidFill>
                          <a:latin typeface="Segoe UI Semibold"/>
                          <a:ea typeface="+mn-ea"/>
                          <a:cs typeface="Segoe UI Semibold"/>
                        </a:rPr>
                        <a:t>Dell</a:t>
                      </a:r>
                      <a:r>
                        <a:rPr lang="en-US" sz="1100" b="1" kern="1200">
                          <a:solidFill>
                            <a:srgbClr val="0078D7"/>
                          </a:solidFill>
                          <a:latin typeface="Segoe UI Semibold"/>
                          <a:ea typeface="+mn-ea"/>
                          <a:cs typeface="Segoe UI Semibold"/>
                        </a:rPr>
                        <a:t> </a:t>
                      </a:r>
                      <a:endParaRPr lang="en-US" sz="1000" b="1" kern="1200">
                        <a:solidFill>
                          <a:srgbClr val="0078D7"/>
                        </a:solidFill>
                        <a:latin typeface="Segoe UI Semibold"/>
                        <a:ea typeface="+mn-ea"/>
                        <a:cs typeface="Segoe UI Semibold"/>
                      </a:endParaRPr>
                    </a:p>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Segoe UI Semibold" panose="020B0702040204020203" pitchFamily="34" charset="0"/>
                          <a:ea typeface="+mn-ea"/>
                          <a:cs typeface="Segoe UI Semibold" panose="020B0702040204020203" pitchFamily="34" charset="0"/>
                        </a:rPr>
                        <a:t>Latitude</a:t>
                      </a:r>
                      <a:r>
                        <a:rPr lang="en-US" sz="1000" b="1" kern="1200">
                          <a:solidFill>
                            <a:srgbClr val="0078D7"/>
                          </a:solidFill>
                          <a:latin typeface="Segoe UI Semibold"/>
                          <a:ea typeface="+mn-ea"/>
                          <a:cs typeface="Segoe UI Semibold"/>
                        </a:rPr>
                        <a:t> </a:t>
                      </a:r>
                      <a:r>
                        <a:rPr lang="en-US" sz="1000" b="0" kern="1200">
                          <a:solidFill>
                            <a:schemeClr val="tx1"/>
                          </a:solidFill>
                          <a:latin typeface="+mn-lt"/>
                          <a:ea typeface="+mn-ea"/>
                          <a:cs typeface="Segoe UI Semibold"/>
                        </a:rPr>
                        <a:t>3190/3190 2-in-1</a:t>
                      </a:r>
                    </a:p>
                  </a:txBody>
                  <a:tcPr marL="0" marR="0" marT="45713" marB="45713">
                    <a:lnL w="12700" cmpd="sng">
                      <a:noFill/>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1400" b="1" kern="1200">
                          <a:solidFill>
                            <a:srgbClr val="0078D7"/>
                          </a:solidFill>
                          <a:latin typeface="Segoe UI Semibold"/>
                          <a:ea typeface="+mn-ea"/>
                          <a:cs typeface="Segoe UI Semibold"/>
                        </a:rPr>
                        <a:t>Dell</a:t>
                      </a:r>
                      <a:r>
                        <a:rPr lang="en-US" sz="1000" b="1" kern="1200">
                          <a:solidFill>
                            <a:srgbClr val="0078D7"/>
                          </a:solidFill>
                          <a:latin typeface="Segoe UI Semibold"/>
                          <a:ea typeface="+mn-ea"/>
                          <a:cs typeface="Segoe UI Semibold"/>
                        </a:rPr>
                        <a:t> </a:t>
                      </a:r>
                    </a:p>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Segoe UI Semibold" panose="020B0702040204020203" pitchFamily="34" charset="0"/>
                          <a:ea typeface="+mn-ea"/>
                          <a:cs typeface="Segoe UI Semibold" panose="020B0702040204020203" pitchFamily="34" charset="0"/>
                        </a:rPr>
                        <a:t>Latitude</a:t>
                      </a:r>
                      <a:r>
                        <a:rPr lang="en-US" sz="1000" b="1" kern="1200">
                          <a:solidFill>
                            <a:srgbClr val="0078D7"/>
                          </a:solidFill>
                          <a:latin typeface="Segoe UI Semibold"/>
                          <a:ea typeface="+mn-ea"/>
                          <a:cs typeface="Segoe UI Semibold"/>
                        </a:rPr>
                        <a:t> </a:t>
                      </a:r>
                      <a:r>
                        <a:rPr lang="en-US" sz="1000" b="0" kern="1200">
                          <a:solidFill>
                            <a:schemeClr val="tx1"/>
                          </a:solidFill>
                          <a:latin typeface="+mn-lt"/>
                          <a:ea typeface="+mn-ea"/>
                          <a:cs typeface="Segoe UI Semibold"/>
                        </a:rPr>
                        <a:t>3310/3310 2-in-1</a:t>
                      </a:r>
                    </a:p>
                  </a:txBody>
                  <a:tcPr marL="0" marR="0" marT="45713" marB="45713">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1400" b="1" kern="1200">
                          <a:solidFill>
                            <a:srgbClr val="0078D7"/>
                          </a:solidFill>
                          <a:latin typeface="Segoe UI Semibold"/>
                          <a:ea typeface="+mn-ea"/>
                          <a:cs typeface="Segoe UI Semibold"/>
                        </a:rPr>
                        <a:t>HP</a:t>
                      </a:r>
                      <a:r>
                        <a:rPr lang="en-US" sz="1100" b="1">
                          <a:solidFill>
                            <a:srgbClr val="0078D7"/>
                          </a:solidFill>
                          <a:latin typeface="Segoe UI Semibold"/>
                          <a:cs typeface="Segoe UI Semibold"/>
                        </a:rPr>
                        <a:t> </a:t>
                      </a:r>
                    </a:p>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Segoe UI Semibold" panose="020B0702040204020203" pitchFamily="34" charset="0"/>
                          <a:ea typeface="+mn-ea"/>
                          <a:cs typeface="Segoe UI Semibold" panose="020B0702040204020203" pitchFamily="34" charset="0"/>
                        </a:rPr>
                        <a:t>Stream 11 Pro </a:t>
                      </a:r>
                      <a:r>
                        <a:rPr lang="en-US" sz="1000" b="0" kern="1200">
                          <a:solidFill>
                            <a:schemeClr val="tx1"/>
                          </a:solidFill>
                          <a:latin typeface="+mn-lt"/>
                          <a:ea typeface="+mn-ea"/>
                          <a:cs typeface="Segoe UI Semibold"/>
                        </a:rPr>
                        <a:t>G5 EE</a:t>
                      </a:r>
                    </a:p>
                  </a:txBody>
                  <a:tcPr marL="0" marR="0" marT="45713" marB="45713">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kern="1200">
                          <a:solidFill>
                            <a:srgbClr val="0078D7"/>
                          </a:solidFill>
                          <a:latin typeface="Segoe UI Semibold"/>
                          <a:ea typeface="+mn-ea"/>
                          <a:cs typeface="Segoe UI Semibold"/>
                        </a:rPr>
                        <a:t>HP</a:t>
                      </a:r>
                      <a:r>
                        <a:rPr lang="en-US" sz="1100" b="1">
                          <a:solidFill>
                            <a:srgbClr val="0078D7"/>
                          </a:solidFill>
                          <a:latin typeface="Segoe UI Semibold"/>
                          <a:cs typeface="Segoe UI Semibold"/>
                        </a:rPr>
                        <a:t> </a:t>
                      </a:r>
                      <a:endParaRPr lang="en-US" sz="1000" b="1">
                        <a:solidFill>
                          <a:srgbClr val="0078D7"/>
                        </a:solidFill>
                        <a:latin typeface="Segoe UI Semibold"/>
                        <a:cs typeface="Segoe UI Semibold"/>
                      </a:endParaRPr>
                    </a:p>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Segoe UI Semibold" panose="020B0702040204020203" pitchFamily="34" charset="0"/>
                          <a:ea typeface="+mn-ea"/>
                          <a:cs typeface="Segoe UI Semibold" panose="020B0702040204020203" pitchFamily="34" charset="0"/>
                        </a:rPr>
                        <a:t>ProBook x360 11 EE G6</a:t>
                      </a:r>
                    </a:p>
                    <a:p>
                      <a:pPr algn="ctr"/>
                      <a:endParaRPr lang="en-US" sz="1000" b="0" kern="1200">
                        <a:solidFill>
                          <a:schemeClr val="tx1"/>
                        </a:solidFill>
                        <a:latin typeface="+mn-lt"/>
                        <a:ea typeface="+mn-ea"/>
                        <a:cs typeface="Segoe UI Semibold"/>
                      </a:endParaRPr>
                    </a:p>
                  </a:txBody>
                  <a:tcPr marL="0" marR="0" marT="45713" marB="45713">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1400" b="1" kern="1200">
                          <a:solidFill>
                            <a:srgbClr val="0078D7"/>
                          </a:solidFill>
                          <a:latin typeface="Segoe UI Semibold"/>
                          <a:ea typeface="+mn-ea"/>
                          <a:cs typeface="Segoe UI Semibold"/>
                        </a:rPr>
                        <a:t>HP</a:t>
                      </a:r>
                      <a:r>
                        <a:rPr lang="en-US" sz="1100" b="1">
                          <a:solidFill>
                            <a:srgbClr val="0078D7"/>
                          </a:solidFill>
                          <a:latin typeface="Segoe UI Semibold"/>
                          <a:cs typeface="Segoe UI Semibold"/>
                        </a:rPr>
                        <a:t> </a:t>
                      </a:r>
                    </a:p>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Segoe UI Semibold" panose="020B0702040204020203" pitchFamily="34" charset="0"/>
                          <a:ea typeface="+mn-ea"/>
                          <a:cs typeface="Segoe UI Semibold" panose="020B0702040204020203" pitchFamily="34" charset="0"/>
                        </a:rPr>
                        <a:t>245 </a:t>
                      </a:r>
                      <a:r>
                        <a:rPr lang="en-US" sz="1000" b="0" kern="1200">
                          <a:solidFill>
                            <a:schemeClr val="tx1"/>
                          </a:solidFill>
                          <a:latin typeface="+mn-lt"/>
                          <a:ea typeface="+mn-ea"/>
                          <a:cs typeface="Segoe UI Semibold"/>
                        </a:rPr>
                        <a:t>(AMD)</a:t>
                      </a:r>
                    </a:p>
                  </a:txBody>
                  <a:tcPr marL="0" marR="0" marT="45713" marB="45713">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9340179"/>
                  </a:ext>
                </a:extLst>
              </a:tr>
              <a:tr h="457135">
                <a:tc>
                  <a:txBody>
                    <a:bodyPr/>
                    <a:lstStyle/>
                    <a:p>
                      <a:pPr algn="ctr"/>
                      <a:r>
                        <a:rPr lang="en-US" sz="1000" kern="1200">
                          <a:solidFill>
                            <a:schemeClr val="tx1"/>
                          </a:solidFill>
                          <a:latin typeface="Segoe UI Semibold" panose="020B0702040204020203" pitchFamily="34" charset="0"/>
                          <a:ea typeface="+mn-ea"/>
                          <a:cs typeface="Segoe UI Semibold" panose="020B0702040204020203" pitchFamily="34" charset="0"/>
                        </a:rPr>
                        <a:t>Intel: </a:t>
                      </a:r>
                      <a:r>
                        <a:rPr lang="en-US" sz="1000" kern="1200">
                          <a:solidFill>
                            <a:schemeClr val="tx1"/>
                          </a:solidFill>
                          <a:latin typeface="+mn-lt"/>
                          <a:ea typeface="+mn-ea"/>
                          <a:cs typeface="Segoe UI Semibold" panose="020B0702040204020203" pitchFamily="34" charset="0"/>
                        </a:rPr>
                        <a:t>$249+</a:t>
                      </a:r>
                    </a:p>
                  </a:txBody>
                  <a:tcPr marL="0" marR="0" marT="0" marB="45713" anchor="ct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a:solidFill>
                            <a:schemeClr val="tx1"/>
                          </a:solidFill>
                          <a:latin typeface="Segoe UI Semibold" panose="020B0702040204020203" pitchFamily="34" charset="0"/>
                          <a:cs typeface="Segoe UI Semibold" panose="020B0702040204020203" pitchFamily="34" charset="0"/>
                        </a:rPr>
                        <a:t>Intel: </a:t>
                      </a:r>
                      <a:r>
                        <a:rPr lang="en-US" sz="1000" kern="1200">
                          <a:solidFill>
                            <a:schemeClr val="tx1"/>
                          </a:solidFill>
                          <a:latin typeface="+mn-lt"/>
                          <a:ea typeface="+mn-ea"/>
                          <a:cs typeface="Segoe UI Semibold" panose="020B0702040204020203" pitchFamily="34" charset="0"/>
                        </a:rPr>
                        <a:t>$299+</a:t>
                      </a:r>
                    </a:p>
                  </a:txBody>
                  <a:tcPr marL="0" marR="0" marT="0" marB="4571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a:solidFill>
                            <a:schemeClr val="tx1"/>
                          </a:solidFill>
                          <a:latin typeface="Segoe UI Semibold"/>
                          <a:cs typeface="Segoe UI Semibold"/>
                        </a:rPr>
                        <a:t>Intel: </a:t>
                      </a:r>
                      <a:r>
                        <a:rPr lang="en-US" sz="1000" kern="1200">
                          <a:solidFill>
                            <a:schemeClr val="tx1"/>
                          </a:solidFill>
                          <a:latin typeface="+mn-lt"/>
                          <a:ea typeface="+mn-ea"/>
                          <a:cs typeface="Segoe UI Semibold" panose="020B0702040204020203" pitchFamily="34" charset="0"/>
                        </a:rPr>
                        <a:t>$239+</a:t>
                      </a:r>
                    </a:p>
                  </a:txBody>
                  <a:tcPr marL="0" marR="0" marT="0" marB="4571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kern="1200">
                          <a:solidFill>
                            <a:schemeClr val="tx1"/>
                          </a:solidFill>
                          <a:latin typeface="+mn-lt"/>
                          <a:ea typeface="+mn-ea"/>
                          <a:cs typeface="Segoe UI Semibold" panose="020B0702040204020203" pitchFamily="34" charset="0"/>
                        </a:rPr>
                        <a:t>$329+</a:t>
                      </a:r>
                    </a:p>
                  </a:txBody>
                  <a:tcPr marL="0" marR="0" marT="0" marB="4571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a:solidFill>
                            <a:schemeClr val="tx1"/>
                          </a:solidFill>
                          <a:latin typeface="Segoe UI Semibold"/>
                          <a:cs typeface="Segoe UI Semibold"/>
                        </a:rPr>
                        <a:t>AMD: </a:t>
                      </a:r>
                      <a:r>
                        <a:rPr lang="en-US" sz="1000" kern="1200">
                          <a:solidFill>
                            <a:schemeClr val="tx1"/>
                          </a:solidFill>
                          <a:latin typeface="+mn-lt"/>
                          <a:ea typeface="+mn-ea"/>
                          <a:cs typeface="Segoe UI Semibold" panose="020B0702040204020203" pitchFamily="34" charset="0"/>
                        </a:rPr>
                        <a:t>$329+</a:t>
                      </a:r>
                    </a:p>
                  </a:txBody>
                  <a:tcPr marL="0" marR="0" marT="0" marB="4571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9416787"/>
                  </a:ext>
                </a:extLst>
              </a:tr>
            </a:tbl>
          </a:graphicData>
        </a:graphic>
      </p:graphicFrame>
      <p:graphicFrame>
        <p:nvGraphicFramePr>
          <p:cNvPr id="24" name="Table 416">
            <a:extLst>
              <a:ext uri="{FF2B5EF4-FFF2-40B4-BE49-F238E27FC236}">
                <a16:creationId xmlns:a16="http://schemas.microsoft.com/office/drawing/2014/main" id="{2CA8B193-8630-40EC-8560-985EC4988835}"/>
              </a:ext>
              <a:ext uri="{C183D7F6-B498-43B3-948B-1728B52AA6E4}">
                <adec:decorative xmlns:adec="http://schemas.microsoft.com/office/drawing/2017/decorative" val="0"/>
              </a:ext>
            </a:extLst>
          </p:cNvPr>
          <p:cNvGraphicFramePr>
            <a:graphicFrameLocks noGrp="1"/>
          </p:cNvGraphicFramePr>
          <p:nvPr>
            <p:extLst>
              <p:ext uri="{D42A27DB-BD31-4B8C-83A1-F6EECF244321}">
                <p14:modId xmlns:p14="http://schemas.microsoft.com/office/powerpoint/2010/main" val="964861056"/>
              </p:ext>
            </p:extLst>
          </p:nvPr>
        </p:nvGraphicFramePr>
        <p:xfrm>
          <a:off x="87" y="6259608"/>
          <a:ext cx="12434708" cy="448148"/>
        </p:xfrm>
        <a:graphic>
          <a:graphicData uri="http://schemas.openxmlformats.org/drawingml/2006/table">
            <a:tbl>
              <a:tblPr firstRow="1" bandRow="1">
                <a:tableStyleId>{5C22544A-7EE6-4342-B048-85BDC9FD1C3A}</a:tableStyleId>
              </a:tblPr>
              <a:tblGrid>
                <a:gridCol w="956516">
                  <a:extLst>
                    <a:ext uri="{9D8B030D-6E8A-4147-A177-3AD203B41FA5}">
                      <a16:colId xmlns:a16="http://schemas.microsoft.com/office/drawing/2014/main" val="2926525858"/>
                    </a:ext>
                  </a:extLst>
                </a:gridCol>
                <a:gridCol w="956516">
                  <a:extLst>
                    <a:ext uri="{9D8B030D-6E8A-4147-A177-3AD203B41FA5}">
                      <a16:colId xmlns:a16="http://schemas.microsoft.com/office/drawing/2014/main" val="419483106"/>
                    </a:ext>
                  </a:extLst>
                </a:gridCol>
                <a:gridCol w="956516">
                  <a:extLst>
                    <a:ext uri="{9D8B030D-6E8A-4147-A177-3AD203B41FA5}">
                      <a16:colId xmlns:a16="http://schemas.microsoft.com/office/drawing/2014/main" val="4256894392"/>
                    </a:ext>
                  </a:extLst>
                </a:gridCol>
                <a:gridCol w="956516">
                  <a:extLst>
                    <a:ext uri="{9D8B030D-6E8A-4147-A177-3AD203B41FA5}">
                      <a16:colId xmlns:a16="http://schemas.microsoft.com/office/drawing/2014/main" val="999496664"/>
                    </a:ext>
                  </a:extLst>
                </a:gridCol>
                <a:gridCol w="956516">
                  <a:extLst>
                    <a:ext uri="{9D8B030D-6E8A-4147-A177-3AD203B41FA5}">
                      <a16:colId xmlns:a16="http://schemas.microsoft.com/office/drawing/2014/main" val="672864849"/>
                    </a:ext>
                  </a:extLst>
                </a:gridCol>
                <a:gridCol w="956516">
                  <a:extLst>
                    <a:ext uri="{9D8B030D-6E8A-4147-A177-3AD203B41FA5}">
                      <a16:colId xmlns:a16="http://schemas.microsoft.com/office/drawing/2014/main" val="1976416070"/>
                    </a:ext>
                  </a:extLst>
                </a:gridCol>
                <a:gridCol w="956516">
                  <a:extLst>
                    <a:ext uri="{9D8B030D-6E8A-4147-A177-3AD203B41FA5}">
                      <a16:colId xmlns:a16="http://schemas.microsoft.com/office/drawing/2014/main" val="629464174"/>
                    </a:ext>
                  </a:extLst>
                </a:gridCol>
                <a:gridCol w="956516">
                  <a:extLst>
                    <a:ext uri="{9D8B030D-6E8A-4147-A177-3AD203B41FA5}">
                      <a16:colId xmlns:a16="http://schemas.microsoft.com/office/drawing/2014/main" val="1903279566"/>
                    </a:ext>
                  </a:extLst>
                </a:gridCol>
                <a:gridCol w="956516">
                  <a:extLst>
                    <a:ext uri="{9D8B030D-6E8A-4147-A177-3AD203B41FA5}">
                      <a16:colId xmlns:a16="http://schemas.microsoft.com/office/drawing/2014/main" val="3515711276"/>
                    </a:ext>
                  </a:extLst>
                </a:gridCol>
                <a:gridCol w="956516">
                  <a:extLst>
                    <a:ext uri="{9D8B030D-6E8A-4147-A177-3AD203B41FA5}">
                      <a16:colId xmlns:a16="http://schemas.microsoft.com/office/drawing/2014/main" val="3973840213"/>
                    </a:ext>
                  </a:extLst>
                </a:gridCol>
                <a:gridCol w="956516">
                  <a:extLst>
                    <a:ext uri="{9D8B030D-6E8A-4147-A177-3AD203B41FA5}">
                      <a16:colId xmlns:a16="http://schemas.microsoft.com/office/drawing/2014/main" val="2766551188"/>
                    </a:ext>
                  </a:extLst>
                </a:gridCol>
                <a:gridCol w="956516">
                  <a:extLst>
                    <a:ext uri="{9D8B030D-6E8A-4147-A177-3AD203B41FA5}">
                      <a16:colId xmlns:a16="http://schemas.microsoft.com/office/drawing/2014/main" val="2234175323"/>
                    </a:ext>
                  </a:extLst>
                </a:gridCol>
                <a:gridCol w="956516">
                  <a:extLst>
                    <a:ext uri="{9D8B030D-6E8A-4147-A177-3AD203B41FA5}">
                      <a16:colId xmlns:a16="http://schemas.microsoft.com/office/drawing/2014/main" val="1843979547"/>
                    </a:ext>
                  </a:extLst>
                </a:gridCol>
              </a:tblGrid>
              <a:tr h="448148">
                <a:tc>
                  <a:txBody>
                    <a:bodyPr/>
                    <a:lstStyle/>
                    <a:p>
                      <a:pPr marL="0" marR="0" indent="0" algn="ctr" rtl="0" eaLnBrk="1" fontAlgn="auto" latinLnBrk="0" hangingPunct="1">
                        <a:spcBef>
                          <a:spcPts val="0"/>
                        </a:spcBef>
                        <a:spcAft>
                          <a:spcPts val="0"/>
                        </a:spcAft>
                      </a:pPr>
                      <a:r>
                        <a:rPr lang="en-US" sz="800" b="0" u="none" strike="noStrike">
                          <a:effectLst/>
                        </a:rPr>
                        <a:t>All day </a:t>
                      </a:r>
                    </a:p>
                    <a:p>
                      <a:pPr marL="0" marR="0" indent="0" algn="ctr" rtl="0" eaLnBrk="1" fontAlgn="auto" latinLnBrk="0" hangingPunct="1">
                        <a:spcBef>
                          <a:spcPts val="0"/>
                        </a:spcBef>
                        <a:spcAft>
                          <a:spcPts val="0"/>
                        </a:spcAft>
                      </a:pPr>
                      <a:r>
                        <a:rPr lang="en-US" sz="800" b="0" u="none" strike="noStrike">
                          <a:effectLst/>
                        </a:rPr>
                        <a:t>battery life</a:t>
                      </a:r>
                      <a:endParaRPr lang="en-US" sz="800" b="0" i="0" u="none" strike="noStrike">
                        <a:effectLst/>
                        <a:latin typeface="Arial" panose="020B0604020202020204" pitchFamily="34" charset="0"/>
                      </a:endParaRPr>
                    </a:p>
                  </a:txBody>
                  <a:tcPr marL="77322" marR="77322" marT="38662" marB="38662">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a:effectLst/>
                        </a:rPr>
                        <a:t>Rugged </a:t>
                      </a:r>
                    </a:p>
                    <a:p>
                      <a:pPr marL="0" marR="0" indent="0" algn="ctr" rtl="0" eaLnBrk="1" fontAlgn="auto" latinLnBrk="0" hangingPunct="1">
                        <a:spcBef>
                          <a:spcPts val="0"/>
                        </a:spcBef>
                        <a:spcAft>
                          <a:spcPts val="0"/>
                        </a:spcAft>
                      </a:pPr>
                      <a:r>
                        <a:rPr lang="en-US" sz="800" b="0" u="none" strike="noStrike">
                          <a:effectLst/>
                        </a:rPr>
                        <a:t>Design</a:t>
                      </a:r>
                      <a:endParaRPr lang="en-US" sz="800" b="0" i="0" u="none" strike="noStrike">
                        <a:effectLst/>
                        <a:latin typeface="Arial" panose="020B0604020202020204" pitchFamily="34" charset="0"/>
                      </a:endParaRP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a:effectLst/>
                        </a:rPr>
                        <a:t>Fast</a:t>
                      </a:r>
                      <a:br>
                        <a:rPr lang="en-US" sz="800" b="0" u="none" strike="noStrike">
                          <a:effectLst/>
                        </a:rPr>
                      </a:br>
                      <a:r>
                        <a:rPr lang="en-US" sz="800" b="0" u="none" strike="noStrike">
                          <a:effectLst/>
                        </a:rPr>
                        <a:t>Resume</a:t>
                      </a:r>
                      <a:endParaRPr lang="en-US" sz="800" b="0" i="0" u="none" strike="noStrike">
                        <a:effectLst/>
                        <a:latin typeface="Arial" panose="020B0604020202020204" pitchFamily="34" charset="0"/>
                      </a:endParaRP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kern="1200">
                          <a:effectLst/>
                        </a:rPr>
                        <a:t>Windows Hello option</a:t>
                      </a:r>
                      <a:endParaRPr lang="en-US" sz="800" b="0" i="0" u="none" strike="noStrike">
                        <a:effectLst/>
                        <a:latin typeface="Arial" panose="020B0604020202020204" pitchFamily="34" charset="0"/>
                      </a:endParaRP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a:effectLst/>
                        </a:rPr>
                        <a:t>USB </a:t>
                      </a:r>
                    </a:p>
                    <a:p>
                      <a:pPr marL="0" marR="0" indent="0" algn="ctr" rtl="0" eaLnBrk="1" fontAlgn="auto" latinLnBrk="0" hangingPunct="1">
                        <a:spcBef>
                          <a:spcPts val="0"/>
                        </a:spcBef>
                        <a:spcAft>
                          <a:spcPts val="0"/>
                        </a:spcAft>
                      </a:pPr>
                      <a:r>
                        <a:rPr lang="en-US" sz="800" b="0" u="none" strike="noStrike">
                          <a:effectLst/>
                        </a:rPr>
                        <a:t>type C </a:t>
                      </a:r>
                      <a:endParaRPr lang="en-US" sz="800" b="0" i="0" u="none" strike="noStrike">
                        <a:effectLst/>
                        <a:latin typeface="Arial" panose="020B0604020202020204" pitchFamily="34" charset="0"/>
                      </a:endParaRP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a:effectLst/>
                        </a:rPr>
                        <a:t>Good to Go indicator</a:t>
                      </a:r>
                      <a:endParaRPr lang="en-US" sz="800" b="0" i="0" u="none" strike="noStrike">
                        <a:effectLst/>
                        <a:latin typeface="Arial" panose="020B0604020202020204" pitchFamily="34" charset="0"/>
                      </a:endParaRP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a:effectLst/>
                        </a:rPr>
                        <a:t>Touch display option</a:t>
                      </a:r>
                      <a:endParaRPr lang="en-US" sz="800" b="0" i="0" u="none" strike="noStrike">
                        <a:effectLst/>
                        <a:latin typeface="Arial" panose="020B0604020202020204" pitchFamily="34" charset="0"/>
                      </a:endParaRP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kern="1200">
                          <a:solidFill>
                            <a:schemeClr val="lt1"/>
                          </a:solidFill>
                          <a:effectLst/>
                          <a:latin typeface="+mn-lt"/>
                          <a:ea typeface="+mn-ea"/>
                          <a:cs typeface="+mn-cs"/>
                        </a:rPr>
                        <a:t>Quality</a:t>
                      </a:r>
                    </a:p>
                    <a:p>
                      <a:pPr marL="0" marR="0" indent="0" algn="ctr" rtl="0" eaLnBrk="1" fontAlgn="auto" latinLnBrk="0" hangingPunct="1">
                        <a:spcBef>
                          <a:spcPts val="0"/>
                        </a:spcBef>
                        <a:spcAft>
                          <a:spcPts val="0"/>
                        </a:spcAft>
                      </a:pPr>
                      <a:r>
                        <a:rPr lang="en-US" sz="800" b="0" u="none" strike="noStrike" kern="1200">
                          <a:solidFill>
                            <a:schemeClr val="lt1"/>
                          </a:solidFill>
                          <a:effectLst/>
                          <a:latin typeface="+mn-lt"/>
                          <a:ea typeface="+mn-ea"/>
                          <a:cs typeface="+mn-cs"/>
                        </a:rPr>
                        <a:t>Mic</a:t>
                      </a: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800" b="0" u="none" strike="noStrike" kern="1200">
                          <a:solidFill>
                            <a:schemeClr val="lt1"/>
                          </a:solidFill>
                          <a:effectLst/>
                          <a:latin typeface="+mn-lt"/>
                          <a:ea typeface="+mn-ea"/>
                          <a:cs typeface="+mn-cs"/>
                        </a:rPr>
                        <a:t>HD </a:t>
                      </a:r>
                    </a:p>
                    <a:p>
                      <a:pPr marL="0" marR="0" lvl="0" indent="0" algn="ctr" defTabSz="932104" rtl="0" eaLnBrk="1" fontAlgn="auto" latinLnBrk="0" hangingPunct="1">
                        <a:lnSpc>
                          <a:spcPct val="100000"/>
                        </a:lnSpc>
                        <a:spcBef>
                          <a:spcPts val="0"/>
                        </a:spcBef>
                        <a:spcAft>
                          <a:spcPts val="0"/>
                        </a:spcAft>
                        <a:buClrTx/>
                        <a:buSzTx/>
                        <a:buFontTx/>
                        <a:buNone/>
                        <a:tabLst/>
                        <a:defRPr/>
                      </a:pPr>
                      <a:r>
                        <a:rPr lang="en-US" sz="800" b="0" u="none" strike="noStrike" kern="1200">
                          <a:solidFill>
                            <a:schemeClr val="lt1"/>
                          </a:solidFill>
                          <a:effectLst/>
                          <a:latin typeface="+mn-lt"/>
                          <a:ea typeface="+mn-ea"/>
                          <a:cs typeface="+mn-cs"/>
                        </a:rPr>
                        <a:t>Camera</a:t>
                      </a:r>
                    </a:p>
                  </a:txBody>
                  <a:tcPr marL="89629" marR="89629" marT="44815" marB="44815">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800" b="0" u="none" strike="noStrike" kern="1200">
                          <a:solidFill>
                            <a:schemeClr val="lt1"/>
                          </a:solidFill>
                          <a:effectLst/>
                          <a:latin typeface="+mn-lt"/>
                          <a:ea typeface="+mn-ea"/>
                          <a:cs typeface="+mn-cs"/>
                        </a:rPr>
                        <a:t>FHD </a:t>
                      </a:r>
                    </a:p>
                    <a:p>
                      <a:pPr marL="0" marR="0" lvl="0" indent="0" algn="ctr" defTabSz="932104" rtl="0" eaLnBrk="1" fontAlgn="auto" latinLnBrk="0" hangingPunct="1">
                        <a:lnSpc>
                          <a:spcPct val="100000"/>
                        </a:lnSpc>
                        <a:spcBef>
                          <a:spcPts val="0"/>
                        </a:spcBef>
                        <a:spcAft>
                          <a:spcPts val="0"/>
                        </a:spcAft>
                        <a:buClrTx/>
                        <a:buSzTx/>
                        <a:buFontTx/>
                        <a:buNone/>
                        <a:tabLst/>
                        <a:defRPr/>
                      </a:pPr>
                      <a:r>
                        <a:rPr lang="en-US" sz="800" b="0" u="none" strike="noStrike" kern="1200">
                          <a:solidFill>
                            <a:schemeClr val="lt1"/>
                          </a:solidFill>
                          <a:effectLst/>
                          <a:latin typeface="+mn-lt"/>
                          <a:ea typeface="+mn-ea"/>
                          <a:cs typeface="+mn-cs"/>
                        </a:rPr>
                        <a:t>Camera</a:t>
                      </a: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kern="1200">
                          <a:solidFill>
                            <a:schemeClr val="lt1"/>
                          </a:solidFill>
                          <a:effectLst/>
                          <a:latin typeface="+mn-lt"/>
                          <a:ea typeface="+mn-ea"/>
                          <a:cs typeface="+mn-cs"/>
                        </a:rPr>
                        <a:t>Cellular </a:t>
                      </a:r>
                    </a:p>
                    <a:p>
                      <a:pPr marL="0" marR="0" indent="0" algn="ctr" rtl="0" eaLnBrk="1" fontAlgn="auto" latinLnBrk="0" hangingPunct="1">
                        <a:spcBef>
                          <a:spcPts val="0"/>
                        </a:spcBef>
                        <a:spcAft>
                          <a:spcPts val="0"/>
                        </a:spcAft>
                      </a:pPr>
                      <a:r>
                        <a:rPr lang="en-US" sz="800" b="0" u="none" strike="noStrike" kern="1200">
                          <a:solidFill>
                            <a:schemeClr val="lt1"/>
                          </a:solidFill>
                          <a:effectLst/>
                          <a:latin typeface="+mn-lt"/>
                          <a:ea typeface="+mn-ea"/>
                          <a:cs typeface="+mn-cs"/>
                        </a:rPr>
                        <a:t>option</a:t>
                      </a: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kern="1200">
                          <a:solidFill>
                            <a:schemeClr val="lt1"/>
                          </a:solidFill>
                          <a:effectLst/>
                          <a:latin typeface="+mn-lt"/>
                          <a:ea typeface="+mn-ea"/>
                          <a:cs typeface="+mn-cs"/>
                        </a:rPr>
                        <a:t>Pen Garage</a:t>
                      </a:r>
                    </a:p>
                    <a:p>
                      <a:pPr marL="0" marR="0" indent="0" algn="ctr" rtl="0" eaLnBrk="1" fontAlgn="auto" latinLnBrk="0" hangingPunct="1">
                        <a:spcBef>
                          <a:spcPts val="0"/>
                        </a:spcBef>
                        <a:spcAft>
                          <a:spcPts val="0"/>
                        </a:spcAft>
                      </a:pPr>
                      <a:r>
                        <a:rPr lang="en-US" sz="800" b="0" u="none" strike="noStrike" kern="1200">
                          <a:solidFill>
                            <a:schemeClr val="lt1"/>
                          </a:solidFill>
                          <a:effectLst/>
                          <a:latin typeface="+mn-lt"/>
                          <a:ea typeface="+mn-ea"/>
                          <a:cs typeface="+mn-cs"/>
                        </a:rPr>
                        <a:t>&amp; Charging</a:t>
                      </a:r>
                    </a:p>
                  </a:txBody>
                  <a:tcPr marL="77322" marR="77322" marT="38662" marB="38662">
                    <a:lnL w="635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kern="1200">
                          <a:solidFill>
                            <a:schemeClr val="lt1"/>
                          </a:solidFill>
                          <a:effectLst/>
                          <a:latin typeface="+mn-lt"/>
                          <a:ea typeface="+mn-ea"/>
                          <a:cs typeface="+mn-cs"/>
                        </a:rPr>
                        <a:t>Windows </a:t>
                      </a:r>
                    </a:p>
                    <a:p>
                      <a:pPr marL="0" marR="0" indent="0" algn="ctr" rtl="0" eaLnBrk="1" fontAlgn="auto" latinLnBrk="0" hangingPunct="1">
                        <a:spcBef>
                          <a:spcPts val="0"/>
                        </a:spcBef>
                        <a:spcAft>
                          <a:spcPts val="0"/>
                        </a:spcAft>
                      </a:pPr>
                      <a:r>
                        <a:rPr lang="en-US" sz="800" b="0" u="none" strike="noStrike" kern="1200">
                          <a:solidFill>
                            <a:schemeClr val="lt1"/>
                          </a:solidFill>
                          <a:effectLst/>
                          <a:latin typeface="+mn-lt"/>
                          <a:ea typeface="+mn-ea"/>
                          <a:cs typeface="+mn-cs"/>
                        </a:rPr>
                        <a:t>Ink Option</a:t>
                      </a:r>
                    </a:p>
                  </a:txBody>
                  <a:tcPr marL="77322" marR="77322" marT="38662" marB="38662">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10046473"/>
                  </a:ext>
                </a:extLst>
              </a:tr>
            </a:tbl>
          </a:graphicData>
        </a:graphic>
      </p:graphicFrame>
      <p:pic>
        <p:nvPicPr>
          <p:cNvPr id="271" name="Picture 2">
            <a:extLst>
              <a:ext uri="{FF2B5EF4-FFF2-40B4-BE49-F238E27FC236}">
                <a16:creationId xmlns:a16="http://schemas.microsoft.com/office/drawing/2014/main" id="{BE13C90D-99D2-412D-8335-39E58FD69CBF}"/>
              </a:ext>
              <a:ext uri="{C183D7F6-B498-43B3-948B-1728B52AA6E4}">
                <adec:decorative xmlns:adec="http://schemas.microsoft.com/office/drawing/2017/decorative" val="1"/>
              </a:ext>
            </a:extLst>
          </p:cNvPr>
          <p:cNvPicPr>
            <a:picLocks noChangeAspect="1" noChangeArrowheads="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74527" y="964284"/>
            <a:ext cx="1767413" cy="1399202"/>
          </a:xfrm>
          <a:prstGeom prst="rect">
            <a:avLst/>
          </a:prstGeom>
          <a:effectLst>
            <a:outerShdw blurRad="76200" dir="18900000" sy="23000" kx="-1200000" algn="bl"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272" name="Picture 271">
            <a:extLst>
              <a:ext uri="{FF2B5EF4-FFF2-40B4-BE49-F238E27FC236}">
                <a16:creationId xmlns:a16="http://schemas.microsoft.com/office/drawing/2014/main" id="{B33C70B4-616F-49A4-BFE5-902F4AA2D508}"/>
              </a:ext>
              <a:ext uri="{C183D7F6-B498-43B3-948B-1728B52AA6E4}">
                <adec:decorative xmlns:adec="http://schemas.microsoft.com/office/drawing/2017/decorative" val="1"/>
              </a:ext>
            </a:extLst>
          </p:cNvPr>
          <p:cNvPicPr>
            <a:picLocks noChangeAspect="1"/>
          </p:cNvPicPr>
          <p:nvPr/>
        </p:nvPicPr>
        <p:blipFill rotWithShape="1">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0198282" y="1155592"/>
            <a:ext cx="1328128" cy="1016587"/>
          </a:xfrm>
          <a:prstGeom prst="rect">
            <a:avLst/>
          </a:prstGeom>
          <a:effectLst>
            <a:outerShdw blurRad="76200" dir="18900000" sy="23000" kx="-1200000" algn="bl" rotWithShape="0">
              <a:prstClr val="black">
                <a:alpha val="20000"/>
              </a:prstClr>
            </a:outerShdw>
          </a:effectLst>
        </p:spPr>
      </p:pic>
      <p:pic>
        <p:nvPicPr>
          <p:cNvPr id="273" name="Picture 272">
            <a:extLst>
              <a:ext uri="{FF2B5EF4-FFF2-40B4-BE49-F238E27FC236}">
                <a16:creationId xmlns:a16="http://schemas.microsoft.com/office/drawing/2014/main" id="{76167C2F-EC3B-4A3D-AC9E-2D9CAF5FA80F}"/>
              </a:ext>
              <a:ext uri="{C183D7F6-B498-43B3-948B-1728B52AA6E4}">
                <adec:decorative xmlns:adec="http://schemas.microsoft.com/office/drawing/2017/decorative" val="1"/>
              </a:ext>
            </a:extLst>
          </p:cNvPr>
          <p:cNvPicPr>
            <a:picLocks noChangeAspect="1"/>
          </p:cNvPicPr>
          <p:nvPr/>
        </p:nvPicPr>
        <p:blipFill>
          <a:blip r:embed="rId5" cstate="screen">
            <a:clrChange>
              <a:clrFrom>
                <a:srgbClr val="FFFFFF"/>
              </a:clrFrom>
              <a:clrTo>
                <a:srgbClr val="FFFFFF">
                  <a:alpha val="0"/>
                </a:srgbClr>
              </a:clrTo>
            </a:clrChange>
            <a:extLst>
              <a:ext uri="{BEBA8EAE-BF5A-486C-A8C5-ECC9F3942E4B}">
                <a14:imgProps xmlns:a14="http://schemas.microsoft.com/office/drawing/2010/main">
                  <a14:imgLayer r:embed="rId6">
                    <a14:imgEffect>
                      <a14:backgroundRemoval t="9804" b="89804" l="3667" r="97000">
                        <a14:foregroundMark x1="5333" y1="17647" x2="7333" y2="37647"/>
                        <a14:foregroundMark x1="7333" y1="37647" x2="11667" y2="39608"/>
                        <a14:foregroundMark x1="17000" y1="73725" x2="48667" y2="88235"/>
                        <a14:foregroundMark x1="48667" y1="88235" x2="86667" y2="78039"/>
                        <a14:foregroundMark x1="86667" y1="78039" x2="79333" y2="58824"/>
                        <a14:foregroundMark x1="79333" y1="58824" x2="60333" y2="54510"/>
                        <a14:foregroundMark x1="90000" y1="67059" x2="90000" y2="67059"/>
                        <a14:foregroundMark x1="94333" y1="67059" x2="94333" y2="67059"/>
                        <a14:foregroundMark x1="94333" y1="66275" x2="94333" y2="66275"/>
                        <a14:foregroundMark x1="94333" y1="66275" x2="94333" y2="66275"/>
                        <a14:foregroundMark x1="93333" y1="64706" x2="93333" y2="64706"/>
                        <a14:foregroundMark x1="93333" y1="64706" x2="93333" y2="64706"/>
                        <a14:foregroundMark x1="93333" y1="64706" x2="93333" y2="64706"/>
                        <a14:foregroundMark x1="93333" y1="64706" x2="93333" y2="64706"/>
                        <a14:foregroundMark x1="93000" y1="64706" x2="93000" y2="64706"/>
                        <a14:foregroundMark x1="89333" y1="61961" x2="89333" y2="61961"/>
                        <a14:foregroundMark x1="89333" y1="61961" x2="89333" y2="61961"/>
                        <a14:foregroundMark x1="88333" y1="61961" x2="88333" y2="61961"/>
                        <a14:foregroundMark x1="78333" y1="59608" x2="90667" y2="61569"/>
                        <a14:foregroundMark x1="91667" y1="62353" x2="97000" y2="63922"/>
                        <a14:foregroundMark x1="97000" y1="65882" x2="91667" y2="70980"/>
                        <a14:foregroundMark x1="94333" y1="69020" x2="84667" y2="75294"/>
                        <a14:foregroundMark x1="14667" y1="70980" x2="8667" y2="40784"/>
                        <a14:foregroundMark x1="7333" y1="37647" x2="12667" y2="65098"/>
                        <a14:foregroundMark x1="5333" y1="32157" x2="3667" y2="15686"/>
                        <a14:foregroundMark x1="3667" y1="15686" x2="21000" y2="14118"/>
                        <a14:foregroundMark x1="21000" y1="14118" x2="50667" y2="16078"/>
                        <a14:foregroundMark x1="8000" y1="12941" x2="8000" y2="12941"/>
                        <a14:foregroundMark x1="6667" y1="14118" x2="6667" y2="14118"/>
                        <a14:foregroundMark x1="6333" y1="14118" x2="6333" y2="14118"/>
                        <a14:foregroundMark x1="5667" y1="14510" x2="5667" y2="14510"/>
                        <a14:foregroundMark x1="5333" y1="14510" x2="5333" y2="14510"/>
                        <a14:foregroundMark x1="9667" y1="15294" x2="9667" y2="15294"/>
                        <a14:foregroundMark x1="10667" y1="14510" x2="10667" y2="14510"/>
                        <a14:foregroundMark x1="10667" y1="14510" x2="10667" y2="14510"/>
                        <a14:foregroundMark x1="50667" y1="18824" x2="50667" y2="18824"/>
                        <a14:foregroundMark x1="50667" y1="20000" x2="50667" y2="20000"/>
                        <a14:foregroundMark x1="52333" y1="23137" x2="52333" y2="23137"/>
                        <a14:foregroundMark x1="52333" y1="23137" x2="52333" y2="23137"/>
                        <a14:foregroundMark x1="50667" y1="18039" x2="60333" y2="53333"/>
                      </a14:backgroundRemoval>
                    </a14:imgEffect>
                  </a14:imgLayer>
                </a14:imgProps>
              </a:ext>
              <a:ext uri="{28A0092B-C50C-407E-A947-70E740481C1C}">
                <a14:useLocalDpi xmlns:a14="http://schemas.microsoft.com/office/drawing/2010/main"/>
              </a:ext>
            </a:extLst>
          </a:blip>
          <a:stretch>
            <a:fillRect/>
          </a:stretch>
        </p:blipFill>
        <p:spPr>
          <a:xfrm>
            <a:off x="5543132" y="3613087"/>
            <a:ext cx="1340704" cy="1139599"/>
          </a:xfrm>
          <a:prstGeom prst="rect">
            <a:avLst/>
          </a:prstGeom>
          <a:effectLst>
            <a:outerShdw blurRad="76200" dist="114300" dir="18900000" sy="23000" kx="-1200000" algn="bl" rotWithShape="0">
              <a:prstClr val="black">
                <a:alpha val="20000"/>
              </a:prstClr>
            </a:outerShdw>
          </a:effectLst>
        </p:spPr>
      </p:pic>
      <p:pic>
        <p:nvPicPr>
          <p:cNvPr id="275" name="Picture 274">
            <a:extLst>
              <a:ext uri="{FF2B5EF4-FFF2-40B4-BE49-F238E27FC236}">
                <a16:creationId xmlns:a16="http://schemas.microsoft.com/office/drawing/2014/main" id="{1DF2DA35-65AC-47D6-B533-307ADB2A6D27}"/>
              </a:ext>
              <a:ext uri="{C183D7F6-B498-43B3-948B-1728B52AA6E4}">
                <adec:decorative xmlns:adec="http://schemas.microsoft.com/office/drawing/2017/decorative" val="1"/>
              </a:ext>
            </a:extLst>
          </p:cNvPr>
          <p:cNvPicPr>
            <a:picLocks noChangeAspect="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99840" y="3648666"/>
            <a:ext cx="1367818" cy="911879"/>
          </a:xfrm>
          <a:prstGeom prst="rect">
            <a:avLst/>
          </a:prstGeom>
          <a:effectLst>
            <a:outerShdw blurRad="76200" dir="18900000" sy="23000" kx="-1200000" algn="bl" rotWithShape="0">
              <a:prstClr val="black">
                <a:alpha val="20000"/>
              </a:prstClr>
            </a:outerShdw>
          </a:effectLst>
        </p:spPr>
      </p:pic>
      <p:pic>
        <p:nvPicPr>
          <p:cNvPr id="277" name="Picture 276">
            <a:extLst>
              <a:ext uri="{FF2B5EF4-FFF2-40B4-BE49-F238E27FC236}">
                <a16:creationId xmlns:a16="http://schemas.microsoft.com/office/drawing/2014/main" id="{EA610A63-6800-411D-9B2E-72557B56A226}"/>
              </a:ext>
              <a:ext uri="{C183D7F6-B498-43B3-948B-1728B52AA6E4}">
                <adec:decorative xmlns:adec="http://schemas.microsoft.com/office/drawing/2017/decorative" val="1"/>
              </a:ext>
            </a:extLst>
          </p:cNvPr>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445378" y="3596627"/>
            <a:ext cx="1420134" cy="980612"/>
          </a:xfrm>
          <a:prstGeom prst="rect">
            <a:avLst/>
          </a:prstGeom>
          <a:effectLst>
            <a:outerShdw blurRad="76200" dir="18900000" sy="23000" kx="-1200000" algn="bl" rotWithShape="0">
              <a:prstClr val="black">
                <a:alpha val="20000"/>
              </a:prstClr>
            </a:outerShdw>
          </a:effectLst>
        </p:spPr>
      </p:pic>
      <p:pic>
        <p:nvPicPr>
          <p:cNvPr id="276" name="Picture 275">
            <a:extLst>
              <a:ext uri="{FF2B5EF4-FFF2-40B4-BE49-F238E27FC236}">
                <a16:creationId xmlns:a16="http://schemas.microsoft.com/office/drawing/2014/main" id="{F168E6D7-5647-44F7-A1E5-C52B2E264788}"/>
              </a:ext>
              <a:ext uri="{C183D7F6-B498-43B3-948B-1728B52AA6E4}">
                <adec:decorative xmlns:adec="http://schemas.microsoft.com/office/drawing/2017/decorative" val="1"/>
              </a:ext>
            </a:extLst>
          </p:cNvPr>
          <p:cNvPicPr>
            <a:picLocks noChangeAspect="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154229" y="3794220"/>
            <a:ext cx="1119004" cy="746002"/>
          </a:xfrm>
          <a:prstGeom prst="rect">
            <a:avLst/>
          </a:prstGeom>
          <a:effectLst>
            <a:outerShdw blurRad="76200" dir="18900000" sy="23000" kx="-1200000" algn="bl" rotWithShape="0">
              <a:prstClr val="black">
                <a:alpha val="20000"/>
              </a:prstClr>
            </a:outerShdw>
          </a:effectLst>
        </p:spPr>
      </p:pic>
      <p:sp>
        <p:nvSpPr>
          <p:cNvPr id="25" name="Microphone_E720">
            <a:extLst>
              <a:ext uri="{FF2B5EF4-FFF2-40B4-BE49-F238E27FC236}">
                <a16:creationId xmlns:a16="http://schemas.microsoft.com/office/drawing/2014/main" id="{9D2B0FFE-4F43-4A1F-A838-6E064CDBD285}"/>
              </a:ext>
              <a:ext uri="{C183D7F6-B498-43B3-948B-1728B52AA6E4}">
                <adec:decorative xmlns:adec="http://schemas.microsoft.com/office/drawing/2017/decorative" val="1"/>
              </a:ext>
            </a:extLst>
          </p:cNvPr>
          <p:cNvSpPr>
            <a:spLocks noChangeAspect="1" noEditPoints="1"/>
          </p:cNvSpPr>
          <p:nvPr/>
        </p:nvSpPr>
        <p:spPr bwMode="auto">
          <a:xfrm>
            <a:off x="7113809" y="6063243"/>
            <a:ext cx="103890" cy="155911"/>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2700" cap="flat">
            <a:solidFill>
              <a:schemeClr val="bg1"/>
            </a:solidFill>
            <a:prstDash val="solid"/>
            <a:miter/>
          </a:ln>
        </p:spPr>
        <p:txBody>
          <a:bodyPr vert="horz" wrap="square" lIns="89629" tIns="44815" rIns="89629" bIns="44815" numCol="1" anchor="t" anchorCtr="0" compatLnSpc="1">
            <a:prstTxWarp prst="textNoShape">
              <a:avLst/>
            </a:prstTxWarp>
          </a:bodyPr>
          <a:lstStyle/>
          <a:p>
            <a:endParaRPr lang="en-US" sz="1764"/>
          </a:p>
        </p:txBody>
      </p:sp>
      <p:pic>
        <p:nvPicPr>
          <p:cNvPr id="26" name="Graphic 25">
            <a:extLst>
              <a:ext uri="{FF2B5EF4-FFF2-40B4-BE49-F238E27FC236}">
                <a16:creationId xmlns:a16="http://schemas.microsoft.com/office/drawing/2014/main" id="{BBE83964-0AC2-4D86-8FD7-51F81538724F}"/>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122786" y="6047653"/>
            <a:ext cx="127560" cy="187088"/>
          </a:xfrm>
          <a:prstGeom prst="rect">
            <a:avLst/>
          </a:prstGeom>
        </p:spPr>
      </p:pic>
      <p:sp>
        <p:nvSpPr>
          <p:cNvPr id="27" name="Freeform 110">
            <a:extLst>
              <a:ext uri="{FF2B5EF4-FFF2-40B4-BE49-F238E27FC236}">
                <a16:creationId xmlns:a16="http://schemas.microsoft.com/office/drawing/2014/main" id="{E474EA5D-1DAC-4C99-BA7C-66AF90E027FE}"/>
              </a:ext>
              <a:ext uri="{C183D7F6-B498-43B3-948B-1728B52AA6E4}">
                <adec:decorative xmlns:adec="http://schemas.microsoft.com/office/drawing/2017/decorative" val="1"/>
              </a:ext>
            </a:extLst>
          </p:cNvPr>
          <p:cNvSpPr>
            <a:spLocks noChangeAspect="1" noEditPoints="1"/>
          </p:cNvSpPr>
          <p:nvPr/>
        </p:nvSpPr>
        <p:spPr bwMode="black">
          <a:xfrm>
            <a:off x="428313" y="6060673"/>
            <a:ext cx="85873" cy="161051"/>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184" tIns="137747" rIns="172184" bIns="137747" numCol="1" spcCol="0" rtlCol="0" fromWordArt="0" anchor="t" anchorCtr="0" forceAA="0" compatLnSpc="1">
            <a:prstTxWarp prst="textNoShape">
              <a:avLst/>
            </a:prstTxWarp>
            <a:noAutofit/>
          </a:bodyPr>
          <a:lstStyle/>
          <a:p>
            <a:pPr algn="ctr" defTabSz="877598" fontAlgn="base">
              <a:spcBef>
                <a:spcPct val="0"/>
              </a:spcBef>
              <a:spcAft>
                <a:spcPct val="0"/>
              </a:spcAft>
              <a:defRPr/>
            </a:pPr>
            <a:endParaRPr lang="en-US" sz="1921">
              <a:solidFill>
                <a:schemeClr val="tx1"/>
              </a:solidFill>
              <a:latin typeface="Segoe UI"/>
              <a:ea typeface="Segoe UI" pitchFamily="34" charset="0"/>
              <a:cs typeface="Segoe UI" pitchFamily="34" charset="0"/>
            </a:endParaRPr>
          </a:p>
        </p:txBody>
      </p:sp>
      <p:grpSp>
        <p:nvGrpSpPr>
          <p:cNvPr id="28" name="Graphic 305">
            <a:extLst>
              <a:ext uri="{FF2B5EF4-FFF2-40B4-BE49-F238E27FC236}">
                <a16:creationId xmlns:a16="http://schemas.microsoft.com/office/drawing/2014/main" id="{852AA523-445F-48EE-8FAA-48240F9CBF2F}"/>
              </a:ext>
              <a:ext uri="{C183D7F6-B498-43B3-948B-1728B52AA6E4}">
                <adec:decorative xmlns:adec="http://schemas.microsoft.com/office/drawing/2017/decorative" val="1"/>
              </a:ext>
            </a:extLst>
          </p:cNvPr>
          <p:cNvGrpSpPr/>
          <p:nvPr/>
        </p:nvGrpSpPr>
        <p:grpSpPr>
          <a:xfrm>
            <a:off x="4186971" y="6106482"/>
            <a:ext cx="209631" cy="69430"/>
            <a:chOff x="3845953" y="3735365"/>
            <a:chExt cx="142873" cy="47319"/>
          </a:xfrm>
          <a:solidFill>
            <a:schemeClr val="bg1"/>
          </a:solidFill>
        </p:grpSpPr>
        <p:sp>
          <p:nvSpPr>
            <p:cNvPr id="29" name="Freeform: Shape 28">
              <a:extLst>
                <a:ext uri="{FF2B5EF4-FFF2-40B4-BE49-F238E27FC236}">
                  <a16:creationId xmlns:a16="http://schemas.microsoft.com/office/drawing/2014/main" id="{B8A7870A-BB72-45F6-845C-FA6E3F02A247}"/>
                </a:ext>
              </a:extLst>
            </p:cNvPr>
            <p:cNvSpPr/>
            <p:nvPr/>
          </p:nvSpPr>
          <p:spPr>
            <a:xfrm>
              <a:off x="3864127" y="3750853"/>
              <a:ext cx="106583" cy="16287"/>
            </a:xfrm>
            <a:custGeom>
              <a:avLst/>
              <a:gdLst>
                <a:gd name="connsiteX0" fmla="*/ 103783 w 106583"/>
                <a:gd name="connsiteY0" fmla="*/ 0 h 16287"/>
                <a:gd name="connsiteX1" fmla="*/ 106583 w 106583"/>
                <a:gd name="connsiteY1" fmla="*/ 0 h 16287"/>
                <a:gd name="connsiteX2" fmla="*/ 106583 w 106583"/>
                <a:gd name="connsiteY2" fmla="*/ 16287 h 16287"/>
                <a:gd name="connsiteX3" fmla="*/ 103783 w 106583"/>
                <a:gd name="connsiteY3" fmla="*/ 16287 h 16287"/>
                <a:gd name="connsiteX4" fmla="*/ 2800 w 106583"/>
                <a:gd name="connsiteY4" fmla="*/ 16287 h 16287"/>
                <a:gd name="connsiteX5" fmla="*/ 2800 w 106583"/>
                <a:gd name="connsiteY5" fmla="*/ 0 h 16287"/>
                <a:gd name="connsiteX6" fmla="*/ 0 w 106583"/>
                <a:gd name="connsiteY6" fmla="*/ 0 h 16287"/>
                <a:gd name="connsiteX7" fmla="*/ 2800 w 106583"/>
                <a:gd name="connsiteY7" fmla="*/ 0 h 1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583" h="16287">
                  <a:moveTo>
                    <a:pt x="103783" y="0"/>
                  </a:moveTo>
                  <a:cubicBezTo>
                    <a:pt x="105330" y="0"/>
                    <a:pt x="106583" y="0"/>
                    <a:pt x="106583" y="0"/>
                  </a:cubicBezTo>
                  <a:lnTo>
                    <a:pt x="106583" y="16287"/>
                  </a:lnTo>
                  <a:cubicBezTo>
                    <a:pt x="106583" y="16287"/>
                    <a:pt x="105330" y="16287"/>
                    <a:pt x="103783" y="16287"/>
                  </a:cubicBezTo>
                  <a:lnTo>
                    <a:pt x="2800" y="16287"/>
                  </a:lnTo>
                  <a:lnTo>
                    <a:pt x="2800" y="0"/>
                  </a:lnTo>
                  <a:cubicBezTo>
                    <a:pt x="1254" y="0"/>
                    <a:pt x="0" y="0"/>
                    <a:pt x="0" y="0"/>
                  </a:cubicBezTo>
                  <a:cubicBezTo>
                    <a:pt x="0" y="0"/>
                    <a:pt x="1254" y="0"/>
                    <a:pt x="2800" y="0"/>
                  </a:cubicBezTo>
                  <a:close/>
                </a:path>
              </a:pathLst>
            </a:custGeom>
            <a:grpFill/>
            <a:ln w="5334" cap="flat">
              <a:noFill/>
              <a:prstDash val="solid"/>
              <a:miter/>
            </a:ln>
          </p:spPr>
          <p:txBody>
            <a:bodyPr rtlCol="0" anchor="ctr"/>
            <a:lstStyle/>
            <a:p>
              <a:endParaRPr lang="en-US" sz="1764"/>
            </a:p>
          </p:txBody>
        </p:sp>
        <p:sp>
          <p:nvSpPr>
            <p:cNvPr id="30" name="Freeform: Shape 29">
              <a:extLst>
                <a:ext uri="{FF2B5EF4-FFF2-40B4-BE49-F238E27FC236}">
                  <a16:creationId xmlns:a16="http://schemas.microsoft.com/office/drawing/2014/main" id="{35039AD5-7F5D-4F84-8007-40B62D2C799A}"/>
                </a:ext>
              </a:extLst>
            </p:cNvPr>
            <p:cNvSpPr/>
            <p:nvPr/>
          </p:nvSpPr>
          <p:spPr>
            <a:xfrm>
              <a:off x="3845953" y="3735365"/>
              <a:ext cx="142873" cy="47319"/>
            </a:xfrm>
            <a:custGeom>
              <a:avLst/>
              <a:gdLst>
                <a:gd name="connsiteX0" fmla="*/ 119213 w 142873"/>
                <a:gd name="connsiteY0" fmla="*/ 0 h 47319"/>
                <a:gd name="connsiteX1" fmla="*/ 23660 w 142873"/>
                <a:gd name="connsiteY1" fmla="*/ 0 h 47319"/>
                <a:gd name="connsiteX2" fmla="*/ 0 w 142873"/>
                <a:gd name="connsiteY2" fmla="*/ 23660 h 47319"/>
                <a:gd name="connsiteX3" fmla="*/ 23660 w 142873"/>
                <a:gd name="connsiteY3" fmla="*/ 47319 h 47319"/>
                <a:gd name="connsiteX4" fmla="*/ 119213 w 142873"/>
                <a:gd name="connsiteY4" fmla="*/ 47319 h 47319"/>
                <a:gd name="connsiteX5" fmla="*/ 142873 w 142873"/>
                <a:gd name="connsiteY5" fmla="*/ 23660 h 47319"/>
                <a:gd name="connsiteX6" fmla="*/ 119213 w 142873"/>
                <a:gd name="connsiteY6" fmla="*/ 0 h 47319"/>
                <a:gd name="connsiteX7" fmla="*/ 133272 w 142873"/>
                <a:gd name="connsiteY7" fmla="*/ 28974 h 47319"/>
                <a:gd name="connsiteX8" fmla="*/ 121842 w 142873"/>
                <a:gd name="connsiteY8" fmla="*/ 40404 h 47319"/>
                <a:gd name="connsiteX9" fmla="*/ 20917 w 142873"/>
                <a:gd name="connsiteY9" fmla="*/ 40404 h 47319"/>
                <a:gd name="connsiteX10" fmla="*/ 9487 w 142873"/>
                <a:gd name="connsiteY10" fmla="*/ 28974 h 47319"/>
                <a:gd name="connsiteX11" fmla="*/ 9487 w 142873"/>
                <a:gd name="connsiteY11" fmla="*/ 18288 h 47319"/>
                <a:gd name="connsiteX12" fmla="*/ 20917 w 142873"/>
                <a:gd name="connsiteY12" fmla="*/ 6858 h 47319"/>
                <a:gd name="connsiteX13" fmla="*/ 121899 w 142873"/>
                <a:gd name="connsiteY13" fmla="*/ 6858 h 47319"/>
                <a:gd name="connsiteX14" fmla="*/ 133329 w 142873"/>
                <a:gd name="connsiteY14" fmla="*/ 18288 h 47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873" h="47319">
                  <a:moveTo>
                    <a:pt x="119213" y="0"/>
                  </a:moveTo>
                  <a:lnTo>
                    <a:pt x="23660" y="0"/>
                  </a:lnTo>
                  <a:cubicBezTo>
                    <a:pt x="10593" y="0"/>
                    <a:pt x="0" y="10593"/>
                    <a:pt x="0" y="23660"/>
                  </a:cubicBezTo>
                  <a:cubicBezTo>
                    <a:pt x="0" y="36726"/>
                    <a:pt x="10593" y="47319"/>
                    <a:pt x="23660" y="47319"/>
                  </a:cubicBezTo>
                  <a:lnTo>
                    <a:pt x="119213" y="47319"/>
                  </a:lnTo>
                  <a:cubicBezTo>
                    <a:pt x="132280" y="47319"/>
                    <a:pt x="142873" y="36726"/>
                    <a:pt x="142873" y="23660"/>
                  </a:cubicBezTo>
                  <a:cubicBezTo>
                    <a:pt x="142873" y="10593"/>
                    <a:pt x="132280" y="0"/>
                    <a:pt x="119213" y="0"/>
                  </a:cubicBezTo>
                  <a:close/>
                  <a:moveTo>
                    <a:pt x="133272" y="28974"/>
                  </a:moveTo>
                  <a:cubicBezTo>
                    <a:pt x="133272" y="35287"/>
                    <a:pt x="128155" y="40404"/>
                    <a:pt x="121842" y="40404"/>
                  </a:cubicBezTo>
                  <a:lnTo>
                    <a:pt x="20917" y="40404"/>
                  </a:lnTo>
                  <a:cubicBezTo>
                    <a:pt x="14604" y="40404"/>
                    <a:pt x="9487" y="35287"/>
                    <a:pt x="9487" y="28974"/>
                  </a:cubicBezTo>
                  <a:lnTo>
                    <a:pt x="9487" y="18288"/>
                  </a:lnTo>
                  <a:cubicBezTo>
                    <a:pt x="9487" y="11975"/>
                    <a:pt x="14604" y="6858"/>
                    <a:pt x="20917" y="6858"/>
                  </a:cubicBezTo>
                  <a:lnTo>
                    <a:pt x="121899" y="6858"/>
                  </a:lnTo>
                  <a:cubicBezTo>
                    <a:pt x="128212" y="6858"/>
                    <a:pt x="133329" y="11975"/>
                    <a:pt x="133329" y="18288"/>
                  </a:cubicBezTo>
                  <a:close/>
                </a:path>
              </a:pathLst>
            </a:custGeom>
            <a:grpFill/>
            <a:ln w="5334" cap="flat">
              <a:noFill/>
              <a:prstDash val="solid"/>
              <a:miter/>
            </a:ln>
          </p:spPr>
          <p:txBody>
            <a:bodyPr rtlCol="0" anchor="ctr"/>
            <a:lstStyle/>
            <a:p>
              <a:endParaRPr lang="en-US" sz="1764"/>
            </a:p>
          </p:txBody>
        </p:sp>
      </p:grpSp>
      <p:pic>
        <p:nvPicPr>
          <p:cNvPr id="31" name="Graphic 30">
            <a:extLst>
              <a:ext uri="{FF2B5EF4-FFF2-40B4-BE49-F238E27FC236}">
                <a16:creationId xmlns:a16="http://schemas.microsoft.com/office/drawing/2014/main" id="{50C06440-52EC-4D6C-B9C4-CDB77FBD3204}"/>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158422" y="6031485"/>
            <a:ext cx="205711" cy="219425"/>
          </a:xfrm>
          <a:prstGeom prst="rect">
            <a:avLst/>
          </a:prstGeom>
        </p:spPr>
      </p:pic>
      <p:pic>
        <p:nvPicPr>
          <p:cNvPr id="32" name="Graphic 31">
            <a:extLst>
              <a:ext uri="{FF2B5EF4-FFF2-40B4-BE49-F238E27FC236}">
                <a16:creationId xmlns:a16="http://schemas.microsoft.com/office/drawing/2014/main" id="{2410A049-F11D-4AB4-9D3C-3E2740B2F059}"/>
              </a:ext>
              <a:ext uri="{C183D7F6-B498-43B3-948B-1728B52AA6E4}">
                <adec:decorative xmlns:adec="http://schemas.microsoft.com/office/drawing/2017/decorative" val="1"/>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336797" y="6058224"/>
            <a:ext cx="174748" cy="165946"/>
          </a:xfrm>
          <a:prstGeom prst="rect">
            <a:avLst/>
          </a:prstGeom>
        </p:spPr>
      </p:pic>
      <p:sp>
        <p:nvSpPr>
          <p:cNvPr id="33" name="Stopwatch_E916">
            <a:extLst>
              <a:ext uri="{FF2B5EF4-FFF2-40B4-BE49-F238E27FC236}">
                <a16:creationId xmlns:a16="http://schemas.microsoft.com/office/drawing/2014/main" id="{A159A84B-3B5C-4F63-8CC5-1BFE84980162}"/>
              </a:ext>
              <a:ext uri="{C183D7F6-B498-43B3-948B-1728B52AA6E4}">
                <adec:decorative xmlns:adec="http://schemas.microsoft.com/office/drawing/2017/decorative" val="1"/>
              </a:ext>
            </a:extLst>
          </p:cNvPr>
          <p:cNvSpPr>
            <a:spLocks noChangeAspect="1" noEditPoints="1"/>
          </p:cNvSpPr>
          <p:nvPr/>
        </p:nvSpPr>
        <p:spPr bwMode="auto">
          <a:xfrm>
            <a:off x="2330176" y="6066536"/>
            <a:ext cx="132520" cy="149323"/>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9525" cap="sq">
            <a:solidFill>
              <a:schemeClr val="bg1"/>
            </a:solidFill>
            <a:prstDash val="solid"/>
            <a:miter lim="800000"/>
            <a:headEnd/>
            <a:tailEnd/>
          </a:ln>
        </p:spPr>
        <p:txBody>
          <a:bodyPr vert="horz" wrap="square" lIns="87829" tIns="43915" rIns="87829" bIns="43915" numCol="1" anchor="t" anchorCtr="0" compatLnSpc="1">
            <a:prstTxWarp prst="textNoShape">
              <a:avLst/>
            </a:prstTxWarp>
          </a:bodyPr>
          <a:lstStyle/>
          <a:p>
            <a:pPr defTabSz="895789">
              <a:defRPr/>
            </a:pPr>
            <a:endParaRPr lang="en-US" sz="1921">
              <a:latin typeface="Segoe UI Semibold"/>
            </a:endParaRPr>
          </a:p>
        </p:txBody>
      </p:sp>
      <p:grpSp>
        <p:nvGrpSpPr>
          <p:cNvPr id="34" name="Group 33">
            <a:extLst>
              <a:ext uri="{FF2B5EF4-FFF2-40B4-BE49-F238E27FC236}">
                <a16:creationId xmlns:a16="http://schemas.microsoft.com/office/drawing/2014/main" id="{18C9B000-1BF6-4A99-8903-C7B10ACCABA6}"/>
              </a:ext>
              <a:ext uri="{C183D7F6-B498-43B3-948B-1728B52AA6E4}">
                <adec:decorative xmlns:adec="http://schemas.microsoft.com/office/drawing/2017/decorative" val="1"/>
              </a:ext>
            </a:extLst>
          </p:cNvPr>
          <p:cNvGrpSpPr/>
          <p:nvPr/>
        </p:nvGrpSpPr>
        <p:grpSpPr>
          <a:xfrm>
            <a:off x="3259691" y="6070405"/>
            <a:ext cx="171923" cy="141584"/>
            <a:chOff x="1738313" y="3563937"/>
            <a:chExt cx="512762" cy="422272"/>
          </a:xfrm>
          <a:solidFill>
            <a:schemeClr val="bg2">
              <a:lumMod val="25000"/>
            </a:schemeClr>
          </a:solidFill>
        </p:grpSpPr>
        <p:sp>
          <p:nvSpPr>
            <p:cNvPr id="35" name="Freeform 131">
              <a:extLst>
                <a:ext uri="{FF2B5EF4-FFF2-40B4-BE49-F238E27FC236}">
                  <a16:creationId xmlns:a16="http://schemas.microsoft.com/office/drawing/2014/main" id="{6EFDD283-7752-45EC-B87D-E6643517DCA4}"/>
                </a:ext>
              </a:extLst>
            </p:cNvPr>
            <p:cNvSpPr>
              <a:spLocks noChangeArrowheads="1"/>
            </p:cNvSpPr>
            <p:nvPr/>
          </p:nvSpPr>
          <p:spPr bwMode="auto">
            <a:xfrm>
              <a:off x="1738313" y="3790946"/>
              <a:ext cx="512762" cy="195263"/>
            </a:xfrm>
            <a:custGeom>
              <a:avLst/>
              <a:gdLst>
                <a:gd name="T0" fmla="*/ 708 w 1426"/>
                <a:gd name="T1" fmla="*/ 542 h 543"/>
                <a:gd name="T2" fmla="*/ 31 w 1426"/>
                <a:gd name="T3" fmla="*/ 184 h 543"/>
                <a:gd name="T4" fmla="*/ 53 w 1426"/>
                <a:gd name="T5" fmla="*/ 51 h 543"/>
                <a:gd name="T6" fmla="*/ 186 w 1426"/>
                <a:gd name="T7" fmla="*/ 74 h 543"/>
                <a:gd name="T8" fmla="*/ 705 w 1426"/>
                <a:gd name="T9" fmla="*/ 350 h 543"/>
                <a:gd name="T10" fmla="*/ 1236 w 1426"/>
                <a:gd name="T11" fmla="*/ 57 h 543"/>
                <a:gd name="T12" fmla="*/ 1368 w 1426"/>
                <a:gd name="T13" fmla="*/ 29 h 543"/>
                <a:gd name="T14" fmla="*/ 1396 w 1426"/>
                <a:gd name="T15" fmla="*/ 161 h 543"/>
                <a:gd name="T16" fmla="*/ 708 w 1426"/>
                <a:gd name="T17" fmla="*/ 54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6" h="543">
                  <a:moveTo>
                    <a:pt x="708" y="542"/>
                  </a:moveTo>
                  <a:cubicBezTo>
                    <a:pt x="440" y="542"/>
                    <a:pt x="186" y="407"/>
                    <a:pt x="31" y="184"/>
                  </a:cubicBezTo>
                  <a:cubicBezTo>
                    <a:pt x="0" y="141"/>
                    <a:pt x="11" y="79"/>
                    <a:pt x="53" y="51"/>
                  </a:cubicBezTo>
                  <a:cubicBezTo>
                    <a:pt x="96" y="20"/>
                    <a:pt x="158" y="31"/>
                    <a:pt x="186" y="74"/>
                  </a:cubicBezTo>
                  <a:cubicBezTo>
                    <a:pt x="307" y="246"/>
                    <a:pt x="502" y="350"/>
                    <a:pt x="705" y="350"/>
                  </a:cubicBezTo>
                  <a:cubicBezTo>
                    <a:pt x="917" y="350"/>
                    <a:pt x="1117" y="240"/>
                    <a:pt x="1236" y="57"/>
                  </a:cubicBezTo>
                  <a:cubicBezTo>
                    <a:pt x="1264" y="12"/>
                    <a:pt x="1323" y="0"/>
                    <a:pt x="1368" y="29"/>
                  </a:cubicBezTo>
                  <a:cubicBezTo>
                    <a:pt x="1413" y="57"/>
                    <a:pt x="1425" y="116"/>
                    <a:pt x="1396" y="161"/>
                  </a:cubicBezTo>
                  <a:cubicBezTo>
                    <a:pt x="1244" y="398"/>
                    <a:pt x="984" y="542"/>
                    <a:pt x="708" y="542"/>
                  </a:cubicBezTo>
                </a:path>
              </a:pathLst>
            </a:custGeom>
            <a:solidFill>
              <a:schemeClr val="bg1"/>
            </a:solidFill>
            <a:ln>
              <a:noFill/>
            </a:ln>
            <a:effectLst/>
          </p:spPr>
          <p:txBody>
            <a:bodyPr wrap="none" anchor="ctr"/>
            <a:lstStyle/>
            <a:p>
              <a:pPr algn="ctr" defTabSz="895354">
                <a:defRPr/>
              </a:pPr>
              <a:endParaRPr lang="en-US" sz="1764" kern="0">
                <a:solidFill>
                  <a:schemeClr val="bg1"/>
                </a:solidFill>
                <a:latin typeface="+mj-lt"/>
              </a:endParaRPr>
            </a:p>
          </p:txBody>
        </p:sp>
        <p:sp>
          <p:nvSpPr>
            <p:cNvPr id="36" name="Freeform 132">
              <a:extLst>
                <a:ext uri="{FF2B5EF4-FFF2-40B4-BE49-F238E27FC236}">
                  <a16:creationId xmlns:a16="http://schemas.microsoft.com/office/drawing/2014/main" id="{761AF50E-FAB9-4682-BC5F-3C61D251F1B3}"/>
                </a:ext>
              </a:extLst>
            </p:cNvPr>
            <p:cNvSpPr>
              <a:spLocks noChangeArrowheads="1"/>
            </p:cNvSpPr>
            <p:nvPr/>
          </p:nvSpPr>
          <p:spPr bwMode="auto">
            <a:xfrm>
              <a:off x="1798639" y="3563940"/>
              <a:ext cx="128586" cy="128588"/>
            </a:xfrm>
            <a:custGeom>
              <a:avLst/>
              <a:gdLst>
                <a:gd name="T0" fmla="*/ 356 w 357"/>
                <a:gd name="T1" fmla="*/ 178 h 357"/>
                <a:gd name="T2" fmla="*/ 332 w 357"/>
                <a:gd name="T3" fmla="*/ 267 h 357"/>
                <a:gd name="T4" fmla="*/ 267 w 357"/>
                <a:gd name="T5" fmla="*/ 332 h 357"/>
                <a:gd name="T6" fmla="*/ 178 w 357"/>
                <a:gd name="T7" fmla="*/ 356 h 357"/>
                <a:gd name="T8" fmla="*/ 89 w 357"/>
                <a:gd name="T9" fmla="*/ 332 h 357"/>
                <a:gd name="T10" fmla="*/ 24 w 357"/>
                <a:gd name="T11" fmla="*/ 267 h 357"/>
                <a:gd name="T12" fmla="*/ 0 w 357"/>
                <a:gd name="T13" fmla="*/ 178 h 357"/>
                <a:gd name="T14" fmla="*/ 24 w 357"/>
                <a:gd name="T15" fmla="*/ 89 h 357"/>
                <a:gd name="T16" fmla="*/ 89 w 357"/>
                <a:gd name="T17" fmla="*/ 24 h 357"/>
                <a:gd name="T18" fmla="*/ 178 w 357"/>
                <a:gd name="T19" fmla="*/ 0 h 357"/>
                <a:gd name="T20" fmla="*/ 267 w 357"/>
                <a:gd name="T21" fmla="*/ 24 h 357"/>
                <a:gd name="T22" fmla="*/ 332 w 357"/>
                <a:gd name="T23" fmla="*/ 89 h 357"/>
                <a:gd name="T24" fmla="*/ 356 w 357"/>
                <a:gd name="T25" fmla="*/ 178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7">
                  <a:moveTo>
                    <a:pt x="356" y="178"/>
                  </a:moveTo>
                  <a:cubicBezTo>
                    <a:pt x="356" y="211"/>
                    <a:pt x="348" y="239"/>
                    <a:pt x="332" y="267"/>
                  </a:cubicBezTo>
                  <a:cubicBezTo>
                    <a:pt x="315" y="295"/>
                    <a:pt x="295" y="316"/>
                    <a:pt x="267" y="332"/>
                  </a:cubicBezTo>
                  <a:cubicBezTo>
                    <a:pt x="238" y="348"/>
                    <a:pt x="211" y="356"/>
                    <a:pt x="178" y="356"/>
                  </a:cubicBezTo>
                  <a:cubicBezTo>
                    <a:pt x="145" y="356"/>
                    <a:pt x="117" y="348"/>
                    <a:pt x="89" y="332"/>
                  </a:cubicBezTo>
                  <a:cubicBezTo>
                    <a:pt x="61" y="316"/>
                    <a:pt x="40" y="295"/>
                    <a:pt x="24" y="267"/>
                  </a:cubicBezTo>
                  <a:cubicBezTo>
                    <a:pt x="8" y="239"/>
                    <a:pt x="0" y="211"/>
                    <a:pt x="0" y="178"/>
                  </a:cubicBezTo>
                  <a:cubicBezTo>
                    <a:pt x="0" y="145"/>
                    <a:pt x="8" y="117"/>
                    <a:pt x="24" y="89"/>
                  </a:cubicBezTo>
                  <a:cubicBezTo>
                    <a:pt x="40" y="61"/>
                    <a:pt x="61" y="40"/>
                    <a:pt x="89" y="24"/>
                  </a:cubicBezTo>
                  <a:cubicBezTo>
                    <a:pt x="117" y="8"/>
                    <a:pt x="145" y="0"/>
                    <a:pt x="178" y="0"/>
                  </a:cubicBezTo>
                  <a:cubicBezTo>
                    <a:pt x="211" y="0"/>
                    <a:pt x="238" y="8"/>
                    <a:pt x="267" y="24"/>
                  </a:cubicBezTo>
                  <a:cubicBezTo>
                    <a:pt x="295" y="40"/>
                    <a:pt x="315" y="61"/>
                    <a:pt x="332" y="89"/>
                  </a:cubicBezTo>
                  <a:cubicBezTo>
                    <a:pt x="348" y="117"/>
                    <a:pt x="356" y="145"/>
                    <a:pt x="356" y="178"/>
                  </a:cubicBezTo>
                </a:path>
              </a:pathLst>
            </a:custGeom>
            <a:solidFill>
              <a:schemeClr val="bg1"/>
            </a:solidFill>
            <a:ln>
              <a:noFill/>
            </a:ln>
            <a:effectLst/>
          </p:spPr>
          <p:txBody>
            <a:bodyPr wrap="none" anchor="ctr"/>
            <a:lstStyle/>
            <a:p>
              <a:pPr algn="ctr" defTabSz="895354">
                <a:defRPr/>
              </a:pPr>
              <a:endParaRPr lang="en-US" sz="1764" kern="0">
                <a:solidFill>
                  <a:schemeClr val="bg1"/>
                </a:solidFill>
                <a:latin typeface="+mj-lt"/>
              </a:endParaRPr>
            </a:p>
          </p:txBody>
        </p:sp>
        <p:sp>
          <p:nvSpPr>
            <p:cNvPr id="37" name="Freeform 134">
              <a:extLst>
                <a:ext uri="{FF2B5EF4-FFF2-40B4-BE49-F238E27FC236}">
                  <a16:creationId xmlns:a16="http://schemas.microsoft.com/office/drawing/2014/main" id="{4E25037B-DA47-408A-82E6-552A02BB8918}"/>
                </a:ext>
              </a:extLst>
            </p:cNvPr>
            <p:cNvSpPr>
              <a:spLocks noChangeArrowheads="1"/>
            </p:cNvSpPr>
            <p:nvPr/>
          </p:nvSpPr>
          <p:spPr bwMode="auto">
            <a:xfrm>
              <a:off x="2065338" y="3563937"/>
              <a:ext cx="128586" cy="128588"/>
            </a:xfrm>
            <a:custGeom>
              <a:avLst/>
              <a:gdLst>
                <a:gd name="T0" fmla="*/ 356 w 357"/>
                <a:gd name="T1" fmla="*/ 178 h 357"/>
                <a:gd name="T2" fmla="*/ 332 w 357"/>
                <a:gd name="T3" fmla="*/ 267 h 357"/>
                <a:gd name="T4" fmla="*/ 267 w 357"/>
                <a:gd name="T5" fmla="*/ 332 h 357"/>
                <a:gd name="T6" fmla="*/ 178 w 357"/>
                <a:gd name="T7" fmla="*/ 356 h 357"/>
                <a:gd name="T8" fmla="*/ 89 w 357"/>
                <a:gd name="T9" fmla="*/ 332 h 357"/>
                <a:gd name="T10" fmla="*/ 24 w 357"/>
                <a:gd name="T11" fmla="*/ 267 h 357"/>
                <a:gd name="T12" fmla="*/ 0 w 357"/>
                <a:gd name="T13" fmla="*/ 178 h 357"/>
                <a:gd name="T14" fmla="*/ 24 w 357"/>
                <a:gd name="T15" fmla="*/ 89 h 357"/>
                <a:gd name="T16" fmla="*/ 89 w 357"/>
                <a:gd name="T17" fmla="*/ 24 h 357"/>
                <a:gd name="T18" fmla="*/ 178 w 357"/>
                <a:gd name="T19" fmla="*/ 0 h 357"/>
                <a:gd name="T20" fmla="*/ 267 w 357"/>
                <a:gd name="T21" fmla="*/ 24 h 357"/>
                <a:gd name="T22" fmla="*/ 332 w 357"/>
                <a:gd name="T23" fmla="*/ 89 h 357"/>
                <a:gd name="T24" fmla="*/ 356 w 357"/>
                <a:gd name="T25" fmla="*/ 178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7">
                  <a:moveTo>
                    <a:pt x="356" y="178"/>
                  </a:moveTo>
                  <a:cubicBezTo>
                    <a:pt x="356" y="211"/>
                    <a:pt x="348" y="239"/>
                    <a:pt x="332" y="267"/>
                  </a:cubicBezTo>
                  <a:cubicBezTo>
                    <a:pt x="315" y="295"/>
                    <a:pt x="295" y="316"/>
                    <a:pt x="267" y="332"/>
                  </a:cubicBezTo>
                  <a:cubicBezTo>
                    <a:pt x="239" y="348"/>
                    <a:pt x="210" y="356"/>
                    <a:pt x="178" y="356"/>
                  </a:cubicBezTo>
                  <a:cubicBezTo>
                    <a:pt x="145" y="356"/>
                    <a:pt x="117" y="348"/>
                    <a:pt x="89" y="332"/>
                  </a:cubicBezTo>
                  <a:cubicBezTo>
                    <a:pt x="60" y="316"/>
                    <a:pt x="40" y="295"/>
                    <a:pt x="24" y="267"/>
                  </a:cubicBezTo>
                  <a:cubicBezTo>
                    <a:pt x="7" y="239"/>
                    <a:pt x="0" y="211"/>
                    <a:pt x="0" y="178"/>
                  </a:cubicBezTo>
                  <a:cubicBezTo>
                    <a:pt x="0" y="145"/>
                    <a:pt x="7" y="117"/>
                    <a:pt x="24" y="89"/>
                  </a:cubicBezTo>
                  <a:cubicBezTo>
                    <a:pt x="40" y="61"/>
                    <a:pt x="60" y="40"/>
                    <a:pt x="89" y="24"/>
                  </a:cubicBezTo>
                  <a:cubicBezTo>
                    <a:pt x="117" y="8"/>
                    <a:pt x="146" y="0"/>
                    <a:pt x="178" y="0"/>
                  </a:cubicBezTo>
                  <a:cubicBezTo>
                    <a:pt x="211" y="0"/>
                    <a:pt x="239" y="8"/>
                    <a:pt x="267" y="24"/>
                  </a:cubicBezTo>
                  <a:cubicBezTo>
                    <a:pt x="295" y="40"/>
                    <a:pt x="315" y="61"/>
                    <a:pt x="332" y="89"/>
                  </a:cubicBezTo>
                  <a:cubicBezTo>
                    <a:pt x="348" y="117"/>
                    <a:pt x="356" y="145"/>
                    <a:pt x="356" y="178"/>
                  </a:cubicBezTo>
                </a:path>
              </a:pathLst>
            </a:custGeom>
            <a:solidFill>
              <a:schemeClr val="bg1"/>
            </a:solidFill>
            <a:ln>
              <a:noFill/>
            </a:ln>
            <a:effectLst/>
          </p:spPr>
          <p:txBody>
            <a:bodyPr wrap="none" anchor="ctr"/>
            <a:lstStyle/>
            <a:p>
              <a:pPr algn="ctr" defTabSz="895354">
                <a:defRPr/>
              </a:pPr>
              <a:endParaRPr lang="en-US" sz="1764" kern="0">
                <a:solidFill>
                  <a:schemeClr val="bg1"/>
                </a:solidFill>
                <a:latin typeface="+mj-lt"/>
              </a:endParaRPr>
            </a:p>
          </p:txBody>
        </p:sp>
      </p:grpSp>
      <p:sp>
        <p:nvSpPr>
          <p:cNvPr id="38" name="signal_7">
            <a:extLst>
              <a:ext uri="{FF2B5EF4-FFF2-40B4-BE49-F238E27FC236}">
                <a16:creationId xmlns:a16="http://schemas.microsoft.com/office/drawing/2014/main" id="{9E091FAD-2C7D-44E2-B0C6-64728744E34A}"/>
              </a:ext>
              <a:ext uri="{C183D7F6-B498-43B3-948B-1728B52AA6E4}">
                <adec:decorative xmlns:adec="http://schemas.microsoft.com/office/drawing/2017/decorative" val="1"/>
              </a:ext>
            </a:extLst>
          </p:cNvPr>
          <p:cNvSpPr>
            <a:spLocks noChangeAspect="1" noEditPoints="1"/>
          </p:cNvSpPr>
          <p:nvPr/>
        </p:nvSpPr>
        <p:spPr bwMode="auto">
          <a:xfrm>
            <a:off x="9951382" y="6054176"/>
            <a:ext cx="161276" cy="174044"/>
          </a:xfrm>
          <a:custGeom>
            <a:avLst/>
            <a:gdLst>
              <a:gd name="T0" fmla="*/ 0 w 240"/>
              <a:gd name="T1" fmla="*/ 207 h 259"/>
              <a:gd name="T2" fmla="*/ 0 w 240"/>
              <a:gd name="T3" fmla="*/ 259 h 259"/>
              <a:gd name="T4" fmla="*/ 60 w 240"/>
              <a:gd name="T5" fmla="*/ 155 h 259"/>
              <a:gd name="T6" fmla="*/ 60 w 240"/>
              <a:gd name="T7" fmla="*/ 259 h 259"/>
              <a:gd name="T8" fmla="*/ 120 w 240"/>
              <a:gd name="T9" fmla="*/ 102 h 259"/>
              <a:gd name="T10" fmla="*/ 120 w 240"/>
              <a:gd name="T11" fmla="*/ 259 h 259"/>
              <a:gd name="T12" fmla="*/ 179 w 240"/>
              <a:gd name="T13" fmla="*/ 51 h 259"/>
              <a:gd name="T14" fmla="*/ 179 w 240"/>
              <a:gd name="T15" fmla="*/ 259 h 259"/>
              <a:gd name="T16" fmla="*/ 240 w 240"/>
              <a:gd name="T17" fmla="*/ 0 h 259"/>
              <a:gd name="T18" fmla="*/ 240 w 240"/>
              <a:gd name="T19" fmla="*/ 25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59">
                <a:moveTo>
                  <a:pt x="0" y="207"/>
                </a:moveTo>
                <a:lnTo>
                  <a:pt x="0" y="259"/>
                </a:lnTo>
                <a:moveTo>
                  <a:pt x="60" y="155"/>
                </a:moveTo>
                <a:lnTo>
                  <a:pt x="60" y="259"/>
                </a:lnTo>
                <a:moveTo>
                  <a:pt x="120" y="102"/>
                </a:moveTo>
                <a:lnTo>
                  <a:pt x="120" y="259"/>
                </a:lnTo>
                <a:moveTo>
                  <a:pt x="179" y="51"/>
                </a:moveTo>
                <a:lnTo>
                  <a:pt x="179" y="259"/>
                </a:lnTo>
                <a:moveTo>
                  <a:pt x="240" y="0"/>
                </a:moveTo>
                <a:lnTo>
                  <a:pt x="240" y="259"/>
                </a:lnTo>
              </a:path>
            </a:pathLst>
          </a:custGeom>
          <a:noFill/>
          <a:ln w="24384" cap="flat">
            <a:solidFill>
              <a:schemeClr val="bg1"/>
            </a:solidFill>
            <a:prstDash val="solid"/>
            <a:miter/>
          </a:ln>
        </p:spPr>
        <p:txBody>
          <a:bodyPr vert="horz" wrap="square" lIns="89629" tIns="44815" rIns="89629" bIns="44815" numCol="1" anchor="t" anchorCtr="0" compatLnSpc="1">
            <a:prstTxWarp prst="textNoShape">
              <a:avLst/>
            </a:prstTxWarp>
          </a:bodyPr>
          <a:lstStyle/>
          <a:p>
            <a:endParaRPr lang="en-US" sz="1764"/>
          </a:p>
        </p:txBody>
      </p:sp>
      <p:grpSp>
        <p:nvGrpSpPr>
          <p:cNvPr id="39" name="Group 38">
            <a:extLst>
              <a:ext uri="{FF2B5EF4-FFF2-40B4-BE49-F238E27FC236}">
                <a16:creationId xmlns:a16="http://schemas.microsoft.com/office/drawing/2014/main" id="{ED5DF318-4FF2-482B-B5C5-59E070AC2294}"/>
              </a:ext>
              <a:ext uri="{C183D7F6-B498-43B3-948B-1728B52AA6E4}">
                <adec:decorative xmlns:adec="http://schemas.microsoft.com/office/drawing/2017/decorative" val="1"/>
              </a:ext>
            </a:extLst>
          </p:cNvPr>
          <p:cNvGrpSpPr/>
          <p:nvPr/>
        </p:nvGrpSpPr>
        <p:grpSpPr>
          <a:xfrm>
            <a:off x="7962394" y="6062781"/>
            <a:ext cx="330445" cy="156835"/>
            <a:chOff x="6006660" y="6423013"/>
            <a:chExt cx="542555" cy="257507"/>
          </a:xfrm>
        </p:grpSpPr>
        <p:sp>
          <p:nvSpPr>
            <p:cNvPr id="40" name="camera" title="Icon of a camera">
              <a:extLst>
                <a:ext uri="{FF2B5EF4-FFF2-40B4-BE49-F238E27FC236}">
                  <a16:creationId xmlns:a16="http://schemas.microsoft.com/office/drawing/2014/main" id="{5413F188-CE74-4E91-B7B1-908E9982A3BE}"/>
                </a:ext>
              </a:extLst>
            </p:cNvPr>
            <p:cNvSpPr>
              <a:spLocks noChangeAspect="1" noEditPoints="1"/>
            </p:cNvSpPr>
            <p:nvPr/>
          </p:nvSpPr>
          <p:spPr bwMode="auto">
            <a:xfrm>
              <a:off x="6006660" y="6423013"/>
              <a:ext cx="322220" cy="25750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2700" cap="flat">
              <a:solidFill>
                <a:schemeClr val="bg1"/>
              </a:solidFill>
              <a:prstDash val="solid"/>
              <a:miter/>
            </a:ln>
          </p:spPr>
          <p:txBody>
            <a:bodyPr vert="horz" wrap="square" lIns="89629" tIns="44815" rIns="89629" bIns="44815" numCol="1" anchor="t" anchorCtr="0" compatLnSpc="1">
              <a:prstTxWarp prst="textNoShape">
                <a:avLst/>
              </a:prstTxWarp>
            </a:bodyPr>
            <a:lstStyle/>
            <a:p>
              <a:endParaRPr lang="en-US" sz="1372" b="1"/>
            </a:p>
          </p:txBody>
        </p:sp>
        <p:sp>
          <p:nvSpPr>
            <p:cNvPr id="41" name="Rectangle 40">
              <a:extLst>
                <a:ext uri="{FF2B5EF4-FFF2-40B4-BE49-F238E27FC236}">
                  <a16:creationId xmlns:a16="http://schemas.microsoft.com/office/drawing/2014/main" id="{095582B2-BE75-4D17-B02B-DDCFFB0E29CB}"/>
                </a:ext>
              </a:extLst>
            </p:cNvPr>
            <p:cNvSpPr/>
            <p:nvPr/>
          </p:nvSpPr>
          <p:spPr bwMode="auto">
            <a:xfrm>
              <a:off x="6288630" y="6472530"/>
              <a:ext cx="260585" cy="1611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60" tIns="143408" rIns="179260" bIns="143408" numCol="1" spcCol="0" rtlCol="0" fromWordArt="0" anchor="ctr" anchorCtr="0" forceAA="0" compatLnSpc="1">
              <a:prstTxWarp prst="textNoShape">
                <a:avLst/>
              </a:prstTxWarp>
              <a:noAutofit/>
            </a:bodyPr>
            <a:lstStyle/>
            <a:p>
              <a:pPr algn="ctr" defTabSz="913926" fontAlgn="base">
                <a:lnSpc>
                  <a:spcPct val="90000"/>
                </a:lnSpc>
                <a:spcBef>
                  <a:spcPct val="0"/>
                </a:spcBef>
                <a:spcAft>
                  <a:spcPct val="0"/>
                </a:spcAft>
              </a:pPr>
              <a:r>
                <a:rPr lang="en-US" sz="587" b="1">
                  <a:solidFill>
                    <a:schemeClr val="bg1"/>
                  </a:solidFill>
                  <a:latin typeface="Segoe UI Black" panose="020B0A02040204020203" pitchFamily="34" charset="0"/>
                  <a:ea typeface="Segoe UI Black" panose="020B0A02040204020203" pitchFamily="34" charset="0"/>
                  <a:cs typeface="Segoe UI" pitchFamily="34" charset="0"/>
                </a:rPr>
                <a:t>HD</a:t>
              </a:r>
            </a:p>
          </p:txBody>
        </p:sp>
      </p:grpSp>
      <p:pic>
        <p:nvPicPr>
          <p:cNvPr id="42" name="Graphic 41">
            <a:extLst>
              <a:ext uri="{FF2B5EF4-FFF2-40B4-BE49-F238E27FC236}">
                <a16:creationId xmlns:a16="http://schemas.microsoft.com/office/drawing/2014/main" id="{E204085C-1EEF-4FCB-A515-30552627965B}"/>
              </a:ext>
              <a:ext uri="{C183D7F6-B498-43B3-948B-1728B52AA6E4}">
                <adec:decorative xmlns:adec="http://schemas.microsoft.com/office/drawing/2017/decorative" val="1"/>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flipH="1">
            <a:off x="10917778" y="6051002"/>
            <a:ext cx="69384" cy="180393"/>
          </a:xfrm>
          <a:prstGeom prst="rect">
            <a:avLst/>
          </a:prstGeom>
        </p:spPr>
      </p:pic>
      <p:grpSp>
        <p:nvGrpSpPr>
          <p:cNvPr id="43" name="Group 42">
            <a:extLst>
              <a:ext uri="{FF2B5EF4-FFF2-40B4-BE49-F238E27FC236}">
                <a16:creationId xmlns:a16="http://schemas.microsoft.com/office/drawing/2014/main" id="{33FA2B10-7915-4B1C-B7F0-2F18F664E2AC}"/>
              </a:ext>
              <a:ext uri="{C183D7F6-B498-43B3-948B-1728B52AA6E4}">
                <adec:decorative xmlns:adec="http://schemas.microsoft.com/office/drawing/2017/decorative" val="1"/>
              </a:ext>
            </a:extLst>
          </p:cNvPr>
          <p:cNvGrpSpPr/>
          <p:nvPr/>
        </p:nvGrpSpPr>
        <p:grpSpPr>
          <a:xfrm>
            <a:off x="11852072" y="6051568"/>
            <a:ext cx="179261" cy="179260"/>
            <a:chOff x="3347478" y="3484575"/>
            <a:chExt cx="590076" cy="571502"/>
          </a:xfrm>
          <a:solidFill>
            <a:schemeClr val="tx1"/>
          </a:solidFill>
        </p:grpSpPr>
        <p:sp>
          <p:nvSpPr>
            <p:cNvPr id="44" name="Freeform 127">
              <a:extLst>
                <a:ext uri="{FF2B5EF4-FFF2-40B4-BE49-F238E27FC236}">
                  <a16:creationId xmlns:a16="http://schemas.microsoft.com/office/drawing/2014/main" id="{A874EA15-5C22-45C5-94FB-E4F3B6AFA501}"/>
                </a:ext>
              </a:extLst>
            </p:cNvPr>
            <p:cNvSpPr>
              <a:spLocks noChangeArrowheads="1"/>
            </p:cNvSpPr>
            <p:nvPr/>
          </p:nvSpPr>
          <p:spPr bwMode="auto">
            <a:xfrm>
              <a:off x="3554410" y="3484575"/>
              <a:ext cx="298450" cy="571502"/>
            </a:xfrm>
            <a:custGeom>
              <a:avLst/>
              <a:gdLst>
                <a:gd name="T0" fmla="*/ 257 w 828"/>
                <a:gd name="T1" fmla="*/ 1396 h 1586"/>
                <a:gd name="T2" fmla="*/ 263 w 828"/>
                <a:gd name="T3" fmla="*/ 1388 h 1586"/>
                <a:gd name="T4" fmla="*/ 791 w 828"/>
                <a:gd name="T5" fmla="*/ 251 h 1586"/>
                <a:gd name="T6" fmla="*/ 793 w 828"/>
                <a:gd name="T7" fmla="*/ 192 h 1586"/>
                <a:gd name="T8" fmla="*/ 799 w 828"/>
                <a:gd name="T9" fmla="*/ 178 h 1586"/>
                <a:gd name="T10" fmla="*/ 743 w 828"/>
                <a:gd name="T11" fmla="*/ 26 h 1586"/>
                <a:gd name="T12" fmla="*/ 590 w 828"/>
                <a:gd name="T13" fmla="*/ 79 h 1586"/>
                <a:gd name="T14" fmla="*/ 435 w 828"/>
                <a:gd name="T15" fmla="*/ 139 h 1586"/>
                <a:gd name="T16" fmla="*/ 235 w 828"/>
                <a:gd name="T17" fmla="*/ 567 h 1586"/>
                <a:gd name="T18" fmla="*/ 249 w 828"/>
                <a:gd name="T19" fmla="*/ 604 h 1586"/>
                <a:gd name="T20" fmla="*/ 285 w 828"/>
                <a:gd name="T21" fmla="*/ 590 h 1586"/>
                <a:gd name="T22" fmla="*/ 486 w 828"/>
                <a:gd name="T23" fmla="*/ 161 h 1586"/>
                <a:gd name="T24" fmla="*/ 545 w 828"/>
                <a:gd name="T25" fmla="*/ 124 h 1586"/>
                <a:gd name="T26" fmla="*/ 539 w 828"/>
                <a:gd name="T27" fmla="*/ 136 h 1586"/>
                <a:gd name="T28" fmla="*/ 12 w 828"/>
                <a:gd name="T29" fmla="*/ 1269 h 1586"/>
                <a:gd name="T30" fmla="*/ 6 w 828"/>
                <a:gd name="T31" fmla="*/ 1314 h 1586"/>
                <a:gd name="T32" fmla="*/ 0 w 828"/>
                <a:gd name="T33" fmla="*/ 1548 h 1586"/>
                <a:gd name="T34" fmla="*/ 20 w 828"/>
                <a:gd name="T35" fmla="*/ 1579 h 1586"/>
                <a:gd name="T36" fmla="*/ 57 w 828"/>
                <a:gd name="T37" fmla="*/ 1574 h 1586"/>
                <a:gd name="T38" fmla="*/ 246 w 828"/>
                <a:gd name="T39" fmla="*/ 1410 h 1586"/>
                <a:gd name="T40" fmla="*/ 257 w 828"/>
                <a:gd name="T41" fmla="*/ 1396 h 1586"/>
                <a:gd name="T42" fmla="*/ 74 w 828"/>
                <a:gd name="T43" fmla="*/ 1306 h 1586"/>
                <a:gd name="T44" fmla="*/ 74 w 828"/>
                <a:gd name="T45" fmla="*/ 1300 h 1586"/>
                <a:gd name="T46" fmla="*/ 74 w 828"/>
                <a:gd name="T47" fmla="*/ 1297 h 1586"/>
                <a:gd name="T48" fmla="*/ 601 w 828"/>
                <a:gd name="T49" fmla="*/ 167 h 1586"/>
                <a:gd name="T50" fmla="*/ 610 w 828"/>
                <a:gd name="T51" fmla="*/ 164 h 1586"/>
                <a:gd name="T52" fmla="*/ 723 w 828"/>
                <a:gd name="T53" fmla="*/ 215 h 1586"/>
                <a:gd name="T54" fmla="*/ 726 w 828"/>
                <a:gd name="T55" fmla="*/ 223 h 1586"/>
                <a:gd name="T56" fmla="*/ 198 w 828"/>
                <a:gd name="T57" fmla="*/ 1357 h 1586"/>
                <a:gd name="T58" fmla="*/ 189 w 828"/>
                <a:gd name="T59" fmla="*/ 1359 h 1586"/>
                <a:gd name="T60" fmla="*/ 74 w 828"/>
                <a:gd name="T61" fmla="*/ 1306 h 1586"/>
                <a:gd name="T62" fmla="*/ 720 w 828"/>
                <a:gd name="T63" fmla="*/ 76 h 1586"/>
                <a:gd name="T64" fmla="*/ 751 w 828"/>
                <a:gd name="T65" fmla="*/ 150 h 1586"/>
                <a:gd name="T66" fmla="*/ 644 w 828"/>
                <a:gd name="T67" fmla="*/ 99 h 1586"/>
                <a:gd name="T68" fmla="*/ 720 w 828"/>
                <a:gd name="T69" fmla="*/ 76 h 1586"/>
                <a:gd name="T70" fmla="*/ 71 w 828"/>
                <a:gd name="T71" fmla="*/ 1472 h 1586"/>
                <a:gd name="T72" fmla="*/ 74 w 828"/>
                <a:gd name="T73" fmla="*/ 1385 h 1586"/>
                <a:gd name="T74" fmla="*/ 139 w 828"/>
                <a:gd name="T75" fmla="*/ 1416 h 1586"/>
                <a:gd name="T76" fmla="*/ 71 w 828"/>
                <a:gd name="T77" fmla="*/ 1472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28" h="1586">
                  <a:moveTo>
                    <a:pt x="257" y="1396"/>
                  </a:moveTo>
                  <a:cubicBezTo>
                    <a:pt x="260" y="1393"/>
                    <a:pt x="260" y="1390"/>
                    <a:pt x="263" y="1388"/>
                  </a:cubicBezTo>
                  <a:lnTo>
                    <a:pt x="791" y="251"/>
                  </a:lnTo>
                  <a:cubicBezTo>
                    <a:pt x="799" y="232"/>
                    <a:pt x="799" y="212"/>
                    <a:pt x="793" y="192"/>
                  </a:cubicBezTo>
                  <a:lnTo>
                    <a:pt x="799" y="178"/>
                  </a:lnTo>
                  <a:cubicBezTo>
                    <a:pt x="827" y="122"/>
                    <a:pt x="802" y="51"/>
                    <a:pt x="743" y="26"/>
                  </a:cubicBezTo>
                  <a:cubicBezTo>
                    <a:pt x="686" y="0"/>
                    <a:pt x="618" y="23"/>
                    <a:pt x="590" y="79"/>
                  </a:cubicBezTo>
                  <a:cubicBezTo>
                    <a:pt x="531" y="54"/>
                    <a:pt x="460" y="79"/>
                    <a:pt x="435" y="139"/>
                  </a:cubicBezTo>
                  <a:lnTo>
                    <a:pt x="235" y="567"/>
                  </a:lnTo>
                  <a:cubicBezTo>
                    <a:pt x="229" y="582"/>
                    <a:pt x="235" y="598"/>
                    <a:pt x="249" y="604"/>
                  </a:cubicBezTo>
                  <a:cubicBezTo>
                    <a:pt x="263" y="609"/>
                    <a:pt x="280" y="604"/>
                    <a:pt x="285" y="590"/>
                  </a:cubicBezTo>
                  <a:lnTo>
                    <a:pt x="486" y="161"/>
                  </a:lnTo>
                  <a:cubicBezTo>
                    <a:pt x="497" y="139"/>
                    <a:pt x="522" y="124"/>
                    <a:pt x="545" y="124"/>
                  </a:cubicBezTo>
                  <a:cubicBezTo>
                    <a:pt x="542" y="127"/>
                    <a:pt x="539" y="130"/>
                    <a:pt x="539" y="136"/>
                  </a:cubicBezTo>
                  <a:lnTo>
                    <a:pt x="12" y="1269"/>
                  </a:lnTo>
                  <a:cubicBezTo>
                    <a:pt x="6" y="1283"/>
                    <a:pt x="3" y="1300"/>
                    <a:pt x="6" y="1314"/>
                  </a:cubicBezTo>
                  <a:lnTo>
                    <a:pt x="0" y="1548"/>
                  </a:lnTo>
                  <a:cubicBezTo>
                    <a:pt x="0" y="1563"/>
                    <a:pt x="9" y="1574"/>
                    <a:pt x="20" y="1579"/>
                  </a:cubicBezTo>
                  <a:cubicBezTo>
                    <a:pt x="31" y="1585"/>
                    <a:pt x="48" y="1582"/>
                    <a:pt x="57" y="1574"/>
                  </a:cubicBezTo>
                  <a:lnTo>
                    <a:pt x="246" y="1410"/>
                  </a:lnTo>
                  <a:cubicBezTo>
                    <a:pt x="252" y="1407"/>
                    <a:pt x="254" y="1402"/>
                    <a:pt x="257" y="1396"/>
                  </a:cubicBezTo>
                  <a:close/>
                  <a:moveTo>
                    <a:pt x="74" y="1306"/>
                  </a:moveTo>
                  <a:lnTo>
                    <a:pt x="74" y="1300"/>
                  </a:lnTo>
                  <a:cubicBezTo>
                    <a:pt x="74" y="1300"/>
                    <a:pt x="74" y="1300"/>
                    <a:pt x="74" y="1297"/>
                  </a:cubicBezTo>
                  <a:lnTo>
                    <a:pt x="601" y="167"/>
                  </a:lnTo>
                  <a:cubicBezTo>
                    <a:pt x="604" y="164"/>
                    <a:pt x="607" y="161"/>
                    <a:pt x="610" y="164"/>
                  </a:cubicBezTo>
                  <a:lnTo>
                    <a:pt x="723" y="215"/>
                  </a:lnTo>
                  <a:cubicBezTo>
                    <a:pt x="726" y="218"/>
                    <a:pt x="728" y="220"/>
                    <a:pt x="726" y="223"/>
                  </a:cubicBezTo>
                  <a:lnTo>
                    <a:pt x="198" y="1357"/>
                  </a:lnTo>
                  <a:cubicBezTo>
                    <a:pt x="195" y="1359"/>
                    <a:pt x="192" y="1362"/>
                    <a:pt x="189" y="1359"/>
                  </a:cubicBezTo>
                  <a:lnTo>
                    <a:pt x="74" y="1306"/>
                  </a:lnTo>
                  <a:close/>
                  <a:moveTo>
                    <a:pt x="720" y="76"/>
                  </a:moveTo>
                  <a:cubicBezTo>
                    <a:pt x="748" y="91"/>
                    <a:pt x="760" y="122"/>
                    <a:pt x="751" y="150"/>
                  </a:cubicBezTo>
                  <a:lnTo>
                    <a:pt x="644" y="99"/>
                  </a:lnTo>
                  <a:cubicBezTo>
                    <a:pt x="658" y="74"/>
                    <a:pt x="692" y="65"/>
                    <a:pt x="720" y="76"/>
                  </a:cubicBezTo>
                  <a:close/>
                  <a:moveTo>
                    <a:pt x="71" y="1472"/>
                  </a:moveTo>
                  <a:lnTo>
                    <a:pt x="74" y="1385"/>
                  </a:lnTo>
                  <a:lnTo>
                    <a:pt x="139" y="1416"/>
                  </a:lnTo>
                  <a:lnTo>
                    <a:pt x="71" y="1472"/>
                  </a:lnTo>
                  <a:close/>
                </a:path>
              </a:pathLst>
            </a:custGeom>
            <a:solidFill>
              <a:schemeClr val="bg1"/>
            </a:solidFill>
            <a:ln w="3175">
              <a:noFill/>
            </a:ln>
            <a:effectLst/>
          </p:spPr>
          <p:txBody>
            <a:bodyPr wrap="none" anchor="ctr"/>
            <a:lstStyle/>
            <a:p>
              <a:pPr algn="ctr" defTabSz="895526">
                <a:defRPr/>
              </a:pPr>
              <a:endParaRPr lang="en-US" sz="1764" u="sng" kern="0">
                <a:solidFill>
                  <a:schemeClr val="bg1"/>
                </a:solidFill>
                <a:latin typeface="+mj-lt"/>
              </a:endParaRPr>
            </a:p>
          </p:txBody>
        </p:sp>
        <p:sp>
          <p:nvSpPr>
            <p:cNvPr id="45" name="Freeform 128">
              <a:extLst>
                <a:ext uri="{FF2B5EF4-FFF2-40B4-BE49-F238E27FC236}">
                  <a16:creationId xmlns:a16="http://schemas.microsoft.com/office/drawing/2014/main" id="{65E6929A-CB82-4B8C-8970-A16C283CC143}"/>
                </a:ext>
              </a:extLst>
            </p:cNvPr>
            <p:cNvSpPr>
              <a:spLocks noChangeArrowheads="1"/>
            </p:cNvSpPr>
            <p:nvPr/>
          </p:nvSpPr>
          <p:spPr bwMode="auto">
            <a:xfrm>
              <a:off x="3347478" y="3795730"/>
              <a:ext cx="257176" cy="258763"/>
            </a:xfrm>
            <a:custGeom>
              <a:avLst/>
              <a:gdLst>
                <a:gd name="T0" fmla="*/ 432 w 715"/>
                <a:gd name="T1" fmla="*/ 643 h 720"/>
                <a:gd name="T2" fmla="*/ 288 w 715"/>
                <a:gd name="T3" fmla="*/ 618 h 720"/>
                <a:gd name="T4" fmla="*/ 149 w 715"/>
                <a:gd name="T5" fmla="*/ 239 h 720"/>
                <a:gd name="T6" fmla="*/ 327 w 715"/>
                <a:gd name="T7" fmla="*/ 87 h 720"/>
                <a:gd name="T8" fmla="*/ 657 w 715"/>
                <a:gd name="T9" fmla="*/ 76 h 720"/>
                <a:gd name="T10" fmla="*/ 683 w 715"/>
                <a:gd name="T11" fmla="*/ 76 h 720"/>
                <a:gd name="T12" fmla="*/ 714 w 715"/>
                <a:gd name="T13" fmla="*/ 8 h 720"/>
                <a:gd name="T14" fmla="*/ 657 w 715"/>
                <a:gd name="T15" fmla="*/ 5 h 720"/>
                <a:gd name="T16" fmla="*/ 305 w 715"/>
                <a:gd name="T17" fmla="*/ 19 h 720"/>
                <a:gd name="T18" fmla="*/ 82 w 715"/>
                <a:gd name="T19" fmla="*/ 211 h 720"/>
                <a:gd name="T20" fmla="*/ 254 w 715"/>
                <a:gd name="T21" fmla="*/ 682 h 720"/>
                <a:gd name="T22" fmla="*/ 434 w 715"/>
                <a:gd name="T23" fmla="*/ 713 h 720"/>
                <a:gd name="T24" fmla="*/ 465 w 715"/>
                <a:gd name="T25" fmla="*/ 677 h 720"/>
                <a:gd name="T26" fmla="*/ 432 w 715"/>
                <a:gd name="T27" fmla="*/ 643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5" h="720">
                  <a:moveTo>
                    <a:pt x="432" y="643"/>
                  </a:moveTo>
                  <a:cubicBezTo>
                    <a:pt x="384" y="646"/>
                    <a:pt x="333" y="637"/>
                    <a:pt x="288" y="618"/>
                  </a:cubicBezTo>
                  <a:cubicBezTo>
                    <a:pt x="147" y="550"/>
                    <a:pt x="84" y="381"/>
                    <a:pt x="149" y="239"/>
                  </a:cubicBezTo>
                  <a:cubicBezTo>
                    <a:pt x="183" y="166"/>
                    <a:pt x="248" y="110"/>
                    <a:pt x="327" y="87"/>
                  </a:cubicBezTo>
                  <a:cubicBezTo>
                    <a:pt x="353" y="79"/>
                    <a:pt x="429" y="73"/>
                    <a:pt x="657" y="76"/>
                  </a:cubicBezTo>
                  <a:lnTo>
                    <a:pt x="683" y="76"/>
                  </a:lnTo>
                  <a:lnTo>
                    <a:pt x="714" y="8"/>
                  </a:lnTo>
                  <a:lnTo>
                    <a:pt x="657" y="5"/>
                  </a:lnTo>
                  <a:cubicBezTo>
                    <a:pt x="398" y="0"/>
                    <a:pt x="333" y="11"/>
                    <a:pt x="305" y="19"/>
                  </a:cubicBezTo>
                  <a:cubicBezTo>
                    <a:pt x="206" y="48"/>
                    <a:pt x="127" y="118"/>
                    <a:pt x="82" y="211"/>
                  </a:cubicBezTo>
                  <a:cubicBezTo>
                    <a:pt x="0" y="389"/>
                    <a:pt x="76" y="601"/>
                    <a:pt x="254" y="682"/>
                  </a:cubicBezTo>
                  <a:cubicBezTo>
                    <a:pt x="310" y="708"/>
                    <a:pt x="372" y="719"/>
                    <a:pt x="434" y="713"/>
                  </a:cubicBezTo>
                  <a:cubicBezTo>
                    <a:pt x="454" y="711"/>
                    <a:pt x="468" y="694"/>
                    <a:pt x="465" y="677"/>
                  </a:cubicBezTo>
                  <a:cubicBezTo>
                    <a:pt x="468" y="654"/>
                    <a:pt x="451" y="640"/>
                    <a:pt x="432" y="643"/>
                  </a:cubicBezTo>
                </a:path>
              </a:pathLst>
            </a:custGeom>
            <a:solidFill>
              <a:schemeClr val="bg1"/>
            </a:solidFill>
            <a:ln w="3175">
              <a:solidFill>
                <a:schemeClr val="bg1"/>
              </a:solidFill>
            </a:ln>
            <a:effectLst/>
          </p:spPr>
          <p:txBody>
            <a:bodyPr wrap="none" anchor="ctr"/>
            <a:lstStyle/>
            <a:p>
              <a:pPr algn="ctr" defTabSz="895526">
                <a:defRPr/>
              </a:pPr>
              <a:endParaRPr lang="en-US" sz="1764" u="sng" kern="0">
                <a:solidFill>
                  <a:schemeClr val="bg1"/>
                </a:solidFill>
                <a:latin typeface="+mj-lt"/>
              </a:endParaRPr>
            </a:p>
          </p:txBody>
        </p:sp>
        <p:sp>
          <p:nvSpPr>
            <p:cNvPr id="46" name="Freeform 129">
              <a:extLst>
                <a:ext uri="{FF2B5EF4-FFF2-40B4-BE49-F238E27FC236}">
                  <a16:creationId xmlns:a16="http://schemas.microsoft.com/office/drawing/2014/main" id="{02573A0E-4568-498B-AD6C-128778622795}"/>
                </a:ext>
              </a:extLst>
            </p:cNvPr>
            <p:cNvSpPr>
              <a:spLocks noChangeArrowheads="1"/>
            </p:cNvSpPr>
            <p:nvPr/>
          </p:nvSpPr>
          <p:spPr bwMode="auto">
            <a:xfrm>
              <a:off x="3740705" y="3670301"/>
              <a:ext cx="196849" cy="160338"/>
            </a:xfrm>
            <a:custGeom>
              <a:avLst/>
              <a:gdLst>
                <a:gd name="T0" fmla="*/ 398 w 548"/>
                <a:gd name="T1" fmla="*/ 37 h 444"/>
                <a:gd name="T2" fmla="*/ 166 w 548"/>
                <a:gd name="T3" fmla="*/ 74 h 444"/>
                <a:gd name="T4" fmla="*/ 144 w 548"/>
                <a:gd name="T5" fmla="*/ 119 h 444"/>
                <a:gd name="T6" fmla="*/ 155 w 548"/>
                <a:gd name="T7" fmla="*/ 136 h 444"/>
                <a:gd name="T8" fmla="*/ 203 w 548"/>
                <a:gd name="T9" fmla="*/ 133 h 444"/>
                <a:gd name="T10" fmla="*/ 367 w 548"/>
                <a:gd name="T11" fmla="*/ 99 h 444"/>
                <a:gd name="T12" fmla="*/ 434 w 548"/>
                <a:gd name="T13" fmla="*/ 285 h 444"/>
                <a:gd name="T14" fmla="*/ 234 w 548"/>
                <a:gd name="T15" fmla="*/ 369 h 444"/>
                <a:gd name="T16" fmla="*/ 50 w 548"/>
                <a:gd name="T17" fmla="*/ 364 h 444"/>
                <a:gd name="T18" fmla="*/ 31 w 548"/>
                <a:gd name="T19" fmla="*/ 364 h 444"/>
                <a:gd name="T20" fmla="*/ 0 w 548"/>
                <a:gd name="T21" fmla="*/ 431 h 444"/>
                <a:gd name="T22" fmla="*/ 50 w 548"/>
                <a:gd name="T23" fmla="*/ 434 h 444"/>
                <a:gd name="T24" fmla="*/ 237 w 548"/>
                <a:gd name="T25" fmla="*/ 440 h 444"/>
                <a:gd name="T26" fmla="*/ 502 w 548"/>
                <a:gd name="T27" fmla="*/ 317 h 444"/>
                <a:gd name="T28" fmla="*/ 398 w 548"/>
                <a:gd name="T29" fmla="*/ 3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8" h="444">
                  <a:moveTo>
                    <a:pt x="398" y="37"/>
                  </a:moveTo>
                  <a:cubicBezTo>
                    <a:pt x="321" y="0"/>
                    <a:pt x="228" y="17"/>
                    <a:pt x="166" y="74"/>
                  </a:cubicBezTo>
                  <a:lnTo>
                    <a:pt x="144" y="119"/>
                  </a:lnTo>
                  <a:cubicBezTo>
                    <a:pt x="146" y="125"/>
                    <a:pt x="149" y="130"/>
                    <a:pt x="155" y="136"/>
                  </a:cubicBezTo>
                  <a:cubicBezTo>
                    <a:pt x="169" y="150"/>
                    <a:pt x="192" y="147"/>
                    <a:pt x="203" y="133"/>
                  </a:cubicBezTo>
                  <a:cubicBezTo>
                    <a:pt x="242" y="88"/>
                    <a:pt x="310" y="74"/>
                    <a:pt x="367" y="99"/>
                  </a:cubicBezTo>
                  <a:cubicBezTo>
                    <a:pt x="437" y="133"/>
                    <a:pt x="468" y="215"/>
                    <a:pt x="434" y="285"/>
                  </a:cubicBezTo>
                  <a:cubicBezTo>
                    <a:pt x="400" y="358"/>
                    <a:pt x="307" y="369"/>
                    <a:pt x="234" y="369"/>
                  </a:cubicBezTo>
                  <a:cubicBezTo>
                    <a:pt x="189" y="369"/>
                    <a:pt x="127" y="366"/>
                    <a:pt x="50" y="364"/>
                  </a:cubicBezTo>
                  <a:lnTo>
                    <a:pt x="31" y="364"/>
                  </a:lnTo>
                  <a:lnTo>
                    <a:pt x="0" y="431"/>
                  </a:lnTo>
                  <a:lnTo>
                    <a:pt x="50" y="434"/>
                  </a:lnTo>
                  <a:cubicBezTo>
                    <a:pt x="127" y="437"/>
                    <a:pt x="192" y="440"/>
                    <a:pt x="237" y="440"/>
                  </a:cubicBezTo>
                  <a:cubicBezTo>
                    <a:pt x="369" y="443"/>
                    <a:pt x="463" y="400"/>
                    <a:pt x="502" y="317"/>
                  </a:cubicBezTo>
                  <a:cubicBezTo>
                    <a:pt x="547" y="212"/>
                    <a:pt x="502" y="88"/>
                    <a:pt x="398" y="37"/>
                  </a:cubicBezTo>
                </a:path>
              </a:pathLst>
            </a:custGeom>
            <a:solidFill>
              <a:schemeClr val="bg1"/>
            </a:solidFill>
            <a:ln w="3175">
              <a:solidFill>
                <a:schemeClr val="bg1"/>
              </a:solidFill>
            </a:ln>
            <a:effectLst/>
          </p:spPr>
          <p:txBody>
            <a:bodyPr wrap="none" anchor="ctr"/>
            <a:lstStyle/>
            <a:p>
              <a:pPr algn="ctr" defTabSz="895526">
                <a:defRPr/>
              </a:pPr>
              <a:endParaRPr lang="en-US" sz="1764" u="sng" kern="0">
                <a:solidFill>
                  <a:schemeClr val="bg1"/>
                </a:solidFill>
                <a:latin typeface="+mj-lt"/>
              </a:endParaRPr>
            </a:p>
          </p:txBody>
        </p:sp>
      </p:grpSp>
      <p:grpSp>
        <p:nvGrpSpPr>
          <p:cNvPr id="47" name="Group 46">
            <a:extLst>
              <a:ext uri="{FF2B5EF4-FFF2-40B4-BE49-F238E27FC236}">
                <a16:creationId xmlns:a16="http://schemas.microsoft.com/office/drawing/2014/main" id="{91A50F37-76C0-4CCA-AF9E-32171CFCFED7}"/>
              </a:ext>
              <a:ext uri="{C183D7F6-B498-43B3-948B-1728B52AA6E4}">
                <adec:decorative xmlns:adec="http://schemas.microsoft.com/office/drawing/2017/decorative" val="1"/>
              </a:ext>
            </a:extLst>
          </p:cNvPr>
          <p:cNvGrpSpPr/>
          <p:nvPr/>
        </p:nvGrpSpPr>
        <p:grpSpPr>
          <a:xfrm>
            <a:off x="8907013" y="6062781"/>
            <a:ext cx="330445" cy="156835"/>
            <a:chOff x="6006660" y="6423013"/>
            <a:chExt cx="542555" cy="257507"/>
          </a:xfrm>
        </p:grpSpPr>
        <p:sp>
          <p:nvSpPr>
            <p:cNvPr id="48" name="camera" title="Icon of a camera">
              <a:extLst>
                <a:ext uri="{FF2B5EF4-FFF2-40B4-BE49-F238E27FC236}">
                  <a16:creationId xmlns:a16="http://schemas.microsoft.com/office/drawing/2014/main" id="{8DE6FD74-D785-49CD-84C5-4425D20C4C71}"/>
                </a:ext>
              </a:extLst>
            </p:cNvPr>
            <p:cNvSpPr>
              <a:spLocks noChangeAspect="1" noEditPoints="1"/>
            </p:cNvSpPr>
            <p:nvPr/>
          </p:nvSpPr>
          <p:spPr bwMode="auto">
            <a:xfrm>
              <a:off x="6006660" y="6423013"/>
              <a:ext cx="322220" cy="25750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2700" cap="flat">
              <a:solidFill>
                <a:schemeClr val="bg1"/>
              </a:solidFill>
              <a:prstDash val="solid"/>
              <a:miter/>
            </a:ln>
          </p:spPr>
          <p:txBody>
            <a:bodyPr vert="horz" wrap="square" lIns="89629" tIns="44815" rIns="89629" bIns="44815" numCol="1" anchor="t" anchorCtr="0" compatLnSpc="1">
              <a:prstTxWarp prst="textNoShape">
                <a:avLst/>
              </a:prstTxWarp>
            </a:bodyPr>
            <a:lstStyle/>
            <a:p>
              <a:endParaRPr lang="en-US" sz="1372" b="1"/>
            </a:p>
          </p:txBody>
        </p:sp>
        <p:sp>
          <p:nvSpPr>
            <p:cNvPr id="49" name="Rectangle 48">
              <a:extLst>
                <a:ext uri="{FF2B5EF4-FFF2-40B4-BE49-F238E27FC236}">
                  <a16:creationId xmlns:a16="http://schemas.microsoft.com/office/drawing/2014/main" id="{5AF794DB-D219-4134-9DF6-5F93B1873268}"/>
                </a:ext>
              </a:extLst>
            </p:cNvPr>
            <p:cNvSpPr/>
            <p:nvPr/>
          </p:nvSpPr>
          <p:spPr bwMode="auto">
            <a:xfrm>
              <a:off x="6288630" y="6472530"/>
              <a:ext cx="260585" cy="1611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60" tIns="143408" rIns="179260" bIns="143408" numCol="1" spcCol="0" rtlCol="0" fromWordArt="0" anchor="ctr" anchorCtr="0" forceAA="0" compatLnSpc="1">
              <a:prstTxWarp prst="textNoShape">
                <a:avLst/>
              </a:prstTxWarp>
              <a:noAutofit/>
            </a:bodyPr>
            <a:lstStyle/>
            <a:p>
              <a:pPr algn="ctr" defTabSz="913926" fontAlgn="base">
                <a:lnSpc>
                  <a:spcPct val="90000"/>
                </a:lnSpc>
                <a:spcBef>
                  <a:spcPct val="0"/>
                </a:spcBef>
                <a:spcAft>
                  <a:spcPct val="0"/>
                </a:spcAft>
              </a:pPr>
              <a:r>
                <a:rPr lang="en-US" sz="587" b="1">
                  <a:solidFill>
                    <a:schemeClr val="bg1"/>
                  </a:solidFill>
                  <a:latin typeface="Segoe UI Black" panose="020B0A02040204020203" pitchFamily="34" charset="0"/>
                  <a:ea typeface="Segoe UI Black" panose="020B0A02040204020203" pitchFamily="34" charset="0"/>
                  <a:cs typeface="Segoe UI" pitchFamily="34" charset="0"/>
                </a:rPr>
                <a:t>FHD</a:t>
              </a:r>
            </a:p>
          </p:txBody>
        </p:sp>
      </p:grpSp>
      <p:sp>
        <p:nvSpPr>
          <p:cNvPr id="50" name="TextBox 49">
            <a:extLst>
              <a:ext uri="{FF2B5EF4-FFF2-40B4-BE49-F238E27FC236}">
                <a16:creationId xmlns:a16="http://schemas.microsoft.com/office/drawing/2014/main" id="{CD21FF6E-27FF-4697-A930-9832A61EE5B8}"/>
              </a:ext>
            </a:extLst>
          </p:cNvPr>
          <p:cNvSpPr txBox="1"/>
          <p:nvPr/>
        </p:nvSpPr>
        <p:spPr>
          <a:xfrm>
            <a:off x="216151" y="6721747"/>
            <a:ext cx="7937895" cy="251123"/>
          </a:xfrm>
          <a:prstGeom prst="rect">
            <a:avLst/>
          </a:prstGeom>
          <a:noFill/>
        </p:spPr>
        <p:txBody>
          <a:bodyPr wrap="square" lIns="0" tIns="0" rIns="0" bIns="0" rtlCol="0">
            <a:spAutoFit/>
          </a:bodyPr>
          <a:lstStyle/>
          <a:p>
            <a:r>
              <a:rPr lang="en-US" sz="800">
                <a:solidFill>
                  <a:schemeClr val="bg1"/>
                </a:solidFill>
              </a:rPr>
              <a:t>All specifications are subject to change without notice. Please check with each distributor for exact offers. Products may not be available in all markets.</a:t>
            </a:r>
            <a:br>
              <a:rPr lang="en-US" sz="800">
                <a:solidFill>
                  <a:schemeClr val="bg1"/>
                </a:solidFill>
              </a:rPr>
            </a:br>
            <a:r>
              <a:rPr lang="en-US" sz="800">
                <a:solidFill>
                  <a:schemeClr val="bg1"/>
                </a:solidFill>
              </a:rPr>
              <a:t>Displayed prices are current lowest prices offered by stated distributors and are subject to change. Prices are not offered by Microsoft unless stated.</a:t>
            </a:r>
            <a:endParaRPr lang="en-US" sz="300">
              <a:solidFill>
                <a:schemeClr val="bg1"/>
              </a:solidFill>
            </a:endParaRPr>
          </a:p>
        </p:txBody>
      </p:sp>
      <p:sp>
        <p:nvSpPr>
          <p:cNvPr id="51" name="MSIPCMContentMarking" descr="{&quot;HashCode&quot;:1828086022,&quot;Placement&quot;:&quot;Footer&quot;}">
            <a:extLst>
              <a:ext uri="{FF2B5EF4-FFF2-40B4-BE49-F238E27FC236}">
                <a16:creationId xmlns:a16="http://schemas.microsoft.com/office/drawing/2014/main" id="{C7E891C9-DF84-4AE6-BDF9-0E35E61FAEDD}"/>
              </a:ext>
            </a:extLst>
          </p:cNvPr>
          <p:cNvSpPr txBox="1"/>
          <p:nvPr/>
        </p:nvSpPr>
        <p:spPr>
          <a:xfrm>
            <a:off x="8639653" y="6864032"/>
            <a:ext cx="3621912" cy="113006"/>
          </a:xfrm>
          <a:prstGeom prst="rect">
            <a:avLst/>
          </a:prstGeom>
          <a:noFill/>
        </p:spPr>
        <p:txBody>
          <a:bodyPr vert="horz" wrap="square" lIns="0" tIns="0" rIns="0" bIns="0" rtlCol="0" anchor="ctr" anchorCtr="1">
            <a:spAutoFit/>
          </a:bodyPr>
          <a:lstStyle/>
          <a:p>
            <a:pPr algn="ctr" defTabSz="914191">
              <a:lnSpc>
                <a:spcPct val="90000"/>
              </a:lnSpc>
              <a:defRPr/>
            </a:pPr>
            <a:r>
              <a:rPr lang="en-US" sz="800">
                <a:solidFill>
                  <a:schemeClr val="bg1"/>
                </a:solidFill>
                <a:cs typeface="Segoe UI Semibold" panose="020B0702040204020203" pitchFamily="34" charset="0"/>
              </a:rPr>
              <a:t>Classified as Microsoft Confidential – Microsoft Internal Only – Do Not Share</a:t>
            </a:r>
          </a:p>
        </p:txBody>
      </p:sp>
      <p:pic>
        <p:nvPicPr>
          <p:cNvPr id="274" name="Picture 273">
            <a:extLst>
              <a:ext uri="{FF2B5EF4-FFF2-40B4-BE49-F238E27FC236}">
                <a16:creationId xmlns:a16="http://schemas.microsoft.com/office/drawing/2014/main" id="{FA1DF50D-9938-473B-BB30-34C186B364F0}"/>
              </a:ext>
              <a:ext uri="{C183D7F6-B498-43B3-948B-1728B52AA6E4}">
                <adec:decorative xmlns:adec="http://schemas.microsoft.com/office/drawing/2017/decorative" val="1"/>
              </a:ext>
            </a:extLst>
          </p:cNvPr>
          <p:cNvPicPr>
            <a:picLocks noChangeAspect="1"/>
          </p:cNvPicPr>
          <p:nvPr/>
        </p:nvPicPr>
        <p:blipFill>
          <a:blip r:embed="rId1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1939686" y="3704084"/>
            <a:ext cx="240574" cy="57137"/>
          </a:xfrm>
          <a:prstGeom prst="rect">
            <a:avLst/>
          </a:prstGeom>
        </p:spPr>
      </p:pic>
      <p:sp>
        <p:nvSpPr>
          <p:cNvPr id="284" name="Freeform 110">
            <a:extLst>
              <a:ext uri="{FF2B5EF4-FFF2-40B4-BE49-F238E27FC236}">
                <a16:creationId xmlns:a16="http://schemas.microsoft.com/office/drawing/2014/main" id="{0B71BAF2-DF38-493D-B33B-32F7E3F4CE68}"/>
              </a:ext>
              <a:ext uri="{C183D7F6-B498-43B3-948B-1728B52AA6E4}">
                <adec:decorative xmlns:adec="http://schemas.microsoft.com/office/drawing/2017/decorative" val="1"/>
              </a:ext>
            </a:extLst>
          </p:cNvPr>
          <p:cNvSpPr>
            <a:spLocks noChangeAspect="1" noEditPoints="1"/>
          </p:cNvSpPr>
          <p:nvPr/>
        </p:nvSpPr>
        <p:spPr bwMode="black">
          <a:xfrm>
            <a:off x="11006474" y="5181802"/>
            <a:ext cx="87595" cy="164280"/>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rgbClr val="0078D7"/>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36" tIns="140509" rIns="175636" bIns="140509" numCol="1" spcCol="0" rtlCol="0" fromWordArt="0" anchor="t" anchorCtr="0" forceAA="0" compatLnSpc="1">
            <a:prstTxWarp prst="textNoShape">
              <a:avLst/>
            </a:prstTxWarp>
            <a:noAutofit/>
          </a:bodyPr>
          <a:lstStyle/>
          <a:p>
            <a:pPr algn="ctr" defTabSz="895235" fontAlgn="base">
              <a:spcBef>
                <a:spcPct val="0"/>
              </a:spcBef>
              <a:spcAft>
                <a:spcPct val="0"/>
              </a:spcAft>
              <a:defRPr/>
            </a:pPr>
            <a:endParaRPr lang="en-US" sz="1960">
              <a:solidFill>
                <a:schemeClr val="tx1"/>
              </a:solidFill>
              <a:latin typeface="Segoe UI"/>
              <a:ea typeface="Segoe UI" pitchFamily="34" charset="0"/>
              <a:cs typeface="Segoe UI" pitchFamily="34" charset="0"/>
            </a:endParaRPr>
          </a:p>
        </p:txBody>
      </p:sp>
      <p:sp>
        <p:nvSpPr>
          <p:cNvPr id="286" name="Stopwatch_E916">
            <a:extLst>
              <a:ext uri="{FF2B5EF4-FFF2-40B4-BE49-F238E27FC236}">
                <a16:creationId xmlns:a16="http://schemas.microsoft.com/office/drawing/2014/main" id="{1BFDD64A-B959-4ED2-9F87-93257AA0FA8F}"/>
              </a:ext>
              <a:ext uri="{C183D7F6-B498-43B3-948B-1728B52AA6E4}">
                <adec:decorative xmlns:adec="http://schemas.microsoft.com/office/drawing/2017/decorative" val="1"/>
              </a:ext>
            </a:extLst>
          </p:cNvPr>
          <p:cNvSpPr>
            <a:spLocks noChangeAspect="1" noEditPoints="1"/>
          </p:cNvSpPr>
          <p:nvPr/>
        </p:nvSpPr>
        <p:spPr bwMode="auto">
          <a:xfrm>
            <a:off x="6386847" y="5192507"/>
            <a:ext cx="135176" cy="152317"/>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6350" cap="sq">
            <a:solidFill>
              <a:srgbClr val="0078D7"/>
            </a:solidFill>
            <a:prstDash val="solid"/>
            <a:miter lim="800000"/>
            <a:headEnd/>
            <a:tailEnd/>
          </a:ln>
        </p:spPr>
        <p:txBody>
          <a:bodyPr vert="horz" wrap="square" lIns="89591" tIns="44795" rIns="89591" bIns="44795" numCol="1" anchor="t" anchorCtr="0" compatLnSpc="1">
            <a:prstTxWarp prst="textNoShape">
              <a:avLst/>
            </a:prstTxWarp>
          </a:bodyPr>
          <a:lstStyle/>
          <a:p>
            <a:pPr defTabSz="913791">
              <a:defRPr/>
            </a:pPr>
            <a:endParaRPr lang="en-US" sz="1960">
              <a:latin typeface="Segoe UI Semibold"/>
            </a:endParaRPr>
          </a:p>
        </p:txBody>
      </p:sp>
      <p:sp>
        <p:nvSpPr>
          <p:cNvPr id="287" name="Freeform 110">
            <a:extLst>
              <a:ext uri="{FF2B5EF4-FFF2-40B4-BE49-F238E27FC236}">
                <a16:creationId xmlns:a16="http://schemas.microsoft.com/office/drawing/2014/main" id="{DAC26060-5B8B-4003-AD46-5F83C11FA94C}"/>
              </a:ext>
              <a:ext uri="{C183D7F6-B498-43B3-948B-1728B52AA6E4}">
                <adec:decorative xmlns:adec="http://schemas.microsoft.com/office/drawing/2017/decorative" val="1"/>
              </a:ext>
            </a:extLst>
          </p:cNvPr>
          <p:cNvSpPr>
            <a:spLocks noChangeAspect="1" noEditPoints="1"/>
          </p:cNvSpPr>
          <p:nvPr/>
        </p:nvSpPr>
        <p:spPr bwMode="black">
          <a:xfrm>
            <a:off x="5960634" y="5186527"/>
            <a:ext cx="87595" cy="164280"/>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rgbClr val="0078D7"/>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36" tIns="140509" rIns="175636" bIns="140509" numCol="1" spcCol="0" rtlCol="0" fromWordArt="0" anchor="t" anchorCtr="0" forceAA="0" compatLnSpc="1">
            <a:prstTxWarp prst="textNoShape">
              <a:avLst/>
            </a:prstTxWarp>
            <a:noAutofit/>
          </a:bodyPr>
          <a:lstStyle/>
          <a:p>
            <a:pPr algn="ctr" defTabSz="895235" fontAlgn="base">
              <a:spcBef>
                <a:spcPct val="0"/>
              </a:spcBef>
              <a:spcAft>
                <a:spcPct val="0"/>
              </a:spcAft>
              <a:defRPr/>
            </a:pPr>
            <a:endParaRPr lang="en-US" sz="1960">
              <a:solidFill>
                <a:schemeClr val="tx1"/>
              </a:solidFill>
              <a:latin typeface="Segoe UI"/>
              <a:ea typeface="Segoe UI" pitchFamily="34" charset="0"/>
              <a:cs typeface="Segoe UI" pitchFamily="34" charset="0"/>
            </a:endParaRPr>
          </a:p>
        </p:txBody>
      </p:sp>
      <p:pic>
        <p:nvPicPr>
          <p:cNvPr id="288" name="Graphic 287">
            <a:extLst>
              <a:ext uri="{FF2B5EF4-FFF2-40B4-BE49-F238E27FC236}">
                <a16:creationId xmlns:a16="http://schemas.microsoft.com/office/drawing/2014/main" id="{5386CCF5-7199-490C-B7C0-72F530926089}"/>
              </a:ext>
              <a:ext uri="{C183D7F6-B498-43B3-948B-1728B52AA6E4}">
                <adec:decorative xmlns:adec="http://schemas.microsoft.com/office/drawing/2017/decorative" val="1"/>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6126335" y="5184028"/>
            <a:ext cx="178252" cy="169274"/>
          </a:xfrm>
          <a:prstGeom prst="rect">
            <a:avLst/>
          </a:prstGeom>
        </p:spPr>
      </p:pic>
      <p:grpSp>
        <p:nvGrpSpPr>
          <p:cNvPr id="6" name="Group 5">
            <a:extLst>
              <a:ext uri="{FF2B5EF4-FFF2-40B4-BE49-F238E27FC236}">
                <a16:creationId xmlns:a16="http://schemas.microsoft.com/office/drawing/2014/main" id="{67CB6327-2D1A-4119-B9FA-F961CFD03001}"/>
              </a:ext>
              <a:ext uri="{C183D7F6-B498-43B3-948B-1728B52AA6E4}">
                <adec:decorative xmlns:adec="http://schemas.microsoft.com/office/drawing/2017/decorative" val="1"/>
              </a:ext>
            </a:extLst>
          </p:cNvPr>
          <p:cNvGrpSpPr/>
          <p:nvPr/>
        </p:nvGrpSpPr>
        <p:grpSpPr>
          <a:xfrm>
            <a:off x="10378319" y="2848375"/>
            <a:ext cx="1057725" cy="169274"/>
            <a:chOff x="10378319" y="2835526"/>
            <a:chExt cx="1057725" cy="169274"/>
          </a:xfrm>
        </p:grpSpPr>
        <p:sp>
          <p:nvSpPr>
            <p:cNvPr id="289" name="Stopwatch_E916" title="Icon of a stopwatch">
              <a:extLst>
                <a:ext uri="{FF2B5EF4-FFF2-40B4-BE49-F238E27FC236}">
                  <a16:creationId xmlns:a16="http://schemas.microsoft.com/office/drawing/2014/main" id="{5A2A2615-7B55-42DA-BD97-94965888A460}"/>
                </a:ext>
              </a:extLst>
            </p:cNvPr>
            <p:cNvSpPr>
              <a:spLocks noChangeAspect="1" noEditPoints="1"/>
            </p:cNvSpPr>
            <p:nvPr/>
          </p:nvSpPr>
          <p:spPr bwMode="auto">
            <a:xfrm>
              <a:off x="10807420" y="2844005"/>
              <a:ext cx="135176" cy="152317"/>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6350" cap="sq">
              <a:solidFill>
                <a:srgbClr val="0078D7"/>
              </a:solidFill>
              <a:prstDash val="solid"/>
              <a:miter lim="800000"/>
              <a:headEnd/>
              <a:tailEnd/>
            </a:ln>
          </p:spPr>
          <p:txBody>
            <a:bodyPr vert="horz" wrap="square" lIns="89591" tIns="44795" rIns="89591" bIns="44795" numCol="1" anchor="t" anchorCtr="0" compatLnSpc="1">
              <a:prstTxWarp prst="textNoShape">
                <a:avLst/>
              </a:prstTxWarp>
            </a:bodyPr>
            <a:lstStyle/>
            <a:p>
              <a:pPr defTabSz="913791">
                <a:defRPr/>
              </a:pPr>
              <a:endParaRPr lang="en-US" sz="1960">
                <a:latin typeface="Segoe UI Semibold"/>
              </a:endParaRPr>
            </a:p>
          </p:txBody>
        </p:sp>
        <p:sp>
          <p:nvSpPr>
            <p:cNvPr id="290" name="Freeform 110">
              <a:extLst>
                <a:ext uri="{FF2B5EF4-FFF2-40B4-BE49-F238E27FC236}">
                  <a16:creationId xmlns:a16="http://schemas.microsoft.com/office/drawing/2014/main" id="{489B9D01-ECE4-4BF0-A8B1-BE54E612F26C}"/>
                </a:ext>
              </a:extLst>
            </p:cNvPr>
            <p:cNvSpPr>
              <a:spLocks noChangeAspect="1" noEditPoints="1"/>
            </p:cNvSpPr>
            <p:nvPr/>
          </p:nvSpPr>
          <p:spPr bwMode="black">
            <a:xfrm>
              <a:off x="10378319" y="2838023"/>
              <a:ext cx="87595" cy="164280"/>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rgbClr val="0078D7"/>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36" tIns="140509" rIns="175636" bIns="140509" numCol="1" spcCol="0" rtlCol="0" fromWordArt="0" anchor="t" anchorCtr="0" forceAA="0" compatLnSpc="1">
              <a:prstTxWarp prst="textNoShape">
                <a:avLst/>
              </a:prstTxWarp>
              <a:noAutofit/>
            </a:bodyPr>
            <a:lstStyle/>
            <a:p>
              <a:pPr algn="ctr" defTabSz="895235" fontAlgn="base">
                <a:spcBef>
                  <a:spcPct val="0"/>
                </a:spcBef>
                <a:spcAft>
                  <a:spcPct val="0"/>
                </a:spcAft>
                <a:defRPr/>
              </a:pPr>
              <a:endParaRPr lang="en-US" sz="1960">
                <a:solidFill>
                  <a:schemeClr val="tx1"/>
                </a:solidFill>
                <a:latin typeface="Segoe UI"/>
                <a:ea typeface="Segoe UI" pitchFamily="34" charset="0"/>
                <a:cs typeface="Segoe UI" pitchFamily="34" charset="0"/>
              </a:endParaRPr>
            </a:p>
          </p:txBody>
        </p:sp>
        <p:pic>
          <p:nvPicPr>
            <p:cNvPr id="291" name="Graphic 290">
              <a:extLst>
                <a:ext uri="{FF2B5EF4-FFF2-40B4-BE49-F238E27FC236}">
                  <a16:creationId xmlns:a16="http://schemas.microsoft.com/office/drawing/2014/main" id="{26369B3A-0258-440C-9F58-D3592AE3A7B5}"/>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10547541" y="2835526"/>
              <a:ext cx="178252" cy="169274"/>
            </a:xfrm>
            <a:prstGeom prst="rect">
              <a:avLst/>
            </a:prstGeom>
          </p:spPr>
        </p:pic>
        <p:sp>
          <p:nvSpPr>
            <p:cNvPr id="292" name="Microphone_E720" title="Icon of a microphone">
              <a:extLst>
                <a:ext uri="{FF2B5EF4-FFF2-40B4-BE49-F238E27FC236}">
                  <a16:creationId xmlns:a16="http://schemas.microsoft.com/office/drawing/2014/main" id="{CCA0493C-AA26-43C4-BDC7-5C0D3DD90BE9}"/>
                </a:ext>
              </a:extLst>
            </p:cNvPr>
            <p:cNvSpPr>
              <a:spLocks noChangeAspect="1" noEditPoints="1"/>
            </p:cNvSpPr>
            <p:nvPr/>
          </p:nvSpPr>
          <p:spPr bwMode="auto">
            <a:xfrm>
              <a:off x="11024223" y="2845854"/>
              <a:ext cx="99032" cy="148619"/>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6350" cap="flat">
              <a:solidFill>
                <a:srgbClr val="0078D7"/>
              </a:solidFill>
              <a:prstDash val="solid"/>
              <a:miter/>
            </a:ln>
          </p:spPr>
          <p:txBody>
            <a:bodyPr vert="horz" wrap="square" lIns="91427" tIns="45713" rIns="91427" bIns="45713" numCol="1" anchor="t" anchorCtr="0" compatLnSpc="1">
              <a:prstTxWarp prst="textNoShape">
                <a:avLst/>
              </a:prstTxWarp>
            </a:bodyPr>
            <a:lstStyle/>
            <a:p>
              <a:endParaRPr lang="en-US"/>
            </a:p>
          </p:txBody>
        </p:sp>
        <p:grpSp>
          <p:nvGrpSpPr>
            <p:cNvPr id="293" name="Group 292">
              <a:extLst>
                <a:ext uri="{FF2B5EF4-FFF2-40B4-BE49-F238E27FC236}">
                  <a16:creationId xmlns:a16="http://schemas.microsoft.com/office/drawing/2014/main" id="{4839F1EE-0FCF-41F6-BB49-674AC18E6C69}"/>
                </a:ext>
              </a:extLst>
            </p:cNvPr>
            <p:cNvGrpSpPr/>
            <p:nvPr/>
          </p:nvGrpSpPr>
          <p:grpSpPr>
            <a:xfrm>
              <a:off x="11204882" y="2854311"/>
              <a:ext cx="231162" cy="131704"/>
              <a:chOff x="1290799" y="6111564"/>
              <a:chExt cx="231195" cy="131722"/>
            </a:xfrm>
          </p:grpSpPr>
          <p:grpSp>
            <p:nvGrpSpPr>
              <p:cNvPr id="294" name="Graphic 54" descr="Camera">
                <a:extLst>
                  <a:ext uri="{FF2B5EF4-FFF2-40B4-BE49-F238E27FC236}">
                    <a16:creationId xmlns:a16="http://schemas.microsoft.com/office/drawing/2014/main" id="{0BF6DB8F-4FEC-43C2-9EF0-6CD74F556593}"/>
                  </a:ext>
                </a:extLst>
              </p:cNvPr>
              <p:cNvGrpSpPr/>
              <p:nvPr/>
            </p:nvGrpSpPr>
            <p:grpSpPr>
              <a:xfrm>
                <a:off x="1290799" y="6111564"/>
                <a:ext cx="158841" cy="131722"/>
                <a:chOff x="1290799" y="6111564"/>
                <a:chExt cx="158841" cy="131722"/>
              </a:xfrm>
              <a:solidFill>
                <a:srgbClr val="0078D7"/>
              </a:solidFill>
            </p:grpSpPr>
            <p:sp>
              <p:nvSpPr>
                <p:cNvPr id="296" name="Freeform: Shape 295">
                  <a:extLst>
                    <a:ext uri="{FF2B5EF4-FFF2-40B4-BE49-F238E27FC236}">
                      <a16:creationId xmlns:a16="http://schemas.microsoft.com/office/drawing/2014/main" id="{FF11E0BA-B049-4777-8744-34A6AF8A0FBE}"/>
                    </a:ext>
                  </a:extLst>
                </p:cNvPr>
                <p:cNvSpPr/>
                <p:nvPr/>
              </p:nvSpPr>
              <p:spPr>
                <a:xfrm>
                  <a:off x="1290799" y="6111564"/>
                  <a:ext cx="158841" cy="131722"/>
                </a:xfrm>
                <a:custGeom>
                  <a:avLst/>
                  <a:gdLst>
                    <a:gd name="connsiteX0" fmla="*/ 149156 w 158841"/>
                    <a:gd name="connsiteY0" fmla="*/ 19371 h 131722"/>
                    <a:gd name="connsiteX1" fmla="*/ 111511 w 158841"/>
                    <a:gd name="connsiteY1" fmla="*/ 19371 h 131722"/>
                    <a:gd name="connsiteX2" fmla="*/ 99888 w 158841"/>
                    <a:gd name="connsiteY2" fmla="*/ 0 h 131722"/>
                    <a:gd name="connsiteX3" fmla="*/ 58954 w 158841"/>
                    <a:gd name="connsiteY3" fmla="*/ 0 h 131722"/>
                    <a:gd name="connsiteX4" fmla="*/ 47331 w 158841"/>
                    <a:gd name="connsiteY4" fmla="*/ 19371 h 131722"/>
                    <a:gd name="connsiteX5" fmla="*/ 9685 w 158841"/>
                    <a:gd name="connsiteY5" fmla="*/ 19371 h 131722"/>
                    <a:gd name="connsiteX6" fmla="*/ 0 w 158841"/>
                    <a:gd name="connsiteY6" fmla="*/ 29056 h 131722"/>
                    <a:gd name="connsiteX7" fmla="*/ 0 w 158841"/>
                    <a:gd name="connsiteY7" fmla="*/ 122037 h 131722"/>
                    <a:gd name="connsiteX8" fmla="*/ 9685 w 158841"/>
                    <a:gd name="connsiteY8" fmla="*/ 131722 h 131722"/>
                    <a:gd name="connsiteX9" fmla="*/ 149156 w 158841"/>
                    <a:gd name="connsiteY9" fmla="*/ 131722 h 131722"/>
                    <a:gd name="connsiteX10" fmla="*/ 158842 w 158841"/>
                    <a:gd name="connsiteY10" fmla="*/ 122037 h 131722"/>
                    <a:gd name="connsiteX11" fmla="*/ 158842 w 158841"/>
                    <a:gd name="connsiteY11" fmla="*/ 29056 h 131722"/>
                    <a:gd name="connsiteX12" fmla="*/ 149156 w 158841"/>
                    <a:gd name="connsiteY12" fmla="*/ 19371 h 131722"/>
                    <a:gd name="connsiteX13" fmla="*/ 61146 w 158841"/>
                    <a:gd name="connsiteY13" fmla="*/ 3874 h 131722"/>
                    <a:gd name="connsiteX14" fmla="*/ 97695 w 158841"/>
                    <a:gd name="connsiteY14" fmla="*/ 3874 h 131722"/>
                    <a:gd name="connsiteX15" fmla="*/ 106993 w 158841"/>
                    <a:gd name="connsiteY15" fmla="*/ 19371 h 131722"/>
                    <a:gd name="connsiteX16" fmla="*/ 51848 w 158841"/>
                    <a:gd name="connsiteY16" fmla="*/ 19371 h 131722"/>
                    <a:gd name="connsiteX17" fmla="*/ 149156 w 158841"/>
                    <a:gd name="connsiteY17" fmla="*/ 23245 h 131722"/>
                    <a:gd name="connsiteX18" fmla="*/ 154968 w 158841"/>
                    <a:gd name="connsiteY18" fmla="*/ 29056 h 131722"/>
                    <a:gd name="connsiteX19" fmla="*/ 154968 w 158841"/>
                    <a:gd name="connsiteY19" fmla="*/ 122037 h 131722"/>
                    <a:gd name="connsiteX20" fmla="*/ 149156 w 158841"/>
                    <a:gd name="connsiteY20" fmla="*/ 127848 h 131722"/>
                    <a:gd name="connsiteX21" fmla="*/ 9685 w 158841"/>
                    <a:gd name="connsiteY21" fmla="*/ 127848 h 131722"/>
                    <a:gd name="connsiteX22" fmla="*/ 3874 w 158841"/>
                    <a:gd name="connsiteY22" fmla="*/ 122037 h 131722"/>
                    <a:gd name="connsiteX23" fmla="*/ 3874 w 158841"/>
                    <a:gd name="connsiteY23" fmla="*/ 29056 h 131722"/>
                    <a:gd name="connsiteX24" fmla="*/ 9685 w 158841"/>
                    <a:gd name="connsiteY24" fmla="*/ 23245 h 13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841" h="131722">
                      <a:moveTo>
                        <a:pt x="149156" y="19371"/>
                      </a:moveTo>
                      <a:lnTo>
                        <a:pt x="111511" y="19371"/>
                      </a:lnTo>
                      <a:lnTo>
                        <a:pt x="99888" y="0"/>
                      </a:lnTo>
                      <a:lnTo>
                        <a:pt x="58954" y="0"/>
                      </a:lnTo>
                      <a:lnTo>
                        <a:pt x="47331" y="19371"/>
                      </a:lnTo>
                      <a:lnTo>
                        <a:pt x="9685" y="19371"/>
                      </a:lnTo>
                      <a:cubicBezTo>
                        <a:pt x="4339" y="19377"/>
                        <a:pt x="6" y="23710"/>
                        <a:pt x="0" y="29056"/>
                      </a:cubicBezTo>
                      <a:lnTo>
                        <a:pt x="0" y="122037"/>
                      </a:lnTo>
                      <a:cubicBezTo>
                        <a:pt x="6" y="127383"/>
                        <a:pt x="4339" y="131716"/>
                        <a:pt x="9685" y="131722"/>
                      </a:cubicBezTo>
                      <a:lnTo>
                        <a:pt x="149156" y="131722"/>
                      </a:lnTo>
                      <a:cubicBezTo>
                        <a:pt x="154503" y="131716"/>
                        <a:pt x="158835" y="127383"/>
                        <a:pt x="158842" y="122037"/>
                      </a:cubicBezTo>
                      <a:lnTo>
                        <a:pt x="158842" y="29056"/>
                      </a:lnTo>
                      <a:cubicBezTo>
                        <a:pt x="158835" y="23710"/>
                        <a:pt x="154503" y="19377"/>
                        <a:pt x="149156" y="19371"/>
                      </a:cubicBezTo>
                      <a:close/>
                      <a:moveTo>
                        <a:pt x="61146" y="3874"/>
                      </a:moveTo>
                      <a:lnTo>
                        <a:pt x="97695" y="3874"/>
                      </a:lnTo>
                      <a:lnTo>
                        <a:pt x="106993" y="19371"/>
                      </a:lnTo>
                      <a:lnTo>
                        <a:pt x="51848" y="19371"/>
                      </a:lnTo>
                      <a:close/>
                      <a:moveTo>
                        <a:pt x="149156" y="23245"/>
                      </a:moveTo>
                      <a:cubicBezTo>
                        <a:pt x="152366" y="23245"/>
                        <a:pt x="154968" y="25847"/>
                        <a:pt x="154968" y="29056"/>
                      </a:cubicBezTo>
                      <a:lnTo>
                        <a:pt x="154968" y="122037"/>
                      </a:lnTo>
                      <a:cubicBezTo>
                        <a:pt x="154968" y="125246"/>
                        <a:pt x="152366" y="127848"/>
                        <a:pt x="149156" y="127848"/>
                      </a:cubicBezTo>
                      <a:lnTo>
                        <a:pt x="9685" y="127848"/>
                      </a:lnTo>
                      <a:cubicBezTo>
                        <a:pt x="6476" y="127848"/>
                        <a:pt x="3874" y="125246"/>
                        <a:pt x="3874" y="122037"/>
                      </a:cubicBezTo>
                      <a:lnTo>
                        <a:pt x="3874" y="29056"/>
                      </a:lnTo>
                      <a:cubicBezTo>
                        <a:pt x="3874" y="25847"/>
                        <a:pt x="6476" y="23245"/>
                        <a:pt x="9685" y="23245"/>
                      </a:cubicBezTo>
                      <a:close/>
                    </a:path>
                  </a:pathLst>
                </a:custGeom>
                <a:solidFill>
                  <a:srgbClr val="0078D7"/>
                </a:solidFill>
                <a:ln w="1885" cap="flat">
                  <a:solidFill>
                    <a:srgbClr val="0078D7"/>
                  </a:solidFill>
                  <a:prstDash val="solid"/>
                  <a:miter/>
                </a:ln>
              </p:spPr>
              <p:txBody>
                <a:bodyPr rtlCol="0" anchor="ctr"/>
                <a:lstStyle/>
                <a:p>
                  <a:endParaRPr lang="en-US"/>
                </a:p>
              </p:txBody>
            </p:sp>
            <p:sp>
              <p:nvSpPr>
                <p:cNvPr id="297" name="Freeform: Shape 296">
                  <a:extLst>
                    <a:ext uri="{FF2B5EF4-FFF2-40B4-BE49-F238E27FC236}">
                      <a16:creationId xmlns:a16="http://schemas.microsoft.com/office/drawing/2014/main" id="{EA353745-A27C-4C87-AE83-3812FBA5FCEE}"/>
                    </a:ext>
                  </a:extLst>
                </p:cNvPr>
                <p:cNvSpPr/>
                <p:nvPr/>
              </p:nvSpPr>
              <p:spPr>
                <a:xfrm>
                  <a:off x="1306296" y="6146432"/>
                  <a:ext cx="25182" cy="17433"/>
                </a:xfrm>
                <a:custGeom>
                  <a:avLst/>
                  <a:gdLst>
                    <a:gd name="connsiteX0" fmla="*/ 0 w 25182"/>
                    <a:gd name="connsiteY0" fmla="*/ 17434 h 17433"/>
                    <a:gd name="connsiteX1" fmla="*/ 25182 w 25182"/>
                    <a:gd name="connsiteY1" fmla="*/ 17434 h 17433"/>
                    <a:gd name="connsiteX2" fmla="*/ 25182 w 25182"/>
                    <a:gd name="connsiteY2" fmla="*/ 0 h 17433"/>
                    <a:gd name="connsiteX3" fmla="*/ 0 w 25182"/>
                    <a:gd name="connsiteY3" fmla="*/ 0 h 17433"/>
                    <a:gd name="connsiteX4" fmla="*/ 3874 w 25182"/>
                    <a:gd name="connsiteY4" fmla="*/ 3874 h 17433"/>
                    <a:gd name="connsiteX5" fmla="*/ 21308 w 25182"/>
                    <a:gd name="connsiteY5" fmla="*/ 3874 h 17433"/>
                    <a:gd name="connsiteX6" fmla="*/ 21308 w 25182"/>
                    <a:gd name="connsiteY6" fmla="*/ 13560 h 17433"/>
                    <a:gd name="connsiteX7" fmla="*/ 3874 w 25182"/>
                    <a:gd name="connsiteY7" fmla="*/ 13560 h 17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17433">
                      <a:moveTo>
                        <a:pt x="0" y="17434"/>
                      </a:moveTo>
                      <a:lnTo>
                        <a:pt x="25182" y="17434"/>
                      </a:lnTo>
                      <a:lnTo>
                        <a:pt x="25182" y="0"/>
                      </a:lnTo>
                      <a:lnTo>
                        <a:pt x="0" y="0"/>
                      </a:lnTo>
                      <a:close/>
                      <a:moveTo>
                        <a:pt x="3874" y="3874"/>
                      </a:moveTo>
                      <a:lnTo>
                        <a:pt x="21308" y="3874"/>
                      </a:lnTo>
                      <a:lnTo>
                        <a:pt x="21308" y="13560"/>
                      </a:lnTo>
                      <a:lnTo>
                        <a:pt x="3874" y="13560"/>
                      </a:lnTo>
                      <a:close/>
                    </a:path>
                  </a:pathLst>
                </a:custGeom>
                <a:solidFill>
                  <a:srgbClr val="0078D7"/>
                </a:solidFill>
                <a:ln w="1885" cap="flat">
                  <a:solidFill>
                    <a:srgbClr val="0078D7"/>
                  </a:solidFill>
                  <a:prstDash val="solid"/>
                  <a:miter/>
                </a:ln>
              </p:spPr>
              <p:txBody>
                <a:bodyPr rtlCol="0" anchor="ctr"/>
                <a:lstStyle/>
                <a:p>
                  <a:endParaRPr lang="en-US"/>
                </a:p>
              </p:txBody>
            </p:sp>
            <p:sp>
              <p:nvSpPr>
                <p:cNvPr id="298" name="Freeform: Shape 297">
                  <a:extLst>
                    <a:ext uri="{FF2B5EF4-FFF2-40B4-BE49-F238E27FC236}">
                      <a16:creationId xmlns:a16="http://schemas.microsoft.com/office/drawing/2014/main" id="{9CC0205F-B328-4728-BE67-2D1EB9FE97CD}"/>
                    </a:ext>
                  </a:extLst>
                </p:cNvPr>
                <p:cNvSpPr/>
                <p:nvPr/>
              </p:nvSpPr>
              <p:spPr>
                <a:xfrm>
                  <a:off x="1335352" y="6156117"/>
                  <a:ext cx="69735" cy="69735"/>
                </a:xfrm>
                <a:custGeom>
                  <a:avLst/>
                  <a:gdLst>
                    <a:gd name="connsiteX0" fmla="*/ 34868 w 69735"/>
                    <a:gd name="connsiteY0" fmla="*/ 0 h 69735"/>
                    <a:gd name="connsiteX1" fmla="*/ 0 w 69735"/>
                    <a:gd name="connsiteY1" fmla="*/ 34868 h 69735"/>
                    <a:gd name="connsiteX2" fmla="*/ 34868 w 69735"/>
                    <a:gd name="connsiteY2" fmla="*/ 69735 h 69735"/>
                    <a:gd name="connsiteX3" fmla="*/ 69735 w 69735"/>
                    <a:gd name="connsiteY3" fmla="*/ 34868 h 69735"/>
                    <a:gd name="connsiteX4" fmla="*/ 34868 w 69735"/>
                    <a:gd name="connsiteY4" fmla="*/ 0 h 69735"/>
                    <a:gd name="connsiteX5" fmla="*/ 34868 w 69735"/>
                    <a:gd name="connsiteY5" fmla="*/ 65861 h 69735"/>
                    <a:gd name="connsiteX6" fmla="*/ 3874 w 69735"/>
                    <a:gd name="connsiteY6" fmla="*/ 34868 h 69735"/>
                    <a:gd name="connsiteX7" fmla="*/ 34868 w 69735"/>
                    <a:gd name="connsiteY7" fmla="*/ 3874 h 69735"/>
                    <a:gd name="connsiteX8" fmla="*/ 65861 w 69735"/>
                    <a:gd name="connsiteY8" fmla="*/ 34868 h 69735"/>
                    <a:gd name="connsiteX9" fmla="*/ 34868 w 69735"/>
                    <a:gd name="connsiteY9" fmla="*/ 65861 h 69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735" h="69735">
                      <a:moveTo>
                        <a:pt x="34868" y="0"/>
                      </a:moveTo>
                      <a:cubicBezTo>
                        <a:pt x="15611" y="0"/>
                        <a:pt x="0" y="15611"/>
                        <a:pt x="0" y="34868"/>
                      </a:cubicBezTo>
                      <a:cubicBezTo>
                        <a:pt x="0" y="54125"/>
                        <a:pt x="15611" y="69735"/>
                        <a:pt x="34868" y="69735"/>
                      </a:cubicBezTo>
                      <a:cubicBezTo>
                        <a:pt x="54125" y="69735"/>
                        <a:pt x="69735" y="54125"/>
                        <a:pt x="69735" y="34868"/>
                      </a:cubicBezTo>
                      <a:cubicBezTo>
                        <a:pt x="69713" y="15620"/>
                        <a:pt x="54115" y="22"/>
                        <a:pt x="34868" y="0"/>
                      </a:cubicBezTo>
                      <a:close/>
                      <a:moveTo>
                        <a:pt x="34868" y="65861"/>
                      </a:moveTo>
                      <a:cubicBezTo>
                        <a:pt x="17750" y="65861"/>
                        <a:pt x="3874" y="51985"/>
                        <a:pt x="3874" y="34868"/>
                      </a:cubicBezTo>
                      <a:cubicBezTo>
                        <a:pt x="3874" y="17750"/>
                        <a:pt x="17750" y="3874"/>
                        <a:pt x="34868" y="3874"/>
                      </a:cubicBezTo>
                      <a:cubicBezTo>
                        <a:pt x="51985" y="3874"/>
                        <a:pt x="65861" y="17750"/>
                        <a:pt x="65861" y="34868"/>
                      </a:cubicBezTo>
                      <a:cubicBezTo>
                        <a:pt x="65841" y="51976"/>
                        <a:pt x="51976" y="65841"/>
                        <a:pt x="34868" y="65861"/>
                      </a:cubicBezTo>
                      <a:close/>
                    </a:path>
                  </a:pathLst>
                </a:custGeom>
                <a:solidFill>
                  <a:srgbClr val="0078D7"/>
                </a:solidFill>
                <a:ln w="1885" cap="flat">
                  <a:solidFill>
                    <a:srgbClr val="0078D7"/>
                  </a:solidFill>
                  <a:prstDash val="solid"/>
                  <a:miter/>
                </a:ln>
              </p:spPr>
              <p:txBody>
                <a:bodyPr rtlCol="0" anchor="ctr"/>
                <a:lstStyle/>
                <a:p>
                  <a:endParaRPr lang="en-US"/>
                </a:p>
              </p:txBody>
            </p:sp>
          </p:grpSp>
          <p:sp>
            <p:nvSpPr>
              <p:cNvPr id="295" name="Rectangle 294">
                <a:extLst>
                  <a:ext uri="{FF2B5EF4-FFF2-40B4-BE49-F238E27FC236}">
                    <a16:creationId xmlns:a16="http://schemas.microsoft.com/office/drawing/2014/main" id="{F7008567-8126-4CE4-A47C-790C131E0C19}"/>
                  </a:ext>
                </a:extLst>
              </p:cNvPr>
              <p:cNvSpPr/>
              <p:nvPr/>
            </p:nvSpPr>
            <p:spPr bwMode="auto">
              <a:xfrm>
                <a:off x="1422947" y="6157764"/>
                <a:ext cx="99047" cy="56180"/>
              </a:xfrm>
              <a:prstGeom prst="rect">
                <a:avLst/>
              </a:prstGeom>
              <a:solidFill>
                <a:schemeClr val="bg1"/>
              </a:solidFill>
              <a:ln w="63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400" b="1">
                    <a:solidFill>
                      <a:schemeClr val="tx2"/>
                    </a:solidFill>
                    <a:latin typeface="Segoe UI Black" panose="020B0A02040204020203" pitchFamily="34" charset="0"/>
                    <a:ea typeface="Segoe UI Black" panose="020B0A02040204020203" pitchFamily="34" charset="0"/>
                    <a:cs typeface="Segoe UI" pitchFamily="34" charset="0"/>
                  </a:rPr>
                  <a:t>HD</a:t>
                </a:r>
              </a:p>
            </p:txBody>
          </p:sp>
        </p:grpSp>
      </p:grpSp>
      <p:grpSp>
        <p:nvGrpSpPr>
          <p:cNvPr id="5" name="Group 4">
            <a:extLst>
              <a:ext uri="{FF2B5EF4-FFF2-40B4-BE49-F238E27FC236}">
                <a16:creationId xmlns:a16="http://schemas.microsoft.com/office/drawing/2014/main" id="{99931764-1CB4-48D0-9EF9-3F45E3E36972}"/>
              </a:ext>
              <a:ext uri="{C183D7F6-B498-43B3-948B-1728B52AA6E4}">
                <adec:decorative xmlns:adec="http://schemas.microsoft.com/office/drawing/2017/decorative" val="1"/>
              </a:ext>
            </a:extLst>
          </p:cNvPr>
          <p:cNvGrpSpPr/>
          <p:nvPr/>
        </p:nvGrpSpPr>
        <p:grpSpPr>
          <a:xfrm>
            <a:off x="1041352" y="2848375"/>
            <a:ext cx="1020590" cy="190839"/>
            <a:chOff x="1041352" y="2842413"/>
            <a:chExt cx="1020590" cy="190839"/>
          </a:xfrm>
        </p:grpSpPr>
        <p:grpSp>
          <p:nvGrpSpPr>
            <p:cNvPr id="279" name="Group 278">
              <a:extLst>
                <a:ext uri="{FF2B5EF4-FFF2-40B4-BE49-F238E27FC236}">
                  <a16:creationId xmlns:a16="http://schemas.microsoft.com/office/drawing/2014/main" id="{9B21DA04-4960-49D9-9F55-F6492DCDC6DD}"/>
                </a:ext>
              </a:extLst>
            </p:cNvPr>
            <p:cNvGrpSpPr/>
            <p:nvPr/>
          </p:nvGrpSpPr>
          <p:grpSpPr>
            <a:xfrm>
              <a:off x="1906120" y="2859923"/>
              <a:ext cx="155822" cy="155818"/>
              <a:chOff x="3398698" y="3484566"/>
              <a:chExt cx="590092" cy="571501"/>
            </a:xfrm>
            <a:solidFill>
              <a:srgbClr val="0078D7"/>
            </a:solidFill>
          </p:grpSpPr>
          <p:sp>
            <p:nvSpPr>
              <p:cNvPr id="280" name="Freeform 127">
                <a:extLst>
                  <a:ext uri="{FF2B5EF4-FFF2-40B4-BE49-F238E27FC236}">
                    <a16:creationId xmlns:a16="http://schemas.microsoft.com/office/drawing/2014/main" id="{184D899E-E059-4920-8C02-32DF496F4C7E}"/>
                  </a:ext>
                </a:extLst>
              </p:cNvPr>
              <p:cNvSpPr>
                <a:spLocks noChangeArrowheads="1"/>
              </p:cNvSpPr>
              <p:nvPr/>
            </p:nvSpPr>
            <p:spPr bwMode="auto">
              <a:xfrm>
                <a:off x="3605636" y="3484566"/>
                <a:ext cx="298450" cy="571501"/>
              </a:xfrm>
              <a:custGeom>
                <a:avLst/>
                <a:gdLst>
                  <a:gd name="T0" fmla="*/ 257 w 828"/>
                  <a:gd name="T1" fmla="*/ 1396 h 1586"/>
                  <a:gd name="T2" fmla="*/ 263 w 828"/>
                  <a:gd name="T3" fmla="*/ 1388 h 1586"/>
                  <a:gd name="T4" fmla="*/ 791 w 828"/>
                  <a:gd name="T5" fmla="*/ 251 h 1586"/>
                  <a:gd name="T6" fmla="*/ 793 w 828"/>
                  <a:gd name="T7" fmla="*/ 192 h 1586"/>
                  <a:gd name="T8" fmla="*/ 799 w 828"/>
                  <a:gd name="T9" fmla="*/ 178 h 1586"/>
                  <a:gd name="T10" fmla="*/ 743 w 828"/>
                  <a:gd name="T11" fmla="*/ 26 h 1586"/>
                  <a:gd name="T12" fmla="*/ 590 w 828"/>
                  <a:gd name="T13" fmla="*/ 79 h 1586"/>
                  <a:gd name="T14" fmla="*/ 435 w 828"/>
                  <a:gd name="T15" fmla="*/ 139 h 1586"/>
                  <a:gd name="T16" fmla="*/ 235 w 828"/>
                  <a:gd name="T17" fmla="*/ 567 h 1586"/>
                  <a:gd name="T18" fmla="*/ 249 w 828"/>
                  <a:gd name="T19" fmla="*/ 604 h 1586"/>
                  <a:gd name="T20" fmla="*/ 285 w 828"/>
                  <a:gd name="T21" fmla="*/ 590 h 1586"/>
                  <a:gd name="T22" fmla="*/ 486 w 828"/>
                  <a:gd name="T23" fmla="*/ 161 h 1586"/>
                  <a:gd name="T24" fmla="*/ 545 w 828"/>
                  <a:gd name="T25" fmla="*/ 124 h 1586"/>
                  <a:gd name="T26" fmla="*/ 539 w 828"/>
                  <a:gd name="T27" fmla="*/ 136 h 1586"/>
                  <a:gd name="T28" fmla="*/ 12 w 828"/>
                  <a:gd name="T29" fmla="*/ 1269 h 1586"/>
                  <a:gd name="T30" fmla="*/ 6 w 828"/>
                  <a:gd name="T31" fmla="*/ 1314 h 1586"/>
                  <a:gd name="T32" fmla="*/ 0 w 828"/>
                  <a:gd name="T33" fmla="*/ 1548 h 1586"/>
                  <a:gd name="T34" fmla="*/ 20 w 828"/>
                  <a:gd name="T35" fmla="*/ 1579 h 1586"/>
                  <a:gd name="T36" fmla="*/ 57 w 828"/>
                  <a:gd name="T37" fmla="*/ 1574 h 1586"/>
                  <a:gd name="T38" fmla="*/ 246 w 828"/>
                  <a:gd name="T39" fmla="*/ 1410 h 1586"/>
                  <a:gd name="T40" fmla="*/ 257 w 828"/>
                  <a:gd name="T41" fmla="*/ 1396 h 1586"/>
                  <a:gd name="T42" fmla="*/ 74 w 828"/>
                  <a:gd name="T43" fmla="*/ 1306 h 1586"/>
                  <a:gd name="T44" fmla="*/ 74 w 828"/>
                  <a:gd name="T45" fmla="*/ 1300 h 1586"/>
                  <a:gd name="T46" fmla="*/ 74 w 828"/>
                  <a:gd name="T47" fmla="*/ 1297 h 1586"/>
                  <a:gd name="T48" fmla="*/ 601 w 828"/>
                  <a:gd name="T49" fmla="*/ 167 h 1586"/>
                  <a:gd name="T50" fmla="*/ 610 w 828"/>
                  <a:gd name="T51" fmla="*/ 164 h 1586"/>
                  <a:gd name="T52" fmla="*/ 723 w 828"/>
                  <a:gd name="T53" fmla="*/ 215 h 1586"/>
                  <a:gd name="T54" fmla="*/ 726 w 828"/>
                  <a:gd name="T55" fmla="*/ 223 h 1586"/>
                  <a:gd name="T56" fmla="*/ 198 w 828"/>
                  <a:gd name="T57" fmla="*/ 1357 h 1586"/>
                  <a:gd name="T58" fmla="*/ 189 w 828"/>
                  <a:gd name="T59" fmla="*/ 1359 h 1586"/>
                  <a:gd name="T60" fmla="*/ 74 w 828"/>
                  <a:gd name="T61" fmla="*/ 1306 h 1586"/>
                  <a:gd name="T62" fmla="*/ 720 w 828"/>
                  <a:gd name="T63" fmla="*/ 76 h 1586"/>
                  <a:gd name="T64" fmla="*/ 751 w 828"/>
                  <a:gd name="T65" fmla="*/ 150 h 1586"/>
                  <a:gd name="T66" fmla="*/ 644 w 828"/>
                  <a:gd name="T67" fmla="*/ 99 h 1586"/>
                  <a:gd name="T68" fmla="*/ 720 w 828"/>
                  <a:gd name="T69" fmla="*/ 76 h 1586"/>
                  <a:gd name="T70" fmla="*/ 71 w 828"/>
                  <a:gd name="T71" fmla="*/ 1472 h 1586"/>
                  <a:gd name="T72" fmla="*/ 74 w 828"/>
                  <a:gd name="T73" fmla="*/ 1385 h 1586"/>
                  <a:gd name="T74" fmla="*/ 139 w 828"/>
                  <a:gd name="T75" fmla="*/ 1416 h 1586"/>
                  <a:gd name="T76" fmla="*/ 71 w 828"/>
                  <a:gd name="T77" fmla="*/ 1472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28" h="1586">
                    <a:moveTo>
                      <a:pt x="257" y="1396"/>
                    </a:moveTo>
                    <a:cubicBezTo>
                      <a:pt x="260" y="1393"/>
                      <a:pt x="260" y="1390"/>
                      <a:pt x="263" y="1388"/>
                    </a:cubicBezTo>
                    <a:lnTo>
                      <a:pt x="791" y="251"/>
                    </a:lnTo>
                    <a:cubicBezTo>
                      <a:pt x="799" y="232"/>
                      <a:pt x="799" y="212"/>
                      <a:pt x="793" y="192"/>
                    </a:cubicBezTo>
                    <a:lnTo>
                      <a:pt x="799" y="178"/>
                    </a:lnTo>
                    <a:cubicBezTo>
                      <a:pt x="827" y="122"/>
                      <a:pt x="802" y="51"/>
                      <a:pt x="743" y="26"/>
                    </a:cubicBezTo>
                    <a:cubicBezTo>
                      <a:pt x="686" y="0"/>
                      <a:pt x="618" y="23"/>
                      <a:pt x="590" y="79"/>
                    </a:cubicBezTo>
                    <a:cubicBezTo>
                      <a:pt x="531" y="54"/>
                      <a:pt x="460" y="79"/>
                      <a:pt x="435" y="139"/>
                    </a:cubicBezTo>
                    <a:lnTo>
                      <a:pt x="235" y="567"/>
                    </a:lnTo>
                    <a:cubicBezTo>
                      <a:pt x="229" y="582"/>
                      <a:pt x="235" y="598"/>
                      <a:pt x="249" y="604"/>
                    </a:cubicBezTo>
                    <a:cubicBezTo>
                      <a:pt x="263" y="609"/>
                      <a:pt x="280" y="604"/>
                      <a:pt x="285" y="590"/>
                    </a:cubicBezTo>
                    <a:lnTo>
                      <a:pt x="486" y="161"/>
                    </a:lnTo>
                    <a:cubicBezTo>
                      <a:pt x="497" y="139"/>
                      <a:pt x="522" y="124"/>
                      <a:pt x="545" y="124"/>
                    </a:cubicBezTo>
                    <a:cubicBezTo>
                      <a:pt x="542" y="127"/>
                      <a:pt x="539" y="130"/>
                      <a:pt x="539" y="136"/>
                    </a:cubicBezTo>
                    <a:lnTo>
                      <a:pt x="12" y="1269"/>
                    </a:lnTo>
                    <a:cubicBezTo>
                      <a:pt x="6" y="1283"/>
                      <a:pt x="3" y="1300"/>
                      <a:pt x="6" y="1314"/>
                    </a:cubicBezTo>
                    <a:lnTo>
                      <a:pt x="0" y="1548"/>
                    </a:lnTo>
                    <a:cubicBezTo>
                      <a:pt x="0" y="1563"/>
                      <a:pt x="9" y="1574"/>
                      <a:pt x="20" y="1579"/>
                    </a:cubicBezTo>
                    <a:cubicBezTo>
                      <a:pt x="31" y="1585"/>
                      <a:pt x="48" y="1582"/>
                      <a:pt x="57" y="1574"/>
                    </a:cubicBezTo>
                    <a:lnTo>
                      <a:pt x="246" y="1410"/>
                    </a:lnTo>
                    <a:cubicBezTo>
                      <a:pt x="252" y="1407"/>
                      <a:pt x="254" y="1402"/>
                      <a:pt x="257" y="1396"/>
                    </a:cubicBezTo>
                    <a:close/>
                    <a:moveTo>
                      <a:pt x="74" y="1306"/>
                    </a:moveTo>
                    <a:lnTo>
                      <a:pt x="74" y="1300"/>
                    </a:lnTo>
                    <a:cubicBezTo>
                      <a:pt x="74" y="1300"/>
                      <a:pt x="74" y="1300"/>
                      <a:pt x="74" y="1297"/>
                    </a:cubicBezTo>
                    <a:lnTo>
                      <a:pt x="601" y="167"/>
                    </a:lnTo>
                    <a:cubicBezTo>
                      <a:pt x="604" y="164"/>
                      <a:pt x="607" y="161"/>
                      <a:pt x="610" y="164"/>
                    </a:cubicBezTo>
                    <a:lnTo>
                      <a:pt x="723" y="215"/>
                    </a:lnTo>
                    <a:cubicBezTo>
                      <a:pt x="726" y="218"/>
                      <a:pt x="728" y="220"/>
                      <a:pt x="726" y="223"/>
                    </a:cubicBezTo>
                    <a:lnTo>
                      <a:pt x="198" y="1357"/>
                    </a:lnTo>
                    <a:cubicBezTo>
                      <a:pt x="195" y="1359"/>
                      <a:pt x="192" y="1362"/>
                      <a:pt x="189" y="1359"/>
                    </a:cubicBezTo>
                    <a:lnTo>
                      <a:pt x="74" y="1306"/>
                    </a:lnTo>
                    <a:close/>
                    <a:moveTo>
                      <a:pt x="720" y="76"/>
                    </a:moveTo>
                    <a:cubicBezTo>
                      <a:pt x="748" y="91"/>
                      <a:pt x="760" y="122"/>
                      <a:pt x="751" y="150"/>
                    </a:cubicBezTo>
                    <a:lnTo>
                      <a:pt x="644" y="99"/>
                    </a:lnTo>
                    <a:cubicBezTo>
                      <a:pt x="658" y="74"/>
                      <a:pt x="692" y="65"/>
                      <a:pt x="720" y="76"/>
                    </a:cubicBezTo>
                    <a:close/>
                    <a:moveTo>
                      <a:pt x="71" y="1472"/>
                    </a:moveTo>
                    <a:lnTo>
                      <a:pt x="74" y="1385"/>
                    </a:lnTo>
                    <a:lnTo>
                      <a:pt x="139" y="1416"/>
                    </a:lnTo>
                    <a:lnTo>
                      <a:pt x="71" y="1472"/>
                    </a:lnTo>
                    <a:close/>
                  </a:path>
                </a:pathLst>
              </a:custGeom>
              <a:solidFill>
                <a:srgbClr val="0078D7"/>
              </a:solidFill>
              <a:ln w="3175">
                <a:noFill/>
              </a:ln>
              <a:effectLst/>
            </p:spPr>
            <p:txBody>
              <a:bodyPr wrap="none" anchor="ctr"/>
              <a:lstStyle/>
              <a:p>
                <a:pPr algn="ctr" defTabSz="895526">
                  <a:defRPr/>
                </a:pPr>
                <a:endParaRPr lang="en-US" sz="2353" u="sng" kern="0">
                  <a:latin typeface="+mj-lt"/>
                </a:endParaRPr>
              </a:p>
            </p:txBody>
          </p:sp>
          <p:sp>
            <p:nvSpPr>
              <p:cNvPr id="281" name="Freeform 128">
                <a:extLst>
                  <a:ext uri="{FF2B5EF4-FFF2-40B4-BE49-F238E27FC236}">
                    <a16:creationId xmlns:a16="http://schemas.microsoft.com/office/drawing/2014/main" id="{D0149FB7-C224-447A-A4C4-40F39EE971B5}"/>
                  </a:ext>
                </a:extLst>
              </p:cNvPr>
              <p:cNvSpPr>
                <a:spLocks noChangeArrowheads="1"/>
              </p:cNvSpPr>
              <p:nvPr/>
            </p:nvSpPr>
            <p:spPr bwMode="auto">
              <a:xfrm>
                <a:off x="3398698" y="3795726"/>
                <a:ext cx="257176" cy="258763"/>
              </a:xfrm>
              <a:custGeom>
                <a:avLst/>
                <a:gdLst>
                  <a:gd name="T0" fmla="*/ 432 w 715"/>
                  <a:gd name="T1" fmla="*/ 643 h 720"/>
                  <a:gd name="T2" fmla="*/ 288 w 715"/>
                  <a:gd name="T3" fmla="*/ 618 h 720"/>
                  <a:gd name="T4" fmla="*/ 149 w 715"/>
                  <a:gd name="T5" fmla="*/ 239 h 720"/>
                  <a:gd name="T6" fmla="*/ 327 w 715"/>
                  <a:gd name="T7" fmla="*/ 87 h 720"/>
                  <a:gd name="T8" fmla="*/ 657 w 715"/>
                  <a:gd name="T9" fmla="*/ 76 h 720"/>
                  <a:gd name="T10" fmla="*/ 683 w 715"/>
                  <a:gd name="T11" fmla="*/ 76 h 720"/>
                  <a:gd name="T12" fmla="*/ 714 w 715"/>
                  <a:gd name="T13" fmla="*/ 8 h 720"/>
                  <a:gd name="T14" fmla="*/ 657 w 715"/>
                  <a:gd name="T15" fmla="*/ 5 h 720"/>
                  <a:gd name="T16" fmla="*/ 305 w 715"/>
                  <a:gd name="T17" fmla="*/ 19 h 720"/>
                  <a:gd name="T18" fmla="*/ 82 w 715"/>
                  <a:gd name="T19" fmla="*/ 211 h 720"/>
                  <a:gd name="T20" fmla="*/ 254 w 715"/>
                  <a:gd name="T21" fmla="*/ 682 h 720"/>
                  <a:gd name="T22" fmla="*/ 434 w 715"/>
                  <a:gd name="T23" fmla="*/ 713 h 720"/>
                  <a:gd name="T24" fmla="*/ 465 w 715"/>
                  <a:gd name="T25" fmla="*/ 677 h 720"/>
                  <a:gd name="T26" fmla="*/ 432 w 715"/>
                  <a:gd name="T27" fmla="*/ 643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5" h="720">
                    <a:moveTo>
                      <a:pt x="432" y="643"/>
                    </a:moveTo>
                    <a:cubicBezTo>
                      <a:pt x="384" y="646"/>
                      <a:pt x="333" y="637"/>
                      <a:pt x="288" y="618"/>
                    </a:cubicBezTo>
                    <a:cubicBezTo>
                      <a:pt x="147" y="550"/>
                      <a:pt x="84" y="381"/>
                      <a:pt x="149" y="239"/>
                    </a:cubicBezTo>
                    <a:cubicBezTo>
                      <a:pt x="183" y="166"/>
                      <a:pt x="248" y="110"/>
                      <a:pt x="327" y="87"/>
                    </a:cubicBezTo>
                    <a:cubicBezTo>
                      <a:pt x="353" y="79"/>
                      <a:pt x="429" y="73"/>
                      <a:pt x="657" y="76"/>
                    </a:cubicBezTo>
                    <a:lnTo>
                      <a:pt x="683" y="76"/>
                    </a:lnTo>
                    <a:lnTo>
                      <a:pt x="714" y="8"/>
                    </a:lnTo>
                    <a:lnTo>
                      <a:pt x="657" y="5"/>
                    </a:lnTo>
                    <a:cubicBezTo>
                      <a:pt x="398" y="0"/>
                      <a:pt x="333" y="11"/>
                      <a:pt x="305" y="19"/>
                    </a:cubicBezTo>
                    <a:cubicBezTo>
                      <a:pt x="206" y="48"/>
                      <a:pt x="127" y="118"/>
                      <a:pt x="82" y="211"/>
                    </a:cubicBezTo>
                    <a:cubicBezTo>
                      <a:pt x="0" y="389"/>
                      <a:pt x="76" y="601"/>
                      <a:pt x="254" y="682"/>
                    </a:cubicBezTo>
                    <a:cubicBezTo>
                      <a:pt x="310" y="708"/>
                      <a:pt x="372" y="719"/>
                      <a:pt x="434" y="713"/>
                    </a:cubicBezTo>
                    <a:cubicBezTo>
                      <a:pt x="454" y="711"/>
                      <a:pt x="468" y="694"/>
                      <a:pt x="465" y="677"/>
                    </a:cubicBezTo>
                    <a:cubicBezTo>
                      <a:pt x="468" y="654"/>
                      <a:pt x="451" y="640"/>
                      <a:pt x="432" y="643"/>
                    </a:cubicBezTo>
                  </a:path>
                </a:pathLst>
              </a:custGeom>
              <a:grpFill/>
              <a:ln w="0">
                <a:solidFill>
                  <a:schemeClr val="bg1"/>
                </a:solidFill>
              </a:ln>
              <a:effectLst/>
            </p:spPr>
            <p:txBody>
              <a:bodyPr wrap="none" anchor="ctr"/>
              <a:lstStyle/>
              <a:p>
                <a:pPr algn="ctr" defTabSz="895526">
                  <a:defRPr/>
                </a:pPr>
                <a:endParaRPr lang="en-US" sz="2353" u="sng" kern="0">
                  <a:latin typeface="+mj-lt"/>
                </a:endParaRPr>
              </a:p>
            </p:txBody>
          </p:sp>
          <p:sp>
            <p:nvSpPr>
              <p:cNvPr id="282" name="Freeform 129">
                <a:extLst>
                  <a:ext uri="{FF2B5EF4-FFF2-40B4-BE49-F238E27FC236}">
                    <a16:creationId xmlns:a16="http://schemas.microsoft.com/office/drawing/2014/main" id="{DD5F8881-42BF-4AED-9B5F-2082EA76E501}"/>
                  </a:ext>
                </a:extLst>
              </p:cNvPr>
              <p:cNvSpPr>
                <a:spLocks noChangeArrowheads="1"/>
              </p:cNvSpPr>
              <p:nvPr/>
            </p:nvSpPr>
            <p:spPr bwMode="auto">
              <a:xfrm>
                <a:off x="3791941" y="3670301"/>
                <a:ext cx="196849" cy="160338"/>
              </a:xfrm>
              <a:custGeom>
                <a:avLst/>
                <a:gdLst>
                  <a:gd name="T0" fmla="*/ 398 w 548"/>
                  <a:gd name="T1" fmla="*/ 37 h 444"/>
                  <a:gd name="T2" fmla="*/ 166 w 548"/>
                  <a:gd name="T3" fmla="*/ 74 h 444"/>
                  <a:gd name="T4" fmla="*/ 144 w 548"/>
                  <a:gd name="T5" fmla="*/ 119 h 444"/>
                  <a:gd name="T6" fmla="*/ 155 w 548"/>
                  <a:gd name="T7" fmla="*/ 136 h 444"/>
                  <a:gd name="T8" fmla="*/ 203 w 548"/>
                  <a:gd name="T9" fmla="*/ 133 h 444"/>
                  <a:gd name="T10" fmla="*/ 367 w 548"/>
                  <a:gd name="T11" fmla="*/ 99 h 444"/>
                  <a:gd name="T12" fmla="*/ 434 w 548"/>
                  <a:gd name="T13" fmla="*/ 285 h 444"/>
                  <a:gd name="T14" fmla="*/ 234 w 548"/>
                  <a:gd name="T15" fmla="*/ 369 h 444"/>
                  <a:gd name="T16" fmla="*/ 50 w 548"/>
                  <a:gd name="T17" fmla="*/ 364 h 444"/>
                  <a:gd name="T18" fmla="*/ 31 w 548"/>
                  <a:gd name="T19" fmla="*/ 364 h 444"/>
                  <a:gd name="T20" fmla="*/ 0 w 548"/>
                  <a:gd name="T21" fmla="*/ 431 h 444"/>
                  <a:gd name="T22" fmla="*/ 50 w 548"/>
                  <a:gd name="T23" fmla="*/ 434 h 444"/>
                  <a:gd name="T24" fmla="*/ 237 w 548"/>
                  <a:gd name="T25" fmla="*/ 440 h 444"/>
                  <a:gd name="T26" fmla="*/ 502 w 548"/>
                  <a:gd name="T27" fmla="*/ 317 h 444"/>
                  <a:gd name="T28" fmla="*/ 398 w 548"/>
                  <a:gd name="T29" fmla="*/ 3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8" h="444">
                    <a:moveTo>
                      <a:pt x="398" y="37"/>
                    </a:moveTo>
                    <a:cubicBezTo>
                      <a:pt x="321" y="0"/>
                      <a:pt x="228" y="17"/>
                      <a:pt x="166" y="74"/>
                    </a:cubicBezTo>
                    <a:lnTo>
                      <a:pt x="144" y="119"/>
                    </a:lnTo>
                    <a:cubicBezTo>
                      <a:pt x="146" y="125"/>
                      <a:pt x="149" y="130"/>
                      <a:pt x="155" y="136"/>
                    </a:cubicBezTo>
                    <a:cubicBezTo>
                      <a:pt x="169" y="150"/>
                      <a:pt x="192" y="147"/>
                      <a:pt x="203" y="133"/>
                    </a:cubicBezTo>
                    <a:cubicBezTo>
                      <a:pt x="242" y="88"/>
                      <a:pt x="310" y="74"/>
                      <a:pt x="367" y="99"/>
                    </a:cubicBezTo>
                    <a:cubicBezTo>
                      <a:pt x="437" y="133"/>
                      <a:pt x="468" y="215"/>
                      <a:pt x="434" y="285"/>
                    </a:cubicBezTo>
                    <a:cubicBezTo>
                      <a:pt x="400" y="358"/>
                      <a:pt x="307" y="369"/>
                      <a:pt x="234" y="369"/>
                    </a:cubicBezTo>
                    <a:cubicBezTo>
                      <a:pt x="189" y="369"/>
                      <a:pt x="127" y="366"/>
                      <a:pt x="50" y="364"/>
                    </a:cubicBezTo>
                    <a:lnTo>
                      <a:pt x="31" y="364"/>
                    </a:lnTo>
                    <a:lnTo>
                      <a:pt x="0" y="431"/>
                    </a:lnTo>
                    <a:lnTo>
                      <a:pt x="50" y="434"/>
                    </a:lnTo>
                    <a:cubicBezTo>
                      <a:pt x="127" y="437"/>
                      <a:pt x="192" y="440"/>
                      <a:pt x="237" y="440"/>
                    </a:cubicBezTo>
                    <a:cubicBezTo>
                      <a:pt x="369" y="443"/>
                      <a:pt x="463" y="400"/>
                      <a:pt x="502" y="317"/>
                    </a:cubicBezTo>
                    <a:cubicBezTo>
                      <a:pt x="547" y="212"/>
                      <a:pt x="502" y="88"/>
                      <a:pt x="398" y="37"/>
                    </a:cubicBezTo>
                  </a:path>
                </a:pathLst>
              </a:custGeom>
              <a:grpFill/>
              <a:ln w="0">
                <a:solidFill>
                  <a:schemeClr val="bg1"/>
                </a:solidFill>
              </a:ln>
              <a:effectLst/>
            </p:spPr>
            <p:txBody>
              <a:bodyPr wrap="none" anchor="ctr"/>
              <a:lstStyle/>
              <a:p>
                <a:pPr algn="ctr" defTabSz="895526">
                  <a:defRPr/>
                </a:pPr>
                <a:endParaRPr lang="en-US" sz="2353" u="sng" kern="0">
                  <a:latin typeface="+mj-lt"/>
                </a:endParaRPr>
              </a:p>
            </p:txBody>
          </p:sp>
        </p:grpSp>
        <p:pic>
          <p:nvPicPr>
            <p:cNvPr id="285" name="Graphic 284">
              <a:extLst>
                <a:ext uri="{FF2B5EF4-FFF2-40B4-BE49-F238E27FC236}">
                  <a16:creationId xmlns:a16="http://schemas.microsoft.com/office/drawing/2014/main" id="{6BB80C5A-60AF-49B4-A4A5-92F6BE28E829}"/>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692596" y="2842413"/>
              <a:ext cx="130118" cy="190839"/>
            </a:xfrm>
            <a:prstGeom prst="rect">
              <a:avLst/>
            </a:prstGeom>
          </p:spPr>
        </p:pic>
        <p:sp>
          <p:nvSpPr>
            <p:cNvPr id="302" name="Stopwatch_E916" title="Icon of a stopwatch">
              <a:extLst>
                <a:ext uri="{FF2B5EF4-FFF2-40B4-BE49-F238E27FC236}">
                  <a16:creationId xmlns:a16="http://schemas.microsoft.com/office/drawing/2014/main" id="{18A1BC1F-DD4F-4A29-BF71-B5BC371B7F51}"/>
                </a:ext>
              </a:extLst>
            </p:cNvPr>
            <p:cNvSpPr>
              <a:spLocks noChangeAspect="1" noEditPoints="1"/>
            </p:cNvSpPr>
            <p:nvPr/>
          </p:nvSpPr>
          <p:spPr bwMode="auto">
            <a:xfrm>
              <a:off x="1474013" y="2861674"/>
              <a:ext cx="135176" cy="152317"/>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6350" cap="sq">
              <a:solidFill>
                <a:srgbClr val="0078D7"/>
              </a:solidFill>
              <a:prstDash val="solid"/>
              <a:miter lim="800000"/>
              <a:headEnd/>
              <a:tailEnd/>
            </a:ln>
          </p:spPr>
          <p:txBody>
            <a:bodyPr vert="horz" wrap="square" lIns="89591" tIns="44795" rIns="89591" bIns="44795" numCol="1" anchor="t" anchorCtr="0" compatLnSpc="1">
              <a:prstTxWarp prst="textNoShape">
                <a:avLst/>
              </a:prstTxWarp>
            </a:bodyPr>
            <a:lstStyle/>
            <a:p>
              <a:pPr defTabSz="913791">
                <a:defRPr/>
              </a:pPr>
              <a:endParaRPr lang="en-US" sz="1960">
                <a:latin typeface="Segoe UI Semibold"/>
              </a:endParaRPr>
            </a:p>
          </p:txBody>
        </p:sp>
        <p:sp>
          <p:nvSpPr>
            <p:cNvPr id="303" name="Freeform 110">
              <a:extLst>
                <a:ext uri="{FF2B5EF4-FFF2-40B4-BE49-F238E27FC236}">
                  <a16:creationId xmlns:a16="http://schemas.microsoft.com/office/drawing/2014/main" id="{6E216959-E883-48F9-BE9D-F89152F55435}"/>
                </a:ext>
              </a:extLst>
            </p:cNvPr>
            <p:cNvSpPr>
              <a:spLocks noChangeAspect="1" noEditPoints="1"/>
            </p:cNvSpPr>
            <p:nvPr/>
          </p:nvSpPr>
          <p:spPr bwMode="black">
            <a:xfrm>
              <a:off x="1041352" y="2855692"/>
              <a:ext cx="87595" cy="164280"/>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rgbClr val="0078D7"/>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36" tIns="140509" rIns="175636" bIns="140509" numCol="1" spcCol="0" rtlCol="0" fromWordArt="0" anchor="t" anchorCtr="0" forceAA="0" compatLnSpc="1">
              <a:prstTxWarp prst="textNoShape">
                <a:avLst/>
              </a:prstTxWarp>
              <a:noAutofit/>
            </a:bodyPr>
            <a:lstStyle/>
            <a:p>
              <a:pPr algn="ctr" defTabSz="895235" fontAlgn="base">
                <a:spcBef>
                  <a:spcPct val="0"/>
                </a:spcBef>
                <a:spcAft>
                  <a:spcPct val="0"/>
                </a:spcAft>
                <a:defRPr/>
              </a:pPr>
              <a:endParaRPr lang="en-US" sz="1960">
                <a:solidFill>
                  <a:schemeClr val="tx1"/>
                </a:solidFill>
                <a:latin typeface="Segoe UI"/>
                <a:ea typeface="Segoe UI" pitchFamily="34" charset="0"/>
                <a:cs typeface="Segoe UI" pitchFamily="34" charset="0"/>
              </a:endParaRPr>
            </a:p>
          </p:txBody>
        </p:sp>
        <p:pic>
          <p:nvPicPr>
            <p:cNvPr id="304" name="Graphic 303">
              <a:extLst>
                <a:ext uri="{FF2B5EF4-FFF2-40B4-BE49-F238E27FC236}">
                  <a16:creationId xmlns:a16="http://schemas.microsoft.com/office/drawing/2014/main" id="{D2BFA50C-46A4-4AEB-8919-65AE4ECE4FDD}"/>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1212354" y="2853195"/>
              <a:ext cx="178252" cy="169274"/>
            </a:xfrm>
            <a:prstGeom prst="rect">
              <a:avLst/>
            </a:prstGeom>
          </p:spPr>
        </p:pic>
      </p:grpSp>
      <p:grpSp>
        <p:nvGrpSpPr>
          <p:cNvPr id="314" name="Graphic 305">
            <a:extLst>
              <a:ext uri="{FF2B5EF4-FFF2-40B4-BE49-F238E27FC236}">
                <a16:creationId xmlns:a16="http://schemas.microsoft.com/office/drawing/2014/main" id="{7B11E1E4-9EF9-4E09-BB9C-EAAA3C8E9F36}"/>
              </a:ext>
              <a:ext uri="{C183D7F6-B498-43B3-948B-1728B52AA6E4}">
                <adec:decorative xmlns:adec="http://schemas.microsoft.com/office/drawing/2017/decorative" val="1"/>
              </a:ext>
            </a:extLst>
          </p:cNvPr>
          <p:cNvGrpSpPr/>
          <p:nvPr/>
        </p:nvGrpSpPr>
        <p:grpSpPr>
          <a:xfrm>
            <a:off x="11201735" y="5240285"/>
            <a:ext cx="142852" cy="47312"/>
            <a:chOff x="3845953" y="3735365"/>
            <a:chExt cx="142873" cy="47319"/>
          </a:xfrm>
          <a:solidFill>
            <a:srgbClr val="0078D7"/>
          </a:solidFill>
        </p:grpSpPr>
        <p:sp>
          <p:nvSpPr>
            <p:cNvPr id="315" name="Freeform: Shape 314">
              <a:extLst>
                <a:ext uri="{FF2B5EF4-FFF2-40B4-BE49-F238E27FC236}">
                  <a16:creationId xmlns:a16="http://schemas.microsoft.com/office/drawing/2014/main" id="{C73749F3-56EC-4B90-B235-A0D69539678A}"/>
                </a:ext>
              </a:extLst>
            </p:cNvPr>
            <p:cNvSpPr/>
            <p:nvPr/>
          </p:nvSpPr>
          <p:spPr>
            <a:xfrm>
              <a:off x="3864127" y="3750853"/>
              <a:ext cx="106583" cy="16287"/>
            </a:xfrm>
            <a:custGeom>
              <a:avLst/>
              <a:gdLst>
                <a:gd name="connsiteX0" fmla="*/ 103783 w 106583"/>
                <a:gd name="connsiteY0" fmla="*/ 0 h 16287"/>
                <a:gd name="connsiteX1" fmla="*/ 106583 w 106583"/>
                <a:gd name="connsiteY1" fmla="*/ 0 h 16287"/>
                <a:gd name="connsiteX2" fmla="*/ 106583 w 106583"/>
                <a:gd name="connsiteY2" fmla="*/ 16287 h 16287"/>
                <a:gd name="connsiteX3" fmla="*/ 103783 w 106583"/>
                <a:gd name="connsiteY3" fmla="*/ 16287 h 16287"/>
                <a:gd name="connsiteX4" fmla="*/ 2800 w 106583"/>
                <a:gd name="connsiteY4" fmla="*/ 16287 h 16287"/>
                <a:gd name="connsiteX5" fmla="*/ 2800 w 106583"/>
                <a:gd name="connsiteY5" fmla="*/ 0 h 16287"/>
                <a:gd name="connsiteX6" fmla="*/ 0 w 106583"/>
                <a:gd name="connsiteY6" fmla="*/ 0 h 16287"/>
                <a:gd name="connsiteX7" fmla="*/ 2800 w 106583"/>
                <a:gd name="connsiteY7" fmla="*/ 0 h 1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583" h="16287">
                  <a:moveTo>
                    <a:pt x="103783" y="0"/>
                  </a:moveTo>
                  <a:cubicBezTo>
                    <a:pt x="105330" y="0"/>
                    <a:pt x="106583" y="0"/>
                    <a:pt x="106583" y="0"/>
                  </a:cubicBezTo>
                  <a:lnTo>
                    <a:pt x="106583" y="16287"/>
                  </a:lnTo>
                  <a:cubicBezTo>
                    <a:pt x="106583" y="16287"/>
                    <a:pt x="105330" y="16287"/>
                    <a:pt x="103783" y="16287"/>
                  </a:cubicBezTo>
                  <a:lnTo>
                    <a:pt x="2800" y="16287"/>
                  </a:lnTo>
                  <a:lnTo>
                    <a:pt x="2800" y="0"/>
                  </a:lnTo>
                  <a:cubicBezTo>
                    <a:pt x="1254" y="0"/>
                    <a:pt x="0" y="0"/>
                    <a:pt x="0" y="0"/>
                  </a:cubicBezTo>
                  <a:cubicBezTo>
                    <a:pt x="0" y="0"/>
                    <a:pt x="1254" y="0"/>
                    <a:pt x="2800" y="0"/>
                  </a:cubicBezTo>
                  <a:close/>
                </a:path>
              </a:pathLst>
            </a:custGeom>
            <a:solidFill>
              <a:srgbClr val="0078D7"/>
            </a:solidFill>
            <a:ln w="5334" cap="flat">
              <a:noFill/>
              <a:prstDash val="solid"/>
              <a:miter/>
            </a:ln>
          </p:spPr>
          <p:txBody>
            <a:bodyPr rtlCol="0" anchor="ctr"/>
            <a:lstStyle/>
            <a:p>
              <a:endParaRPr lang="en-US"/>
            </a:p>
          </p:txBody>
        </p:sp>
        <p:sp>
          <p:nvSpPr>
            <p:cNvPr id="316" name="Freeform: Shape 315">
              <a:extLst>
                <a:ext uri="{FF2B5EF4-FFF2-40B4-BE49-F238E27FC236}">
                  <a16:creationId xmlns:a16="http://schemas.microsoft.com/office/drawing/2014/main" id="{D3882F41-1F80-4327-9FC6-B238735FB132}"/>
                </a:ext>
              </a:extLst>
            </p:cNvPr>
            <p:cNvSpPr/>
            <p:nvPr/>
          </p:nvSpPr>
          <p:spPr>
            <a:xfrm>
              <a:off x="3845953" y="3735365"/>
              <a:ext cx="142873" cy="47319"/>
            </a:xfrm>
            <a:custGeom>
              <a:avLst/>
              <a:gdLst>
                <a:gd name="connsiteX0" fmla="*/ 119213 w 142873"/>
                <a:gd name="connsiteY0" fmla="*/ 0 h 47319"/>
                <a:gd name="connsiteX1" fmla="*/ 23660 w 142873"/>
                <a:gd name="connsiteY1" fmla="*/ 0 h 47319"/>
                <a:gd name="connsiteX2" fmla="*/ 0 w 142873"/>
                <a:gd name="connsiteY2" fmla="*/ 23660 h 47319"/>
                <a:gd name="connsiteX3" fmla="*/ 23660 w 142873"/>
                <a:gd name="connsiteY3" fmla="*/ 47319 h 47319"/>
                <a:gd name="connsiteX4" fmla="*/ 119213 w 142873"/>
                <a:gd name="connsiteY4" fmla="*/ 47319 h 47319"/>
                <a:gd name="connsiteX5" fmla="*/ 142873 w 142873"/>
                <a:gd name="connsiteY5" fmla="*/ 23660 h 47319"/>
                <a:gd name="connsiteX6" fmla="*/ 119213 w 142873"/>
                <a:gd name="connsiteY6" fmla="*/ 0 h 47319"/>
                <a:gd name="connsiteX7" fmla="*/ 133272 w 142873"/>
                <a:gd name="connsiteY7" fmla="*/ 28974 h 47319"/>
                <a:gd name="connsiteX8" fmla="*/ 121842 w 142873"/>
                <a:gd name="connsiteY8" fmla="*/ 40404 h 47319"/>
                <a:gd name="connsiteX9" fmla="*/ 20917 w 142873"/>
                <a:gd name="connsiteY9" fmla="*/ 40404 h 47319"/>
                <a:gd name="connsiteX10" fmla="*/ 9487 w 142873"/>
                <a:gd name="connsiteY10" fmla="*/ 28974 h 47319"/>
                <a:gd name="connsiteX11" fmla="*/ 9487 w 142873"/>
                <a:gd name="connsiteY11" fmla="*/ 18288 h 47319"/>
                <a:gd name="connsiteX12" fmla="*/ 20917 w 142873"/>
                <a:gd name="connsiteY12" fmla="*/ 6858 h 47319"/>
                <a:gd name="connsiteX13" fmla="*/ 121899 w 142873"/>
                <a:gd name="connsiteY13" fmla="*/ 6858 h 47319"/>
                <a:gd name="connsiteX14" fmla="*/ 133329 w 142873"/>
                <a:gd name="connsiteY14" fmla="*/ 18288 h 47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873" h="47319">
                  <a:moveTo>
                    <a:pt x="119213" y="0"/>
                  </a:moveTo>
                  <a:lnTo>
                    <a:pt x="23660" y="0"/>
                  </a:lnTo>
                  <a:cubicBezTo>
                    <a:pt x="10593" y="0"/>
                    <a:pt x="0" y="10593"/>
                    <a:pt x="0" y="23660"/>
                  </a:cubicBezTo>
                  <a:cubicBezTo>
                    <a:pt x="0" y="36726"/>
                    <a:pt x="10593" y="47319"/>
                    <a:pt x="23660" y="47319"/>
                  </a:cubicBezTo>
                  <a:lnTo>
                    <a:pt x="119213" y="47319"/>
                  </a:lnTo>
                  <a:cubicBezTo>
                    <a:pt x="132280" y="47319"/>
                    <a:pt x="142873" y="36726"/>
                    <a:pt x="142873" y="23660"/>
                  </a:cubicBezTo>
                  <a:cubicBezTo>
                    <a:pt x="142873" y="10593"/>
                    <a:pt x="132280" y="0"/>
                    <a:pt x="119213" y="0"/>
                  </a:cubicBezTo>
                  <a:close/>
                  <a:moveTo>
                    <a:pt x="133272" y="28974"/>
                  </a:moveTo>
                  <a:cubicBezTo>
                    <a:pt x="133272" y="35287"/>
                    <a:pt x="128155" y="40404"/>
                    <a:pt x="121842" y="40404"/>
                  </a:cubicBezTo>
                  <a:lnTo>
                    <a:pt x="20917" y="40404"/>
                  </a:lnTo>
                  <a:cubicBezTo>
                    <a:pt x="14604" y="40404"/>
                    <a:pt x="9487" y="35287"/>
                    <a:pt x="9487" y="28974"/>
                  </a:cubicBezTo>
                  <a:lnTo>
                    <a:pt x="9487" y="18288"/>
                  </a:lnTo>
                  <a:cubicBezTo>
                    <a:pt x="9487" y="11975"/>
                    <a:pt x="14604" y="6858"/>
                    <a:pt x="20917" y="6858"/>
                  </a:cubicBezTo>
                  <a:lnTo>
                    <a:pt x="121899" y="6858"/>
                  </a:lnTo>
                  <a:cubicBezTo>
                    <a:pt x="128212" y="6858"/>
                    <a:pt x="133329" y="11975"/>
                    <a:pt x="133329" y="18288"/>
                  </a:cubicBezTo>
                  <a:close/>
                </a:path>
              </a:pathLst>
            </a:custGeom>
            <a:solidFill>
              <a:srgbClr val="0078D7"/>
            </a:solidFill>
            <a:ln w="5334" cap="flat">
              <a:noFill/>
              <a:prstDash val="solid"/>
              <a:miter/>
            </a:ln>
          </p:spPr>
          <p:txBody>
            <a:bodyPr rtlCol="0" anchor="ctr"/>
            <a:lstStyle/>
            <a:p>
              <a:endParaRPr lang="en-US"/>
            </a:p>
          </p:txBody>
        </p:sp>
      </p:grpSp>
      <p:sp>
        <p:nvSpPr>
          <p:cNvPr id="318" name="Stopwatch_E916">
            <a:extLst>
              <a:ext uri="{FF2B5EF4-FFF2-40B4-BE49-F238E27FC236}">
                <a16:creationId xmlns:a16="http://schemas.microsoft.com/office/drawing/2014/main" id="{410A49F0-54D1-4551-9DAE-3298643C6BB6}"/>
              </a:ext>
              <a:ext uri="{C183D7F6-B498-43B3-948B-1728B52AA6E4}">
                <adec:decorative xmlns:adec="http://schemas.microsoft.com/office/drawing/2017/decorative" val="1"/>
              </a:ext>
            </a:extLst>
          </p:cNvPr>
          <p:cNvSpPr>
            <a:spLocks noChangeAspect="1" noEditPoints="1"/>
          </p:cNvSpPr>
          <p:nvPr/>
        </p:nvSpPr>
        <p:spPr bwMode="auto">
          <a:xfrm>
            <a:off x="1137569" y="5169864"/>
            <a:ext cx="135176" cy="152317"/>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6350" cap="sq">
            <a:solidFill>
              <a:srgbClr val="0078D7"/>
            </a:solidFill>
            <a:prstDash val="solid"/>
            <a:miter lim="800000"/>
            <a:headEnd/>
            <a:tailEnd/>
          </a:ln>
        </p:spPr>
        <p:txBody>
          <a:bodyPr vert="horz" wrap="square" lIns="89591" tIns="44795" rIns="89591" bIns="44795" numCol="1" anchor="t" anchorCtr="0" compatLnSpc="1">
            <a:prstTxWarp prst="textNoShape">
              <a:avLst/>
            </a:prstTxWarp>
          </a:bodyPr>
          <a:lstStyle/>
          <a:p>
            <a:pPr defTabSz="913791">
              <a:defRPr/>
            </a:pPr>
            <a:endParaRPr lang="en-US" sz="1960">
              <a:latin typeface="Segoe UI Semibold"/>
            </a:endParaRPr>
          </a:p>
        </p:txBody>
      </p:sp>
      <p:sp>
        <p:nvSpPr>
          <p:cNvPr id="319" name="Freeform 110">
            <a:extLst>
              <a:ext uri="{FF2B5EF4-FFF2-40B4-BE49-F238E27FC236}">
                <a16:creationId xmlns:a16="http://schemas.microsoft.com/office/drawing/2014/main" id="{9AD3EE7C-03A9-45A2-9524-76FA553257BF}"/>
              </a:ext>
              <a:ext uri="{C183D7F6-B498-43B3-948B-1728B52AA6E4}">
                <adec:decorative xmlns:adec="http://schemas.microsoft.com/office/drawing/2017/decorative" val="1"/>
              </a:ext>
            </a:extLst>
          </p:cNvPr>
          <p:cNvSpPr>
            <a:spLocks noChangeAspect="1" noEditPoints="1"/>
          </p:cNvSpPr>
          <p:nvPr/>
        </p:nvSpPr>
        <p:spPr bwMode="black">
          <a:xfrm>
            <a:off x="711357" y="5169864"/>
            <a:ext cx="87595" cy="164280"/>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rgbClr val="0078D7"/>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36" tIns="140509" rIns="175636" bIns="140509" numCol="1" spcCol="0" rtlCol="0" fromWordArt="0" anchor="t" anchorCtr="0" forceAA="0" compatLnSpc="1">
            <a:prstTxWarp prst="textNoShape">
              <a:avLst/>
            </a:prstTxWarp>
            <a:noAutofit/>
          </a:bodyPr>
          <a:lstStyle/>
          <a:p>
            <a:pPr algn="ctr" defTabSz="895235" fontAlgn="base">
              <a:spcBef>
                <a:spcPct val="0"/>
              </a:spcBef>
              <a:spcAft>
                <a:spcPct val="0"/>
              </a:spcAft>
              <a:defRPr/>
            </a:pPr>
            <a:endParaRPr lang="en-US" sz="1960">
              <a:solidFill>
                <a:schemeClr val="tx1"/>
              </a:solidFill>
              <a:latin typeface="Segoe UI"/>
              <a:ea typeface="Segoe UI" pitchFamily="34" charset="0"/>
              <a:cs typeface="Segoe UI" pitchFamily="34" charset="0"/>
            </a:endParaRPr>
          </a:p>
        </p:txBody>
      </p:sp>
      <p:pic>
        <p:nvPicPr>
          <p:cNvPr id="320" name="Graphic 319">
            <a:extLst>
              <a:ext uri="{FF2B5EF4-FFF2-40B4-BE49-F238E27FC236}">
                <a16:creationId xmlns:a16="http://schemas.microsoft.com/office/drawing/2014/main" id="{03B12508-4716-4661-A66D-EE388BDC7CD2}"/>
              </a:ext>
              <a:ext uri="{C183D7F6-B498-43B3-948B-1728B52AA6E4}">
                <adec:decorative xmlns:adec="http://schemas.microsoft.com/office/drawing/2017/decorative" val="1"/>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877059" y="5169864"/>
            <a:ext cx="178252" cy="169274"/>
          </a:xfrm>
          <a:prstGeom prst="rect">
            <a:avLst/>
          </a:prstGeom>
        </p:spPr>
      </p:pic>
      <p:sp>
        <p:nvSpPr>
          <p:cNvPr id="321" name="Microphone_E720">
            <a:extLst>
              <a:ext uri="{FF2B5EF4-FFF2-40B4-BE49-F238E27FC236}">
                <a16:creationId xmlns:a16="http://schemas.microsoft.com/office/drawing/2014/main" id="{2B45C90A-5461-4ED3-B06C-CB425F1D884D}"/>
              </a:ext>
              <a:ext uri="{C183D7F6-B498-43B3-948B-1728B52AA6E4}">
                <adec:decorative xmlns:adec="http://schemas.microsoft.com/office/drawing/2017/decorative" val="1"/>
              </a:ext>
            </a:extLst>
          </p:cNvPr>
          <p:cNvSpPr>
            <a:spLocks noChangeAspect="1" noEditPoints="1"/>
          </p:cNvSpPr>
          <p:nvPr/>
        </p:nvSpPr>
        <p:spPr bwMode="auto">
          <a:xfrm>
            <a:off x="1355063" y="5169864"/>
            <a:ext cx="99032" cy="148619"/>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6350" cap="flat">
            <a:solidFill>
              <a:srgbClr val="0078D7"/>
            </a:solidFill>
            <a:prstDash val="solid"/>
            <a:miter/>
          </a:ln>
        </p:spPr>
        <p:txBody>
          <a:bodyPr vert="horz" wrap="square" lIns="91427" tIns="45713" rIns="91427" bIns="45713" numCol="1" anchor="t" anchorCtr="0" compatLnSpc="1">
            <a:prstTxWarp prst="textNoShape">
              <a:avLst/>
            </a:prstTxWarp>
          </a:bodyPr>
          <a:lstStyle/>
          <a:p>
            <a:endParaRPr lang="en-US"/>
          </a:p>
        </p:txBody>
      </p:sp>
      <p:grpSp>
        <p:nvGrpSpPr>
          <p:cNvPr id="322" name="Group 321">
            <a:extLst>
              <a:ext uri="{FF2B5EF4-FFF2-40B4-BE49-F238E27FC236}">
                <a16:creationId xmlns:a16="http://schemas.microsoft.com/office/drawing/2014/main" id="{7B7922C8-1B2B-490D-AC73-85FA3C4A754F}"/>
              </a:ext>
              <a:ext uri="{C183D7F6-B498-43B3-948B-1728B52AA6E4}">
                <adec:decorative xmlns:adec="http://schemas.microsoft.com/office/drawing/2017/decorative" val="1"/>
              </a:ext>
            </a:extLst>
          </p:cNvPr>
          <p:cNvGrpSpPr/>
          <p:nvPr/>
        </p:nvGrpSpPr>
        <p:grpSpPr>
          <a:xfrm>
            <a:off x="1537920" y="5184028"/>
            <a:ext cx="231162" cy="131704"/>
            <a:chOff x="1290799" y="6111564"/>
            <a:chExt cx="231195" cy="131722"/>
          </a:xfrm>
        </p:grpSpPr>
        <p:grpSp>
          <p:nvGrpSpPr>
            <p:cNvPr id="323" name="Graphic 54" descr="Camera">
              <a:extLst>
                <a:ext uri="{FF2B5EF4-FFF2-40B4-BE49-F238E27FC236}">
                  <a16:creationId xmlns:a16="http://schemas.microsoft.com/office/drawing/2014/main" id="{1A90E176-0D18-4E37-AD9D-C4BD84361E71}"/>
                </a:ext>
              </a:extLst>
            </p:cNvPr>
            <p:cNvGrpSpPr/>
            <p:nvPr/>
          </p:nvGrpSpPr>
          <p:grpSpPr>
            <a:xfrm>
              <a:off x="1290799" y="6111564"/>
              <a:ext cx="158841" cy="131722"/>
              <a:chOff x="1290799" y="6111564"/>
              <a:chExt cx="158841" cy="131722"/>
            </a:xfrm>
            <a:solidFill>
              <a:srgbClr val="0078D7"/>
            </a:solidFill>
          </p:grpSpPr>
          <p:sp>
            <p:nvSpPr>
              <p:cNvPr id="325" name="Freeform: Shape 324">
                <a:extLst>
                  <a:ext uri="{FF2B5EF4-FFF2-40B4-BE49-F238E27FC236}">
                    <a16:creationId xmlns:a16="http://schemas.microsoft.com/office/drawing/2014/main" id="{0441AC7B-A5EE-463F-8328-F370E8DAA5A0}"/>
                  </a:ext>
                </a:extLst>
              </p:cNvPr>
              <p:cNvSpPr/>
              <p:nvPr/>
            </p:nvSpPr>
            <p:spPr>
              <a:xfrm>
                <a:off x="1290799" y="6111564"/>
                <a:ext cx="158841" cy="131722"/>
              </a:xfrm>
              <a:custGeom>
                <a:avLst/>
                <a:gdLst>
                  <a:gd name="connsiteX0" fmla="*/ 149156 w 158841"/>
                  <a:gd name="connsiteY0" fmla="*/ 19371 h 131722"/>
                  <a:gd name="connsiteX1" fmla="*/ 111511 w 158841"/>
                  <a:gd name="connsiteY1" fmla="*/ 19371 h 131722"/>
                  <a:gd name="connsiteX2" fmla="*/ 99888 w 158841"/>
                  <a:gd name="connsiteY2" fmla="*/ 0 h 131722"/>
                  <a:gd name="connsiteX3" fmla="*/ 58954 w 158841"/>
                  <a:gd name="connsiteY3" fmla="*/ 0 h 131722"/>
                  <a:gd name="connsiteX4" fmla="*/ 47331 w 158841"/>
                  <a:gd name="connsiteY4" fmla="*/ 19371 h 131722"/>
                  <a:gd name="connsiteX5" fmla="*/ 9685 w 158841"/>
                  <a:gd name="connsiteY5" fmla="*/ 19371 h 131722"/>
                  <a:gd name="connsiteX6" fmla="*/ 0 w 158841"/>
                  <a:gd name="connsiteY6" fmla="*/ 29056 h 131722"/>
                  <a:gd name="connsiteX7" fmla="*/ 0 w 158841"/>
                  <a:gd name="connsiteY7" fmla="*/ 122037 h 131722"/>
                  <a:gd name="connsiteX8" fmla="*/ 9685 w 158841"/>
                  <a:gd name="connsiteY8" fmla="*/ 131722 h 131722"/>
                  <a:gd name="connsiteX9" fmla="*/ 149156 w 158841"/>
                  <a:gd name="connsiteY9" fmla="*/ 131722 h 131722"/>
                  <a:gd name="connsiteX10" fmla="*/ 158842 w 158841"/>
                  <a:gd name="connsiteY10" fmla="*/ 122037 h 131722"/>
                  <a:gd name="connsiteX11" fmla="*/ 158842 w 158841"/>
                  <a:gd name="connsiteY11" fmla="*/ 29056 h 131722"/>
                  <a:gd name="connsiteX12" fmla="*/ 149156 w 158841"/>
                  <a:gd name="connsiteY12" fmla="*/ 19371 h 131722"/>
                  <a:gd name="connsiteX13" fmla="*/ 61146 w 158841"/>
                  <a:gd name="connsiteY13" fmla="*/ 3874 h 131722"/>
                  <a:gd name="connsiteX14" fmla="*/ 97695 w 158841"/>
                  <a:gd name="connsiteY14" fmla="*/ 3874 h 131722"/>
                  <a:gd name="connsiteX15" fmla="*/ 106993 w 158841"/>
                  <a:gd name="connsiteY15" fmla="*/ 19371 h 131722"/>
                  <a:gd name="connsiteX16" fmla="*/ 51848 w 158841"/>
                  <a:gd name="connsiteY16" fmla="*/ 19371 h 131722"/>
                  <a:gd name="connsiteX17" fmla="*/ 149156 w 158841"/>
                  <a:gd name="connsiteY17" fmla="*/ 23245 h 131722"/>
                  <a:gd name="connsiteX18" fmla="*/ 154968 w 158841"/>
                  <a:gd name="connsiteY18" fmla="*/ 29056 h 131722"/>
                  <a:gd name="connsiteX19" fmla="*/ 154968 w 158841"/>
                  <a:gd name="connsiteY19" fmla="*/ 122037 h 131722"/>
                  <a:gd name="connsiteX20" fmla="*/ 149156 w 158841"/>
                  <a:gd name="connsiteY20" fmla="*/ 127848 h 131722"/>
                  <a:gd name="connsiteX21" fmla="*/ 9685 w 158841"/>
                  <a:gd name="connsiteY21" fmla="*/ 127848 h 131722"/>
                  <a:gd name="connsiteX22" fmla="*/ 3874 w 158841"/>
                  <a:gd name="connsiteY22" fmla="*/ 122037 h 131722"/>
                  <a:gd name="connsiteX23" fmla="*/ 3874 w 158841"/>
                  <a:gd name="connsiteY23" fmla="*/ 29056 h 131722"/>
                  <a:gd name="connsiteX24" fmla="*/ 9685 w 158841"/>
                  <a:gd name="connsiteY24" fmla="*/ 23245 h 13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841" h="131722">
                    <a:moveTo>
                      <a:pt x="149156" y="19371"/>
                    </a:moveTo>
                    <a:lnTo>
                      <a:pt x="111511" y="19371"/>
                    </a:lnTo>
                    <a:lnTo>
                      <a:pt x="99888" y="0"/>
                    </a:lnTo>
                    <a:lnTo>
                      <a:pt x="58954" y="0"/>
                    </a:lnTo>
                    <a:lnTo>
                      <a:pt x="47331" y="19371"/>
                    </a:lnTo>
                    <a:lnTo>
                      <a:pt x="9685" y="19371"/>
                    </a:lnTo>
                    <a:cubicBezTo>
                      <a:pt x="4339" y="19377"/>
                      <a:pt x="6" y="23710"/>
                      <a:pt x="0" y="29056"/>
                    </a:cubicBezTo>
                    <a:lnTo>
                      <a:pt x="0" y="122037"/>
                    </a:lnTo>
                    <a:cubicBezTo>
                      <a:pt x="6" y="127383"/>
                      <a:pt x="4339" y="131716"/>
                      <a:pt x="9685" y="131722"/>
                    </a:cubicBezTo>
                    <a:lnTo>
                      <a:pt x="149156" y="131722"/>
                    </a:lnTo>
                    <a:cubicBezTo>
                      <a:pt x="154503" y="131716"/>
                      <a:pt x="158835" y="127383"/>
                      <a:pt x="158842" y="122037"/>
                    </a:cubicBezTo>
                    <a:lnTo>
                      <a:pt x="158842" y="29056"/>
                    </a:lnTo>
                    <a:cubicBezTo>
                      <a:pt x="158835" y="23710"/>
                      <a:pt x="154503" y="19377"/>
                      <a:pt x="149156" y="19371"/>
                    </a:cubicBezTo>
                    <a:close/>
                    <a:moveTo>
                      <a:pt x="61146" y="3874"/>
                    </a:moveTo>
                    <a:lnTo>
                      <a:pt x="97695" y="3874"/>
                    </a:lnTo>
                    <a:lnTo>
                      <a:pt x="106993" y="19371"/>
                    </a:lnTo>
                    <a:lnTo>
                      <a:pt x="51848" y="19371"/>
                    </a:lnTo>
                    <a:close/>
                    <a:moveTo>
                      <a:pt x="149156" y="23245"/>
                    </a:moveTo>
                    <a:cubicBezTo>
                      <a:pt x="152366" y="23245"/>
                      <a:pt x="154968" y="25847"/>
                      <a:pt x="154968" y="29056"/>
                    </a:cubicBezTo>
                    <a:lnTo>
                      <a:pt x="154968" y="122037"/>
                    </a:lnTo>
                    <a:cubicBezTo>
                      <a:pt x="154968" y="125246"/>
                      <a:pt x="152366" y="127848"/>
                      <a:pt x="149156" y="127848"/>
                    </a:cubicBezTo>
                    <a:lnTo>
                      <a:pt x="9685" y="127848"/>
                    </a:lnTo>
                    <a:cubicBezTo>
                      <a:pt x="6476" y="127848"/>
                      <a:pt x="3874" y="125246"/>
                      <a:pt x="3874" y="122037"/>
                    </a:cubicBezTo>
                    <a:lnTo>
                      <a:pt x="3874" y="29056"/>
                    </a:lnTo>
                    <a:cubicBezTo>
                      <a:pt x="3874" y="25847"/>
                      <a:pt x="6476" y="23245"/>
                      <a:pt x="9685" y="23245"/>
                    </a:cubicBezTo>
                    <a:close/>
                  </a:path>
                </a:pathLst>
              </a:custGeom>
              <a:solidFill>
                <a:srgbClr val="0078D7"/>
              </a:solidFill>
              <a:ln w="1885" cap="flat">
                <a:solidFill>
                  <a:srgbClr val="0078D7"/>
                </a:solidFill>
                <a:prstDash val="solid"/>
                <a:miter/>
              </a:ln>
            </p:spPr>
            <p:txBody>
              <a:bodyPr rtlCol="0" anchor="ctr"/>
              <a:lstStyle/>
              <a:p>
                <a:endParaRPr lang="en-US"/>
              </a:p>
            </p:txBody>
          </p:sp>
          <p:sp>
            <p:nvSpPr>
              <p:cNvPr id="326" name="Freeform: Shape 325">
                <a:extLst>
                  <a:ext uri="{FF2B5EF4-FFF2-40B4-BE49-F238E27FC236}">
                    <a16:creationId xmlns:a16="http://schemas.microsoft.com/office/drawing/2014/main" id="{033B4E7A-B255-46B8-83E2-A97231C2CB6A}"/>
                  </a:ext>
                </a:extLst>
              </p:cNvPr>
              <p:cNvSpPr/>
              <p:nvPr/>
            </p:nvSpPr>
            <p:spPr>
              <a:xfrm>
                <a:off x="1306296" y="6146432"/>
                <a:ext cx="25182" cy="17433"/>
              </a:xfrm>
              <a:custGeom>
                <a:avLst/>
                <a:gdLst>
                  <a:gd name="connsiteX0" fmla="*/ 0 w 25182"/>
                  <a:gd name="connsiteY0" fmla="*/ 17434 h 17433"/>
                  <a:gd name="connsiteX1" fmla="*/ 25182 w 25182"/>
                  <a:gd name="connsiteY1" fmla="*/ 17434 h 17433"/>
                  <a:gd name="connsiteX2" fmla="*/ 25182 w 25182"/>
                  <a:gd name="connsiteY2" fmla="*/ 0 h 17433"/>
                  <a:gd name="connsiteX3" fmla="*/ 0 w 25182"/>
                  <a:gd name="connsiteY3" fmla="*/ 0 h 17433"/>
                  <a:gd name="connsiteX4" fmla="*/ 3874 w 25182"/>
                  <a:gd name="connsiteY4" fmla="*/ 3874 h 17433"/>
                  <a:gd name="connsiteX5" fmla="*/ 21308 w 25182"/>
                  <a:gd name="connsiteY5" fmla="*/ 3874 h 17433"/>
                  <a:gd name="connsiteX6" fmla="*/ 21308 w 25182"/>
                  <a:gd name="connsiteY6" fmla="*/ 13560 h 17433"/>
                  <a:gd name="connsiteX7" fmla="*/ 3874 w 25182"/>
                  <a:gd name="connsiteY7" fmla="*/ 13560 h 17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17433">
                    <a:moveTo>
                      <a:pt x="0" y="17434"/>
                    </a:moveTo>
                    <a:lnTo>
                      <a:pt x="25182" y="17434"/>
                    </a:lnTo>
                    <a:lnTo>
                      <a:pt x="25182" y="0"/>
                    </a:lnTo>
                    <a:lnTo>
                      <a:pt x="0" y="0"/>
                    </a:lnTo>
                    <a:close/>
                    <a:moveTo>
                      <a:pt x="3874" y="3874"/>
                    </a:moveTo>
                    <a:lnTo>
                      <a:pt x="21308" y="3874"/>
                    </a:lnTo>
                    <a:lnTo>
                      <a:pt x="21308" y="13560"/>
                    </a:lnTo>
                    <a:lnTo>
                      <a:pt x="3874" y="13560"/>
                    </a:lnTo>
                    <a:close/>
                  </a:path>
                </a:pathLst>
              </a:custGeom>
              <a:solidFill>
                <a:srgbClr val="0078D7"/>
              </a:solidFill>
              <a:ln w="1885" cap="flat">
                <a:solidFill>
                  <a:srgbClr val="0078D7"/>
                </a:solidFill>
                <a:prstDash val="solid"/>
                <a:miter/>
              </a:ln>
            </p:spPr>
            <p:txBody>
              <a:bodyPr rtlCol="0" anchor="ctr"/>
              <a:lstStyle/>
              <a:p>
                <a:endParaRPr lang="en-US"/>
              </a:p>
            </p:txBody>
          </p:sp>
          <p:sp>
            <p:nvSpPr>
              <p:cNvPr id="327" name="Freeform: Shape 326">
                <a:extLst>
                  <a:ext uri="{FF2B5EF4-FFF2-40B4-BE49-F238E27FC236}">
                    <a16:creationId xmlns:a16="http://schemas.microsoft.com/office/drawing/2014/main" id="{F2F37642-0CE1-45BB-8BE5-9EAD2022B5D2}"/>
                  </a:ext>
                </a:extLst>
              </p:cNvPr>
              <p:cNvSpPr/>
              <p:nvPr/>
            </p:nvSpPr>
            <p:spPr>
              <a:xfrm>
                <a:off x="1335352" y="6156117"/>
                <a:ext cx="69735" cy="69735"/>
              </a:xfrm>
              <a:custGeom>
                <a:avLst/>
                <a:gdLst>
                  <a:gd name="connsiteX0" fmla="*/ 34868 w 69735"/>
                  <a:gd name="connsiteY0" fmla="*/ 0 h 69735"/>
                  <a:gd name="connsiteX1" fmla="*/ 0 w 69735"/>
                  <a:gd name="connsiteY1" fmla="*/ 34868 h 69735"/>
                  <a:gd name="connsiteX2" fmla="*/ 34868 w 69735"/>
                  <a:gd name="connsiteY2" fmla="*/ 69735 h 69735"/>
                  <a:gd name="connsiteX3" fmla="*/ 69735 w 69735"/>
                  <a:gd name="connsiteY3" fmla="*/ 34868 h 69735"/>
                  <a:gd name="connsiteX4" fmla="*/ 34868 w 69735"/>
                  <a:gd name="connsiteY4" fmla="*/ 0 h 69735"/>
                  <a:gd name="connsiteX5" fmla="*/ 34868 w 69735"/>
                  <a:gd name="connsiteY5" fmla="*/ 65861 h 69735"/>
                  <a:gd name="connsiteX6" fmla="*/ 3874 w 69735"/>
                  <a:gd name="connsiteY6" fmla="*/ 34868 h 69735"/>
                  <a:gd name="connsiteX7" fmla="*/ 34868 w 69735"/>
                  <a:gd name="connsiteY7" fmla="*/ 3874 h 69735"/>
                  <a:gd name="connsiteX8" fmla="*/ 65861 w 69735"/>
                  <a:gd name="connsiteY8" fmla="*/ 34868 h 69735"/>
                  <a:gd name="connsiteX9" fmla="*/ 34868 w 69735"/>
                  <a:gd name="connsiteY9" fmla="*/ 65861 h 69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735" h="69735">
                    <a:moveTo>
                      <a:pt x="34868" y="0"/>
                    </a:moveTo>
                    <a:cubicBezTo>
                      <a:pt x="15611" y="0"/>
                      <a:pt x="0" y="15611"/>
                      <a:pt x="0" y="34868"/>
                    </a:cubicBezTo>
                    <a:cubicBezTo>
                      <a:pt x="0" y="54125"/>
                      <a:pt x="15611" y="69735"/>
                      <a:pt x="34868" y="69735"/>
                    </a:cubicBezTo>
                    <a:cubicBezTo>
                      <a:pt x="54125" y="69735"/>
                      <a:pt x="69735" y="54125"/>
                      <a:pt x="69735" y="34868"/>
                    </a:cubicBezTo>
                    <a:cubicBezTo>
                      <a:pt x="69713" y="15620"/>
                      <a:pt x="54115" y="22"/>
                      <a:pt x="34868" y="0"/>
                    </a:cubicBezTo>
                    <a:close/>
                    <a:moveTo>
                      <a:pt x="34868" y="65861"/>
                    </a:moveTo>
                    <a:cubicBezTo>
                      <a:pt x="17750" y="65861"/>
                      <a:pt x="3874" y="51985"/>
                      <a:pt x="3874" y="34868"/>
                    </a:cubicBezTo>
                    <a:cubicBezTo>
                      <a:pt x="3874" y="17750"/>
                      <a:pt x="17750" y="3874"/>
                      <a:pt x="34868" y="3874"/>
                    </a:cubicBezTo>
                    <a:cubicBezTo>
                      <a:pt x="51985" y="3874"/>
                      <a:pt x="65861" y="17750"/>
                      <a:pt x="65861" y="34868"/>
                    </a:cubicBezTo>
                    <a:cubicBezTo>
                      <a:pt x="65841" y="51976"/>
                      <a:pt x="51976" y="65841"/>
                      <a:pt x="34868" y="65861"/>
                    </a:cubicBezTo>
                    <a:close/>
                  </a:path>
                </a:pathLst>
              </a:custGeom>
              <a:solidFill>
                <a:srgbClr val="0078D7"/>
              </a:solidFill>
              <a:ln w="1885" cap="flat">
                <a:solidFill>
                  <a:srgbClr val="0078D7"/>
                </a:solidFill>
                <a:prstDash val="solid"/>
                <a:miter/>
              </a:ln>
            </p:spPr>
            <p:txBody>
              <a:bodyPr rtlCol="0" anchor="ctr"/>
              <a:lstStyle/>
              <a:p>
                <a:endParaRPr lang="en-US"/>
              </a:p>
            </p:txBody>
          </p:sp>
        </p:grpSp>
        <p:sp>
          <p:nvSpPr>
            <p:cNvPr id="324" name="Rectangle 323">
              <a:extLst>
                <a:ext uri="{FF2B5EF4-FFF2-40B4-BE49-F238E27FC236}">
                  <a16:creationId xmlns:a16="http://schemas.microsoft.com/office/drawing/2014/main" id="{23611FC3-B7B8-4C72-B679-849836FD2F5C}"/>
                </a:ext>
              </a:extLst>
            </p:cNvPr>
            <p:cNvSpPr/>
            <p:nvPr/>
          </p:nvSpPr>
          <p:spPr bwMode="auto">
            <a:xfrm>
              <a:off x="1422947" y="6157764"/>
              <a:ext cx="99047" cy="56180"/>
            </a:xfrm>
            <a:prstGeom prst="rect">
              <a:avLst/>
            </a:prstGeom>
            <a:solidFill>
              <a:schemeClr val="bg1"/>
            </a:solidFill>
            <a:ln w="63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400" b="1">
                  <a:solidFill>
                    <a:srgbClr val="0078D7"/>
                  </a:solidFill>
                  <a:latin typeface="Segoe UI Black" panose="020B0A02040204020203" pitchFamily="34" charset="0"/>
                  <a:ea typeface="Segoe UI Black" panose="020B0A02040204020203" pitchFamily="34" charset="0"/>
                  <a:cs typeface="Segoe UI" pitchFamily="34" charset="0"/>
                </a:rPr>
                <a:t>HD</a:t>
              </a:r>
            </a:p>
          </p:txBody>
        </p:sp>
      </p:grpSp>
      <p:sp>
        <p:nvSpPr>
          <p:cNvPr id="328" name="Stopwatch_E916">
            <a:extLst>
              <a:ext uri="{FF2B5EF4-FFF2-40B4-BE49-F238E27FC236}">
                <a16:creationId xmlns:a16="http://schemas.microsoft.com/office/drawing/2014/main" id="{2411457C-5754-428C-9912-C7A7AE9074CB}"/>
              </a:ext>
              <a:ext uri="{C183D7F6-B498-43B3-948B-1728B52AA6E4}">
                <adec:decorative xmlns:adec="http://schemas.microsoft.com/office/drawing/2017/decorative" val="1"/>
              </a:ext>
            </a:extLst>
          </p:cNvPr>
          <p:cNvSpPr>
            <a:spLocks noChangeAspect="1" noEditPoints="1"/>
          </p:cNvSpPr>
          <p:nvPr/>
        </p:nvSpPr>
        <p:spPr bwMode="auto">
          <a:xfrm>
            <a:off x="3427422" y="5180647"/>
            <a:ext cx="135176" cy="152317"/>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6350" cap="sq">
            <a:solidFill>
              <a:srgbClr val="0078D7"/>
            </a:solidFill>
            <a:prstDash val="solid"/>
            <a:miter lim="800000"/>
            <a:headEnd/>
            <a:tailEnd/>
          </a:ln>
        </p:spPr>
        <p:txBody>
          <a:bodyPr vert="horz" wrap="square" lIns="89591" tIns="44795" rIns="89591" bIns="44795" numCol="1" anchor="t" anchorCtr="0" compatLnSpc="1">
            <a:prstTxWarp prst="textNoShape">
              <a:avLst/>
            </a:prstTxWarp>
          </a:bodyPr>
          <a:lstStyle/>
          <a:p>
            <a:pPr defTabSz="913791">
              <a:defRPr/>
            </a:pPr>
            <a:endParaRPr lang="en-US" sz="1960">
              <a:latin typeface="Segoe UI Semibold"/>
            </a:endParaRPr>
          </a:p>
        </p:txBody>
      </p:sp>
      <p:sp>
        <p:nvSpPr>
          <p:cNvPr id="329" name="Freeform 110">
            <a:extLst>
              <a:ext uri="{FF2B5EF4-FFF2-40B4-BE49-F238E27FC236}">
                <a16:creationId xmlns:a16="http://schemas.microsoft.com/office/drawing/2014/main" id="{7EE79190-96E1-488E-88AC-9BD2615FDF8A}"/>
              </a:ext>
              <a:ext uri="{C183D7F6-B498-43B3-948B-1728B52AA6E4}">
                <adec:decorative xmlns:adec="http://schemas.microsoft.com/office/drawing/2017/decorative" val="1"/>
              </a:ext>
            </a:extLst>
          </p:cNvPr>
          <p:cNvSpPr>
            <a:spLocks noChangeAspect="1" noEditPoints="1"/>
          </p:cNvSpPr>
          <p:nvPr/>
        </p:nvSpPr>
        <p:spPr bwMode="black">
          <a:xfrm>
            <a:off x="3001210" y="5180648"/>
            <a:ext cx="87595" cy="164280"/>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rgbClr val="0078D7"/>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36" tIns="140509" rIns="175636" bIns="140509" numCol="1" spcCol="0" rtlCol="0" fromWordArt="0" anchor="t" anchorCtr="0" forceAA="0" compatLnSpc="1">
            <a:prstTxWarp prst="textNoShape">
              <a:avLst/>
            </a:prstTxWarp>
            <a:noAutofit/>
          </a:bodyPr>
          <a:lstStyle/>
          <a:p>
            <a:pPr algn="ctr" defTabSz="895235" fontAlgn="base">
              <a:spcBef>
                <a:spcPct val="0"/>
              </a:spcBef>
              <a:spcAft>
                <a:spcPct val="0"/>
              </a:spcAft>
              <a:defRPr/>
            </a:pPr>
            <a:endParaRPr lang="en-US" sz="1960">
              <a:solidFill>
                <a:schemeClr val="tx1"/>
              </a:solidFill>
              <a:latin typeface="Segoe UI"/>
              <a:ea typeface="Segoe UI" pitchFamily="34" charset="0"/>
              <a:cs typeface="Segoe UI" pitchFamily="34" charset="0"/>
            </a:endParaRPr>
          </a:p>
        </p:txBody>
      </p:sp>
      <p:pic>
        <p:nvPicPr>
          <p:cNvPr id="330" name="Graphic 329">
            <a:extLst>
              <a:ext uri="{FF2B5EF4-FFF2-40B4-BE49-F238E27FC236}">
                <a16:creationId xmlns:a16="http://schemas.microsoft.com/office/drawing/2014/main" id="{5D578378-EF16-409B-8ECD-8D2C536967F8}"/>
              </a:ext>
              <a:ext uri="{C183D7F6-B498-43B3-948B-1728B52AA6E4}">
                <adec:decorative xmlns:adec="http://schemas.microsoft.com/office/drawing/2017/decorative" val="1"/>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3166912" y="5180647"/>
            <a:ext cx="178252" cy="169274"/>
          </a:xfrm>
          <a:prstGeom prst="rect">
            <a:avLst/>
          </a:prstGeom>
        </p:spPr>
      </p:pic>
      <p:grpSp>
        <p:nvGrpSpPr>
          <p:cNvPr id="331" name="Group 330">
            <a:extLst>
              <a:ext uri="{FF2B5EF4-FFF2-40B4-BE49-F238E27FC236}">
                <a16:creationId xmlns:a16="http://schemas.microsoft.com/office/drawing/2014/main" id="{08294049-BC11-449D-BA37-82CD482AD7F0}"/>
              </a:ext>
              <a:ext uri="{C183D7F6-B498-43B3-948B-1728B52AA6E4}">
                <adec:decorative xmlns:adec="http://schemas.microsoft.com/office/drawing/2017/decorative" val="1"/>
              </a:ext>
            </a:extLst>
          </p:cNvPr>
          <p:cNvGrpSpPr/>
          <p:nvPr/>
        </p:nvGrpSpPr>
        <p:grpSpPr>
          <a:xfrm>
            <a:off x="4303236" y="5181828"/>
            <a:ext cx="155822" cy="155818"/>
            <a:chOff x="3398698" y="3484566"/>
            <a:chExt cx="590092" cy="571501"/>
          </a:xfrm>
          <a:solidFill>
            <a:srgbClr val="0078D7"/>
          </a:solidFill>
        </p:grpSpPr>
        <p:sp>
          <p:nvSpPr>
            <p:cNvPr id="332" name="Freeform 127">
              <a:extLst>
                <a:ext uri="{FF2B5EF4-FFF2-40B4-BE49-F238E27FC236}">
                  <a16:creationId xmlns:a16="http://schemas.microsoft.com/office/drawing/2014/main" id="{7DD87B1C-85CD-48C8-B7D5-77ED6EEE61F0}"/>
                </a:ext>
              </a:extLst>
            </p:cNvPr>
            <p:cNvSpPr>
              <a:spLocks noChangeArrowheads="1"/>
            </p:cNvSpPr>
            <p:nvPr/>
          </p:nvSpPr>
          <p:spPr bwMode="auto">
            <a:xfrm>
              <a:off x="3605636" y="3484566"/>
              <a:ext cx="298450" cy="571501"/>
            </a:xfrm>
            <a:custGeom>
              <a:avLst/>
              <a:gdLst>
                <a:gd name="T0" fmla="*/ 257 w 828"/>
                <a:gd name="T1" fmla="*/ 1396 h 1586"/>
                <a:gd name="T2" fmla="*/ 263 w 828"/>
                <a:gd name="T3" fmla="*/ 1388 h 1586"/>
                <a:gd name="T4" fmla="*/ 791 w 828"/>
                <a:gd name="T5" fmla="*/ 251 h 1586"/>
                <a:gd name="T6" fmla="*/ 793 w 828"/>
                <a:gd name="T7" fmla="*/ 192 h 1586"/>
                <a:gd name="T8" fmla="*/ 799 w 828"/>
                <a:gd name="T9" fmla="*/ 178 h 1586"/>
                <a:gd name="T10" fmla="*/ 743 w 828"/>
                <a:gd name="T11" fmla="*/ 26 h 1586"/>
                <a:gd name="T12" fmla="*/ 590 w 828"/>
                <a:gd name="T13" fmla="*/ 79 h 1586"/>
                <a:gd name="T14" fmla="*/ 435 w 828"/>
                <a:gd name="T15" fmla="*/ 139 h 1586"/>
                <a:gd name="T16" fmla="*/ 235 w 828"/>
                <a:gd name="T17" fmla="*/ 567 h 1586"/>
                <a:gd name="T18" fmla="*/ 249 w 828"/>
                <a:gd name="T19" fmla="*/ 604 h 1586"/>
                <a:gd name="T20" fmla="*/ 285 w 828"/>
                <a:gd name="T21" fmla="*/ 590 h 1586"/>
                <a:gd name="T22" fmla="*/ 486 w 828"/>
                <a:gd name="T23" fmla="*/ 161 h 1586"/>
                <a:gd name="T24" fmla="*/ 545 w 828"/>
                <a:gd name="T25" fmla="*/ 124 h 1586"/>
                <a:gd name="T26" fmla="*/ 539 w 828"/>
                <a:gd name="T27" fmla="*/ 136 h 1586"/>
                <a:gd name="T28" fmla="*/ 12 w 828"/>
                <a:gd name="T29" fmla="*/ 1269 h 1586"/>
                <a:gd name="T30" fmla="*/ 6 w 828"/>
                <a:gd name="T31" fmla="*/ 1314 h 1586"/>
                <a:gd name="T32" fmla="*/ 0 w 828"/>
                <a:gd name="T33" fmla="*/ 1548 h 1586"/>
                <a:gd name="T34" fmla="*/ 20 w 828"/>
                <a:gd name="T35" fmla="*/ 1579 h 1586"/>
                <a:gd name="T36" fmla="*/ 57 w 828"/>
                <a:gd name="T37" fmla="*/ 1574 h 1586"/>
                <a:gd name="T38" fmla="*/ 246 w 828"/>
                <a:gd name="T39" fmla="*/ 1410 h 1586"/>
                <a:gd name="T40" fmla="*/ 257 w 828"/>
                <a:gd name="T41" fmla="*/ 1396 h 1586"/>
                <a:gd name="T42" fmla="*/ 74 w 828"/>
                <a:gd name="T43" fmla="*/ 1306 h 1586"/>
                <a:gd name="T44" fmla="*/ 74 w 828"/>
                <a:gd name="T45" fmla="*/ 1300 h 1586"/>
                <a:gd name="T46" fmla="*/ 74 w 828"/>
                <a:gd name="T47" fmla="*/ 1297 h 1586"/>
                <a:gd name="T48" fmla="*/ 601 w 828"/>
                <a:gd name="T49" fmla="*/ 167 h 1586"/>
                <a:gd name="T50" fmla="*/ 610 w 828"/>
                <a:gd name="T51" fmla="*/ 164 h 1586"/>
                <a:gd name="T52" fmla="*/ 723 w 828"/>
                <a:gd name="T53" fmla="*/ 215 h 1586"/>
                <a:gd name="T54" fmla="*/ 726 w 828"/>
                <a:gd name="T55" fmla="*/ 223 h 1586"/>
                <a:gd name="T56" fmla="*/ 198 w 828"/>
                <a:gd name="T57" fmla="*/ 1357 h 1586"/>
                <a:gd name="T58" fmla="*/ 189 w 828"/>
                <a:gd name="T59" fmla="*/ 1359 h 1586"/>
                <a:gd name="T60" fmla="*/ 74 w 828"/>
                <a:gd name="T61" fmla="*/ 1306 h 1586"/>
                <a:gd name="T62" fmla="*/ 720 w 828"/>
                <a:gd name="T63" fmla="*/ 76 h 1586"/>
                <a:gd name="T64" fmla="*/ 751 w 828"/>
                <a:gd name="T65" fmla="*/ 150 h 1586"/>
                <a:gd name="T66" fmla="*/ 644 w 828"/>
                <a:gd name="T67" fmla="*/ 99 h 1586"/>
                <a:gd name="T68" fmla="*/ 720 w 828"/>
                <a:gd name="T69" fmla="*/ 76 h 1586"/>
                <a:gd name="T70" fmla="*/ 71 w 828"/>
                <a:gd name="T71" fmla="*/ 1472 h 1586"/>
                <a:gd name="T72" fmla="*/ 74 w 828"/>
                <a:gd name="T73" fmla="*/ 1385 h 1586"/>
                <a:gd name="T74" fmla="*/ 139 w 828"/>
                <a:gd name="T75" fmla="*/ 1416 h 1586"/>
                <a:gd name="T76" fmla="*/ 71 w 828"/>
                <a:gd name="T77" fmla="*/ 1472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28" h="1586">
                  <a:moveTo>
                    <a:pt x="257" y="1396"/>
                  </a:moveTo>
                  <a:cubicBezTo>
                    <a:pt x="260" y="1393"/>
                    <a:pt x="260" y="1390"/>
                    <a:pt x="263" y="1388"/>
                  </a:cubicBezTo>
                  <a:lnTo>
                    <a:pt x="791" y="251"/>
                  </a:lnTo>
                  <a:cubicBezTo>
                    <a:pt x="799" y="232"/>
                    <a:pt x="799" y="212"/>
                    <a:pt x="793" y="192"/>
                  </a:cubicBezTo>
                  <a:lnTo>
                    <a:pt x="799" y="178"/>
                  </a:lnTo>
                  <a:cubicBezTo>
                    <a:pt x="827" y="122"/>
                    <a:pt x="802" y="51"/>
                    <a:pt x="743" y="26"/>
                  </a:cubicBezTo>
                  <a:cubicBezTo>
                    <a:pt x="686" y="0"/>
                    <a:pt x="618" y="23"/>
                    <a:pt x="590" y="79"/>
                  </a:cubicBezTo>
                  <a:cubicBezTo>
                    <a:pt x="531" y="54"/>
                    <a:pt x="460" y="79"/>
                    <a:pt x="435" y="139"/>
                  </a:cubicBezTo>
                  <a:lnTo>
                    <a:pt x="235" y="567"/>
                  </a:lnTo>
                  <a:cubicBezTo>
                    <a:pt x="229" y="582"/>
                    <a:pt x="235" y="598"/>
                    <a:pt x="249" y="604"/>
                  </a:cubicBezTo>
                  <a:cubicBezTo>
                    <a:pt x="263" y="609"/>
                    <a:pt x="280" y="604"/>
                    <a:pt x="285" y="590"/>
                  </a:cubicBezTo>
                  <a:lnTo>
                    <a:pt x="486" y="161"/>
                  </a:lnTo>
                  <a:cubicBezTo>
                    <a:pt x="497" y="139"/>
                    <a:pt x="522" y="124"/>
                    <a:pt x="545" y="124"/>
                  </a:cubicBezTo>
                  <a:cubicBezTo>
                    <a:pt x="542" y="127"/>
                    <a:pt x="539" y="130"/>
                    <a:pt x="539" y="136"/>
                  </a:cubicBezTo>
                  <a:lnTo>
                    <a:pt x="12" y="1269"/>
                  </a:lnTo>
                  <a:cubicBezTo>
                    <a:pt x="6" y="1283"/>
                    <a:pt x="3" y="1300"/>
                    <a:pt x="6" y="1314"/>
                  </a:cubicBezTo>
                  <a:lnTo>
                    <a:pt x="0" y="1548"/>
                  </a:lnTo>
                  <a:cubicBezTo>
                    <a:pt x="0" y="1563"/>
                    <a:pt x="9" y="1574"/>
                    <a:pt x="20" y="1579"/>
                  </a:cubicBezTo>
                  <a:cubicBezTo>
                    <a:pt x="31" y="1585"/>
                    <a:pt x="48" y="1582"/>
                    <a:pt x="57" y="1574"/>
                  </a:cubicBezTo>
                  <a:lnTo>
                    <a:pt x="246" y="1410"/>
                  </a:lnTo>
                  <a:cubicBezTo>
                    <a:pt x="252" y="1407"/>
                    <a:pt x="254" y="1402"/>
                    <a:pt x="257" y="1396"/>
                  </a:cubicBezTo>
                  <a:close/>
                  <a:moveTo>
                    <a:pt x="74" y="1306"/>
                  </a:moveTo>
                  <a:lnTo>
                    <a:pt x="74" y="1300"/>
                  </a:lnTo>
                  <a:cubicBezTo>
                    <a:pt x="74" y="1300"/>
                    <a:pt x="74" y="1300"/>
                    <a:pt x="74" y="1297"/>
                  </a:cubicBezTo>
                  <a:lnTo>
                    <a:pt x="601" y="167"/>
                  </a:lnTo>
                  <a:cubicBezTo>
                    <a:pt x="604" y="164"/>
                    <a:pt x="607" y="161"/>
                    <a:pt x="610" y="164"/>
                  </a:cubicBezTo>
                  <a:lnTo>
                    <a:pt x="723" y="215"/>
                  </a:lnTo>
                  <a:cubicBezTo>
                    <a:pt x="726" y="218"/>
                    <a:pt x="728" y="220"/>
                    <a:pt x="726" y="223"/>
                  </a:cubicBezTo>
                  <a:lnTo>
                    <a:pt x="198" y="1357"/>
                  </a:lnTo>
                  <a:cubicBezTo>
                    <a:pt x="195" y="1359"/>
                    <a:pt x="192" y="1362"/>
                    <a:pt x="189" y="1359"/>
                  </a:cubicBezTo>
                  <a:lnTo>
                    <a:pt x="74" y="1306"/>
                  </a:lnTo>
                  <a:close/>
                  <a:moveTo>
                    <a:pt x="720" y="76"/>
                  </a:moveTo>
                  <a:cubicBezTo>
                    <a:pt x="748" y="91"/>
                    <a:pt x="760" y="122"/>
                    <a:pt x="751" y="150"/>
                  </a:cubicBezTo>
                  <a:lnTo>
                    <a:pt x="644" y="99"/>
                  </a:lnTo>
                  <a:cubicBezTo>
                    <a:pt x="658" y="74"/>
                    <a:pt x="692" y="65"/>
                    <a:pt x="720" y="76"/>
                  </a:cubicBezTo>
                  <a:close/>
                  <a:moveTo>
                    <a:pt x="71" y="1472"/>
                  </a:moveTo>
                  <a:lnTo>
                    <a:pt x="74" y="1385"/>
                  </a:lnTo>
                  <a:lnTo>
                    <a:pt x="139" y="1416"/>
                  </a:lnTo>
                  <a:lnTo>
                    <a:pt x="71" y="1472"/>
                  </a:lnTo>
                  <a:close/>
                </a:path>
              </a:pathLst>
            </a:custGeom>
            <a:solidFill>
              <a:srgbClr val="0078D7"/>
            </a:solidFill>
            <a:ln w="3175">
              <a:noFill/>
            </a:ln>
            <a:effectLst/>
          </p:spPr>
          <p:txBody>
            <a:bodyPr wrap="none" anchor="ctr"/>
            <a:lstStyle/>
            <a:p>
              <a:pPr algn="ctr" defTabSz="895526">
                <a:defRPr/>
              </a:pPr>
              <a:endParaRPr lang="en-US" sz="2353" u="sng" kern="0">
                <a:latin typeface="+mj-lt"/>
              </a:endParaRPr>
            </a:p>
          </p:txBody>
        </p:sp>
        <p:sp>
          <p:nvSpPr>
            <p:cNvPr id="333" name="Freeform 128">
              <a:extLst>
                <a:ext uri="{FF2B5EF4-FFF2-40B4-BE49-F238E27FC236}">
                  <a16:creationId xmlns:a16="http://schemas.microsoft.com/office/drawing/2014/main" id="{5DA9E0B2-DC3E-4D8A-9878-689AB57D469B}"/>
                </a:ext>
              </a:extLst>
            </p:cNvPr>
            <p:cNvSpPr>
              <a:spLocks noChangeArrowheads="1"/>
            </p:cNvSpPr>
            <p:nvPr/>
          </p:nvSpPr>
          <p:spPr bwMode="auto">
            <a:xfrm>
              <a:off x="3398698" y="3795726"/>
              <a:ext cx="257176" cy="258763"/>
            </a:xfrm>
            <a:custGeom>
              <a:avLst/>
              <a:gdLst>
                <a:gd name="T0" fmla="*/ 432 w 715"/>
                <a:gd name="T1" fmla="*/ 643 h 720"/>
                <a:gd name="T2" fmla="*/ 288 w 715"/>
                <a:gd name="T3" fmla="*/ 618 h 720"/>
                <a:gd name="T4" fmla="*/ 149 w 715"/>
                <a:gd name="T5" fmla="*/ 239 h 720"/>
                <a:gd name="T6" fmla="*/ 327 w 715"/>
                <a:gd name="T7" fmla="*/ 87 h 720"/>
                <a:gd name="T8" fmla="*/ 657 w 715"/>
                <a:gd name="T9" fmla="*/ 76 h 720"/>
                <a:gd name="T10" fmla="*/ 683 w 715"/>
                <a:gd name="T11" fmla="*/ 76 h 720"/>
                <a:gd name="T12" fmla="*/ 714 w 715"/>
                <a:gd name="T13" fmla="*/ 8 h 720"/>
                <a:gd name="T14" fmla="*/ 657 w 715"/>
                <a:gd name="T15" fmla="*/ 5 h 720"/>
                <a:gd name="T16" fmla="*/ 305 w 715"/>
                <a:gd name="T17" fmla="*/ 19 h 720"/>
                <a:gd name="T18" fmla="*/ 82 w 715"/>
                <a:gd name="T19" fmla="*/ 211 h 720"/>
                <a:gd name="T20" fmla="*/ 254 w 715"/>
                <a:gd name="T21" fmla="*/ 682 h 720"/>
                <a:gd name="T22" fmla="*/ 434 w 715"/>
                <a:gd name="T23" fmla="*/ 713 h 720"/>
                <a:gd name="T24" fmla="*/ 465 w 715"/>
                <a:gd name="T25" fmla="*/ 677 h 720"/>
                <a:gd name="T26" fmla="*/ 432 w 715"/>
                <a:gd name="T27" fmla="*/ 643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5" h="720">
                  <a:moveTo>
                    <a:pt x="432" y="643"/>
                  </a:moveTo>
                  <a:cubicBezTo>
                    <a:pt x="384" y="646"/>
                    <a:pt x="333" y="637"/>
                    <a:pt x="288" y="618"/>
                  </a:cubicBezTo>
                  <a:cubicBezTo>
                    <a:pt x="147" y="550"/>
                    <a:pt x="84" y="381"/>
                    <a:pt x="149" y="239"/>
                  </a:cubicBezTo>
                  <a:cubicBezTo>
                    <a:pt x="183" y="166"/>
                    <a:pt x="248" y="110"/>
                    <a:pt x="327" y="87"/>
                  </a:cubicBezTo>
                  <a:cubicBezTo>
                    <a:pt x="353" y="79"/>
                    <a:pt x="429" y="73"/>
                    <a:pt x="657" y="76"/>
                  </a:cubicBezTo>
                  <a:lnTo>
                    <a:pt x="683" y="76"/>
                  </a:lnTo>
                  <a:lnTo>
                    <a:pt x="714" y="8"/>
                  </a:lnTo>
                  <a:lnTo>
                    <a:pt x="657" y="5"/>
                  </a:lnTo>
                  <a:cubicBezTo>
                    <a:pt x="398" y="0"/>
                    <a:pt x="333" y="11"/>
                    <a:pt x="305" y="19"/>
                  </a:cubicBezTo>
                  <a:cubicBezTo>
                    <a:pt x="206" y="48"/>
                    <a:pt x="127" y="118"/>
                    <a:pt x="82" y="211"/>
                  </a:cubicBezTo>
                  <a:cubicBezTo>
                    <a:pt x="0" y="389"/>
                    <a:pt x="76" y="601"/>
                    <a:pt x="254" y="682"/>
                  </a:cubicBezTo>
                  <a:cubicBezTo>
                    <a:pt x="310" y="708"/>
                    <a:pt x="372" y="719"/>
                    <a:pt x="434" y="713"/>
                  </a:cubicBezTo>
                  <a:cubicBezTo>
                    <a:pt x="454" y="711"/>
                    <a:pt x="468" y="694"/>
                    <a:pt x="465" y="677"/>
                  </a:cubicBezTo>
                  <a:cubicBezTo>
                    <a:pt x="468" y="654"/>
                    <a:pt x="451" y="640"/>
                    <a:pt x="432" y="643"/>
                  </a:cubicBezTo>
                </a:path>
              </a:pathLst>
            </a:custGeom>
            <a:grpFill/>
            <a:ln w="0">
              <a:solidFill>
                <a:schemeClr val="bg1"/>
              </a:solidFill>
            </a:ln>
            <a:effectLst/>
          </p:spPr>
          <p:txBody>
            <a:bodyPr wrap="none" anchor="ctr"/>
            <a:lstStyle/>
            <a:p>
              <a:pPr algn="ctr" defTabSz="895526">
                <a:defRPr/>
              </a:pPr>
              <a:endParaRPr lang="en-US" sz="2353" u="sng" kern="0">
                <a:latin typeface="+mj-lt"/>
              </a:endParaRPr>
            </a:p>
          </p:txBody>
        </p:sp>
        <p:sp>
          <p:nvSpPr>
            <p:cNvPr id="334" name="Freeform 129">
              <a:extLst>
                <a:ext uri="{FF2B5EF4-FFF2-40B4-BE49-F238E27FC236}">
                  <a16:creationId xmlns:a16="http://schemas.microsoft.com/office/drawing/2014/main" id="{231DED66-4742-4AA7-9798-8F4CA6741566}"/>
                </a:ext>
              </a:extLst>
            </p:cNvPr>
            <p:cNvSpPr>
              <a:spLocks noChangeArrowheads="1"/>
            </p:cNvSpPr>
            <p:nvPr/>
          </p:nvSpPr>
          <p:spPr bwMode="auto">
            <a:xfrm>
              <a:off x="3791941" y="3670301"/>
              <a:ext cx="196849" cy="160338"/>
            </a:xfrm>
            <a:custGeom>
              <a:avLst/>
              <a:gdLst>
                <a:gd name="T0" fmla="*/ 398 w 548"/>
                <a:gd name="T1" fmla="*/ 37 h 444"/>
                <a:gd name="T2" fmla="*/ 166 w 548"/>
                <a:gd name="T3" fmla="*/ 74 h 444"/>
                <a:gd name="T4" fmla="*/ 144 w 548"/>
                <a:gd name="T5" fmla="*/ 119 h 444"/>
                <a:gd name="T6" fmla="*/ 155 w 548"/>
                <a:gd name="T7" fmla="*/ 136 h 444"/>
                <a:gd name="T8" fmla="*/ 203 w 548"/>
                <a:gd name="T9" fmla="*/ 133 h 444"/>
                <a:gd name="T10" fmla="*/ 367 w 548"/>
                <a:gd name="T11" fmla="*/ 99 h 444"/>
                <a:gd name="T12" fmla="*/ 434 w 548"/>
                <a:gd name="T13" fmla="*/ 285 h 444"/>
                <a:gd name="T14" fmla="*/ 234 w 548"/>
                <a:gd name="T15" fmla="*/ 369 h 444"/>
                <a:gd name="T16" fmla="*/ 50 w 548"/>
                <a:gd name="T17" fmla="*/ 364 h 444"/>
                <a:gd name="T18" fmla="*/ 31 w 548"/>
                <a:gd name="T19" fmla="*/ 364 h 444"/>
                <a:gd name="T20" fmla="*/ 0 w 548"/>
                <a:gd name="T21" fmla="*/ 431 h 444"/>
                <a:gd name="T22" fmla="*/ 50 w 548"/>
                <a:gd name="T23" fmla="*/ 434 h 444"/>
                <a:gd name="T24" fmla="*/ 237 w 548"/>
                <a:gd name="T25" fmla="*/ 440 h 444"/>
                <a:gd name="T26" fmla="*/ 502 w 548"/>
                <a:gd name="T27" fmla="*/ 317 h 444"/>
                <a:gd name="T28" fmla="*/ 398 w 548"/>
                <a:gd name="T29" fmla="*/ 3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8" h="444">
                  <a:moveTo>
                    <a:pt x="398" y="37"/>
                  </a:moveTo>
                  <a:cubicBezTo>
                    <a:pt x="321" y="0"/>
                    <a:pt x="228" y="17"/>
                    <a:pt x="166" y="74"/>
                  </a:cubicBezTo>
                  <a:lnTo>
                    <a:pt x="144" y="119"/>
                  </a:lnTo>
                  <a:cubicBezTo>
                    <a:pt x="146" y="125"/>
                    <a:pt x="149" y="130"/>
                    <a:pt x="155" y="136"/>
                  </a:cubicBezTo>
                  <a:cubicBezTo>
                    <a:pt x="169" y="150"/>
                    <a:pt x="192" y="147"/>
                    <a:pt x="203" y="133"/>
                  </a:cubicBezTo>
                  <a:cubicBezTo>
                    <a:pt x="242" y="88"/>
                    <a:pt x="310" y="74"/>
                    <a:pt x="367" y="99"/>
                  </a:cubicBezTo>
                  <a:cubicBezTo>
                    <a:pt x="437" y="133"/>
                    <a:pt x="468" y="215"/>
                    <a:pt x="434" y="285"/>
                  </a:cubicBezTo>
                  <a:cubicBezTo>
                    <a:pt x="400" y="358"/>
                    <a:pt x="307" y="369"/>
                    <a:pt x="234" y="369"/>
                  </a:cubicBezTo>
                  <a:cubicBezTo>
                    <a:pt x="189" y="369"/>
                    <a:pt x="127" y="366"/>
                    <a:pt x="50" y="364"/>
                  </a:cubicBezTo>
                  <a:lnTo>
                    <a:pt x="31" y="364"/>
                  </a:lnTo>
                  <a:lnTo>
                    <a:pt x="0" y="431"/>
                  </a:lnTo>
                  <a:lnTo>
                    <a:pt x="50" y="434"/>
                  </a:lnTo>
                  <a:cubicBezTo>
                    <a:pt x="127" y="437"/>
                    <a:pt x="192" y="440"/>
                    <a:pt x="237" y="440"/>
                  </a:cubicBezTo>
                  <a:cubicBezTo>
                    <a:pt x="369" y="443"/>
                    <a:pt x="463" y="400"/>
                    <a:pt x="502" y="317"/>
                  </a:cubicBezTo>
                  <a:cubicBezTo>
                    <a:pt x="547" y="212"/>
                    <a:pt x="502" y="88"/>
                    <a:pt x="398" y="37"/>
                  </a:cubicBezTo>
                </a:path>
              </a:pathLst>
            </a:custGeom>
            <a:grpFill/>
            <a:ln w="0">
              <a:solidFill>
                <a:schemeClr val="bg1"/>
              </a:solidFill>
            </a:ln>
            <a:effectLst/>
          </p:spPr>
          <p:txBody>
            <a:bodyPr wrap="none" anchor="ctr"/>
            <a:lstStyle/>
            <a:p>
              <a:pPr algn="ctr" defTabSz="895526">
                <a:defRPr/>
              </a:pPr>
              <a:endParaRPr lang="en-US" sz="2353" u="sng" kern="0">
                <a:latin typeface="+mj-lt"/>
              </a:endParaRPr>
            </a:p>
          </p:txBody>
        </p:sp>
      </p:grpSp>
      <p:pic>
        <p:nvPicPr>
          <p:cNvPr id="335" name="Graphic 334">
            <a:extLst>
              <a:ext uri="{FF2B5EF4-FFF2-40B4-BE49-F238E27FC236}">
                <a16:creationId xmlns:a16="http://schemas.microsoft.com/office/drawing/2014/main" id="{04D16C67-7AA1-4BDE-BD5D-A6574AB6BAF1}"/>
              </a:ext>
              <a:ext uri="{C183D7F6-B498-43B3-948B-1728B52AA6E4}">
                <adec:decorative xmlns:adec="http://schemas.microsoft.com/office/drawing/2017/decorative" val="1"/>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3635713" y="5142470"/>
            <a:ext cx="130118" cy="190839"/>
          </a:xfrm>
          <a:prstGeom prst="rect">
            <a:avLst/>
          </a:prstGeom>
        </p:spPr>
      </p:pic>
      <p:sp>
        <p:nvSpPr>
          <p:cNvPr id="336" name="Microphone_E720">
            <a:extLst>
              <a:ext uri="{FF2B5EF4-FFF2-40B4-BE49-F238E27FC236}">
                <a16:creationId xmlns:a16="http://schemas.microsoft.com/office/drawing/2014/main" id="{5819D35B-7B79-4560-8911-9DE7CD0CC0FD}"/>
              </a:ext>
              <a:ext uri="{C183D7F6-B498-43B3-948B-1728B52AA6E4}">
                <adec:decorative xmlns:adec="http://schemas.microsoft.com/office/drawing/2017/decorative" val="1"/>
              </a:ext>
            </a:extLst>
          </p:cNvPr>
          <p:cNvSpPr>
            <a:spLocks noChangeAspect="1" noEditPoints="1"/>
          </p:cNvSpPr>
          <p:nvPr/>
        </p:nvSpPr>
        <p:spPr bwMode="auto">
          <a:xfrm>
            <a:off x="3853893" y="5197487"/>
            <a:ext cx="99032" cy="148619"/>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6350" cap="flat">
            <a:solidFill>
              <a:srgbClr val="0078D7"/>
            </a:solidFill>
            <a:prstDash val="solid"/>
            <a:miter/>
          </a:ln>
        </p:spPr>
        <p:txBody>
          <a:bodyPr vert="horz" wrap="square" lIns="91427" tIns="45713" rIns="91427" bIns="45713" numCol="1" anchor="t" anchorCtr="0" compatLnSpc="1">
            <a:prstTxWarp prst="textNoShape">
              <a:avLst/>
            </a:prstTxWarp>
          </a:bodyPr>
          <a:lstStyle/>
          <a:p>
            <a:endParaRPr lang="en-US"/>
          </a:p>
        </p:txBody>
      </p:sp>
      <p:grpSp>
        <p:nvGrpSpPr>
          <p:cNvPr id="337" name="Group 336">
            <a:extLst>
              <a:ext uri="{FF2B5EF4-FFF2-40B4-BE49-F238E27FC236}">
                <a16:creationId xmlns:a16="http://schemas.microsoft.com/office/drawing/2014/main" id="{E6D53EE8-6AE8-44EB-9A88-BFB6BA04A863}"/>
              </a:ext>
              <a:ext uri="{C183D7F6-B498-43B3-948B-1728B52AA6E4}">
                <adec:decorative xmlns:adec="http://schemas.microsoft.com/office/drawing/2017/decorative" val="1"/>
              </a:ext>
            </a:extLst>
          </p:cNvPr>
          <p:cNvGrpSpPr/>
          <p:nvPr/>
        </p:nvGrpSpPr>
        <p:grpSpPr>
          <a:xfrm>
            <a:off x="4036750" y="5201261"/>
            <a:ext cx="231162" cy="131704"/>
            <a:chOff x="1290799" y="6111564"/>
            <a:chExt cx="231195" cy="131722"/>
          </a:xfrm>
        </p:grpSpPr>
        <p:grpSp>
          <p:nvGrpSpPr>
            <p:cNvPr id="338" name="Graphic 54" descr="Camera">
              <a:extLst>
                <a:ext uri="{FF2B5EF4-FFF2-40B4-BE49-F238E27FC236}">
                  <a16:creationId xmlns:a16="http://schemas.microsoft.com/office/drawing/2014/main" id="{0069FB62-44A5-48FD-B4D6-DD9AEAAF89E0}"/>
                </a:ext>
              </a:extLst>
            </p:cNvPr>
            <p:cNvGrpSpPr/>
            <p:nvPr/>
          </p:nvGrpSpPr>
          <p:grpSpPr>
            <a:xfrm>
              <a:off x="1290799" y="6111564"/>
              <a:ext cx="158841" cy="131722"/>
              <a:chOff x="1290799" y="6111564"/>
              <a:chExt cx="158841" cy="131722"/>
            </a:xfrm>
            <a:solidFill>
              <a:srgbClr val="0078D7"/>
            </a:solidFill>
          </p:grpSpPr>
          <p:sp>
            <p:nvSpPr>
              <p:cNvPr id="340" name="Freeform: Shape 339">
                <a:extLst>
                  <a:ext uri="{FF2B5EF4-FFF2-40B4-BE49-F238E27FC236}">
                    <a16:creationId xmlns:a16="http://schemas.microsoft.com/office/drawing/2014/main" id="{1C15C766-8E92-474F-B524-9FDC97F07C2E}"/>
                  </a:ext>
                </a:extLst>
              </p:cNvPr>
              <p:cNvSpPr/>
              <p:nvPr/>
            </p:nvSpPr>
            <p:spPr>
              <a:xfrm>
                <a:off x="1290799" y="6111564"/>
                <a:ext cx="158841" cy="131722"/>
              </a:xfrm>
              <a:custGeom>
                <a:avLst/>
                <a:gdLst>
                  <a:gd name="connsiteX0" fmla="*/ 149156 w 158841"/>
                  <a:gd name="connsiteY0" fmla="*/ 19371 h 131722"/>
                  <a:gd name="connsiteX1" fmla="*/ 111511 w 158841"/>
                  <a:gd name="connsiteY1" fmla="*/ 19371 h 131722"/>
                  <a:gd name="connsiteX2" fmla="*/ 99888 w 158841"/>
                  <a:gd name="connsiteY2" fmla="*/ 0 h 131722"/>
                  <a:gd name="connsiteX3" fmla="*/ 58954 w 158841"/>
                  <a:gd name="connsiteY3" fmla="*/ 0 h 131722"/>
                  <a:gd name="connsiteX4" fmla="*/ 47331 w 158841"/>
                  <a:gd name="connsiteY4" fmla="*/ 19371 h 131722"/>
                  <a:gd name="connsiteX5" fmla="*/ 9685 w 158841"/>
                  <a:gd name="connsiteY5" fmla="*/ 19371 h 131722"/>
                  <a:gd name="connsiteX6" fmla="*/ 0 w 158841"/>
                  <a:gd name="connsiteY6" fmla="*/ 29056 h 131722"/>
                  <a:gd name="connsiteX7" fmla="*/ 0 w 158841"/>
                  <a:gd name="connsiteY7" fmla="*/ 122037 h 131722"/>
                  <a:gd name="connsiteX8" fmla="*/ 9685 w 158841"/>
                  <a:gd name="connsiteY8" fmla="*/ 131722 h 131722"/>
                  <a:gd name="connsiteX9" fmla="*/ 149156 w 158841"/>
                  <a:gd name="connsiteY9" fmla="*/ 131722 h 131722"/>
                  <a:gd name="connsiteX10" fmla="*/ 158842 w 158841"/>
                  <a:gd name="connsiteY10" fmla="*/ 122037 h 131722"/>
                  <a:gd name="connsiteX11" fmla="*/ 158842 w 158841"/>
                  <a:gd name="connsiteY11" fmla="*/ 29056 h 131722"/>
                  <a:gd name="connsiteX12" fmla="*/ 149156 w 158841"/>
                  <a:gd name="connsiteY12" fmla="*/ 19371 h 131722"/>
                  <a:gd name="connsiteX13" fmla="*/ 61146 w 158841"/>
                  <a:gd name="connsiteY13" fmla="*/ 3874 h 131722"/>
                  <a:gd name="connsiteX14" fmla="*/ 97695 w 158841"/>
                  <a:gd name="connsiteY14" fmla="*/ 3874 h 131722"/>
                  <a:gd name="connsiteX15" fmla="*/ 106993 w 158841"/>
                  <a:gd name="connsiteY15" fmla="*/ 19371 h 131722"/>
                  <a:gd name="connsiteX16" fmla="*/ 51848 w 158841"/>
                  <a:gd name="connsiteY16" fmla="*/ 19371 h 131722"/>
                  <a:gd name="connsiteX17" fmla="*/ 149156 w 158841"/>
                  <a:gd name="connsiteY17" fmla="*/ 23245 h 131722"/>
                  <a:gd name="connsiteX18" fmla="*/ 154968 w 158841"/>
                  <a:gd name="connsiteY18" fmla="*/ 29056 h 131722"/>
                  <a:gd name="connsiteX19" fmla="*/ 154968 w 158841"/>
                  <a:gd name="connsiteY19" fmla="*/ 122037 h 131722"/>
                  <a:gd name="connsiteX20" fmla="*/ 149156 w 158841"/>
                  <a:gd name="connsiteY20" fmla="*/ 127848 h 131722"/>
                  <a:gd name="connsiteX21" fmla="*/ 9685 w 158841"/>
                  <a:gd name="connsiteY21" fmla="*/ 127848 h 131722"/>
                  <a:gd name="connsiteX22" fmla="*/ 3874 w 158841"/>
                  <a:gd name="connsiteY22" fmla="*/ 122037 h 131722"/>
                  <a:gd name="connsiteX23" fmla="*/ 3874 w 158841"/>
                  <a:gd name="connsiteY23" fmla="*/ 29056 h 131722"/>
                  <a:gd name="connsiteX24" fmla="*/ 9685 w 158841"/>
                  <a:gd name="connsiteY24" fmla="*/ 23245 h 13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841" h="131722">
                    <a:moveTo>
                      <a:pt x="149156" y="19371"/>
                    </a:moveTo>
                    <a:lnTo>
                      <a:pt x="111511" y="19371"/>
                    </a:lnTo>
                    <a:lnTo>
                      <a:pt x="99888" y="0"/>
                    </a:lnTo>
                    <a:lnTo>
                      <a:pt x="58954" y="0"/>
                    </a:lnTo>
                    <a:lnTo>
                      <a:pt x="47331" y="19371"/>
                    </a:lnTo>
                    <a:lnTo>
                      <a:pt x="9685" y="19371"/>
                    </a:lnTo>
                    <a:cubicBezTo>
                      <a:pt x="4339" y="19377"/>
                      <a:pt x="6" y="23710"/>
                      <a:pt x="0" y="29056"/>
                    </a:cubicBezTo>
                    <a:lnTo>
                      <a:pt x="0" y="122037"/>
                    </a:lnTo>
                    <a:cubicBezTo>
                      <a:pt x="6" y="127383"/>
                      <a:pt x="4339" y="131716"/>
                      <a:pt x="9685" y="131722"/>
                    </a:cubicBezTo>
                    <a:lnTo>
                      <a:pt x="149156" y="131722"/>
                    </a:lnTo>
                    <a:cubicBezTo>
                      <a:pt x="154503" y="131716"/>
                      <a:pt x="158835" y="127383"/>
                      <a:pt x="158842" y="122037"/>
                    </a:cubicBezTo>
                    <a:lnTo>
                      <a:pt x="158842" y="29056"/>
                    </a:lnTo>
                    <a:cubicBezTo>
                      <a:pt x="158835" y="23710"/>
                      <a:pt x="154503" y="19377"/>
                      <a:pt x="149156" y="19371"/>
                    </a:cubicBezTo>
                    <a:close/>
                    <a:moveTo>
                      <a:pt x="61146" y="3874"/>
                    </a:moveTo>
                    <a:lnTo>
                      <a:pt x="97695" y="3874"/>
                    </a:lnTo>
                    <a:lnTo>
                      <a:pt x="106993" y="19371"/>
                    </a:lnTo>
                    <a:lnTo>
                      <a:pt x="51848" y="19371"/>
                    </a:lnTo>
                    <a:close/>
                    <a:moveTo>
                      <a:pt x="149156" y="23245"/>
                    </a:moveTo>
                    <a:cubicBezTo>
                      <a:pt x="152366" y="23245"/>
                      <a:pt x="154968" y="25847"/>
                      <a:pt x="154968" y="29056"/>
                    </a:cubicBezTo>
                    <a:lnTo>
                      <a:pt x="154968" y="122037"/>
                    </a:lnTo>
                    <a:cubicBezTo>
                      <a:pt x="154968" y="125246"/>
                      <a:pt x="152366" y="127848"/>
                      <a:pt x="149156" y="127848"/>
                    </a:cubicBezTo>
                    <a:lnTo>
                      <a:pt x="9685" y="127848"/>
                    </a:lnTo>
                    <a:cubicBezTo>
                      <a:pt x="6476" y="127848"/>
                      <a:pt x="3874" y="125246"/>
                      <a:pt x="3874" y="122037"/>
                    </a:cubicBezTo>
                    <a:lnTo>
                      <a:pt x="3874" y="29056"/>
                    </a:lnTo>
                    <a:cubicBezTo>
                      <a:pt x="3874" y="25847"/>
                      <a:pt x="6476" y="23245"/>
                      <a:pt x="9685" y="23245"/>
                    </a:cubicBezTo>
                    <a:close/>
                  </a:path>
                </a:pathLst>
              </a:custGeom>
              <a:solidFill>
                <a:srgbClr val="0078D7"/>
              </a:solidFill>
              <a:ln w="1885" cap="flat">
                <a:solidFill>
                  <a:srgbClr val="0078D7"/>
                </a:solidFill>
                <a:prstDash val="solid"/>
                <a:miter/>
              </a:ln>
            </p:spPr>
            <p:txBody>
              <a:bodyPr rtlCol="0" anchor="ctr"/>
              <a:lstStyle/>
              <a:p>
                <a:endParaRPr lang="en-US"/>
              </a:p>
            </p:txBody>
          </p:sp>
          <p:sp>
            <p:nvSpPr>
              <p:cNvPr id="341" name="Freeform: Shape 340">
                <a:extLst>
                  <a:ext uri="{FF2B5EF4-FFF2-40B4-BE49-F238E27FC236}">
                    <a16:creationId xmlns:a16="http://schemas.microsoft.com/office/drawing/2014/main" id="{6C666C5A-9159-41C6-AF3C-6CC2B5E6C8A2}"/>
                  </a:ext>
                </a:extLst>
              </p:cNvPr>
              <p:cNvSpPr/>
              <p:nvPr/>
            </p:nvSpPr>
            <p:spPr>
              <a:xfrm>
                <a:off x="1306296" y="6146432"/>
                <a:ext cx="25182" cy="17433"/>
              </a:xfrm>
              <a:custGeom>
                <a:avLst/>
                <a:gdLst>
                  <a:gd name="connsiteX0" fmla="*/ 0 w 25182"/>
                  <a:gd name="connsiteY0" fmla="*/ 17434 h 17433"/>
                  <a:gd name="connsiteX1" fmla="*/ 25182 w 25182"/>
                  <a:gd name="connsiteY1" fmla="*/ 17434 h 17433"/>
                  <a:gd name="connsiteX2" fmla="*/ 25182 w 25182"/>
                  <a:gd name="connsiteY2" fmla="*/ 0 h 17433"/>
                  <a:gd name="connsiteX3" fmla="*/ 0 w 25182"/>
                  <a:gd name="connsiteY3" fmla="*/ 0 h 17433"/>
                  <a:gd name="connsiteX4" fmla="*/ 3874 w 25182"/>
                  <a:gd name="connsiteY4" fmla="*/ 3874 h 17433"/>
                  <a:gd name="connsiteX5" fmla="*/ 21308 w 25182"/>
                  <a:gd name="connsiteY5" fmla="*/ 3874 h 17433"/>
                  <a:gd name="connsiteX6" fmla="*/ 21308 w 25182"/>
                  <a:gd name="connsiteY6" fmla="*/ 13560 h 17433"/>
                  <a:gd name="connsiteX7" fmla="*/ 3874 w 25182"/>
                  <a:gd name="connsiteY7" fmla="*/ 13560 h 17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17433">
                    <a:moveTo>
                      <a:pt x="0" y="17434"/>
                    </a:moveTo>
                    <a:lnTo>
                      <a:pt x="25182" y="17434"/>
                    </a:lnTo>
                    <a:lnTo>
                      <a:pt x="25182" y="0"/>
                    </a:lnTo>
                    <a:lnTo>
                      <a:pt x="0" y="0"/>
                    </a:lnTo>
                    <a:close/>
                    <a:moveTo>
                      <a:pt x="3874" y="3874"/>
                    </a:moveTo>
                    <a:lnTo>
                      <a:pt x="21308" y="3874"/>
                    </a:lnTo>
                    <a:lnTo>
                      <a:pt x="21308" y="13560"/>
                    </a:lnTo>
                    <a:lnTo>
                      <a:pt x="3874" y="13560"/>
                    </a:lnTo>
                    <a:close/>
                  </a:path>
                </a:pathLst>
              </a:custGeom>
              <a:solidFill>
                <a:srgbClr val="0078D7"/>
              </a:solidFill>
              <a:ln w="1885" cap="flat">
                <a:solidFill>
                  <a:srgbClr val="0078D7"/>
                </a:solidFill>
                <a:prstDash val="solid"/>
                <a:miter/>
              </a:ln>
            </p:spPr>
            <p:txBody>
              <a:bodyPr rtlCol="0" anchor="ctr"/>
              <a:lstStyle/>
              <a:p>
                <a:endParaRPr lang="en-US"/>
              </a:p>
            </p:txBody>
          </p:sp>
          <p:sp>
            <p:nvSpPr>
              <p:cNvPr id="342" name="Freeform: Shape 341">
                <a:extLst>
                  <a:ext uri="{FF2B5EF4-FFF2-40B4-BE49-F238E27FC236}">
                    <a16:creationId xmlns:a16="http://schemas.microsoft.com/office/drawing/2014/main" id="{D1E29B79-C46E-47D5-8487-ED31872A52D2}"/>
                  </a:ext>
                </a:extLst>
              </p:cNvPr>
              <p:cNvSpPr/>
              <p:nvPr/>
            </p:nvSpPr>
            <p:spPr>
              <a:xfrm>
                <a:off x="1335352" y="6156117"/>
                <a:ext cx="69735" cy="69735"/>
              </a:xfrm>
              <a:custGeom>
                <a:avLst/>
                <a:gdLst>
                  <a:gd name="connsiteX0" fmla="*/ 34868 w 69735"/>
                  <a:gd name="connsiteY0" fmla="*/ 0 h 69735"/>
                  <a:gd name="connsiteX1" fmla="*/ 0 w 69735"/>
                  <a:gd name="connsiteY1" fmla="*/ 34868 h 69735"/>
                  <a:gd name="connsiteX2" fmla="*/ 34868 w 69735"/>
                  <a:gd name="connsiteY2" fmla="*/ 69735 h 69735"/>
                  <a:gd name="connsiteX3" fmla="*/ 69735 w 69735"/>
                  <a:gd name="connsiteY3" fmla="*/ 34868 h 69735"/>
                  <a:gd name="connsiteX4" fmla="*/ 34868 w 69735"/>
                  <a:gd name="connsiteY4" fmla="*/ 0 h 69735"/>
                  <a:gd name="connsiteX5" fmla="*/ 34868 w 69735"/>
                  <a:gd name="connsiteY5" fmla="*/ 65861 h 69735"/>
                  <a:gd name="connsiteX6" fmla="*/ 3874 w 69735"/>
                  <a:gd name="connsiteY6" fmla="*/ 34868 h 69735"/>
                  <a:gd name="connsiteX7" fmla="*/ 34868 w 69735"/>
                  <a:gd name="connsiteY7" fmla="*/ 3874 h 69735"/>
                  <a:gd name="connsiteX8" fmla="*/ 65861 w 69735"/>
                  <a:gd name="connsiteY8" fmla="*/ 34868 h 69735"/>
                  <a:gd name="connsiteX9" fmla="*/ 34868 w 69735"/>
                  <a:gd name="connsiteY9" fmla="*/ 65861 h 69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735" h="69735">
                    <a:moveTo>
                      <a:pt x="34868" y="0"/>
                    </a:moveTo>
                    <a:cubicBezTo>
                      <a:pt x="15611" y="0"/>
                      <a:pt x="0" y="15611"/>
                      <a:pt x="0" y="34868"/>
                    </a:cubicBezTo>
                    <a:cubicBezTo>
                      <a:pt x="0" y="54125"/>
                      <a:pt x="15611" y="69735"/>
                      <a:pt x="34868" y="69735"/>
                    </a:cubicBezTo>
                    <a:cubicBezTo>
                      <a:pt x="54125" y="69735"/>
                      <a:pt x="69735" y="54125"/>
                      <a:pt x="69735" y="34868"/>
                    </a:cubicBezTo>
                    <a:cubicBezTo>
                      <a:pt x="69713" y="15620"/>
                      <a:pt x="54115" y="22"/>
                      <a:pt x="34868" y="0"/>
                    </a:cubicBezTo>
                    <a:close/>
                    <a:moveTo>
                      <a:pt x="34868" y="65861"/>
                    </a:moveTo>
                    <a:cubicBezTo>
                      <a:pt x="17750" y="65861"/>
                      <a:pt x="3874" y="51985"/>
                      <a:pt x="3874" y="34868"/>
                    </a:cubicBezTo>
                    <a:cubicBezTo>
                      <a:pt x="3874" y="17750"/>
                      <a:pt x="17750" y="3874"/>
                      <a:pt x="34868" y="3874"/>
                    </a:cubicBezTo>
                    <a:cubicBezTo>
                      <a:pt x="51985" y="3874"/>
                      <a:pt x="65861" y="17750"/>
                      <a:pt x="65861" y="34868"/>
                    </a:cubicBezTo>
                    <a:cubicBezTo>
                      <a:pt x="65841" y="51976"/>
                      <a:pt x="51976" y="65841"/>
                      <a:pt x="34868" y="65861"/>
                    </a:cubicBezTo>
                    <a:close/>
                  </a:path>
                </a:pathLst>
              </a:custGeom>
              <a:solidFill>
                <a:srgbClr val="0078D7"/>
              </a:solidFill>
              <a:ln w="1885" cap="flat">
                <a:solidFill>
                  <a:srgbClr val="0078D7"/>
                </a:solidFill>
                <a:prstDash val="solid"/>
                <a:miter/>
              </a:ln>
            </p:spPr>
            <p:txBody>
              <a:bodyPr rtlCol="0" anchor="ctr"/>
              <a:lstStyle/>
              <a:p>
                <a:endParaRPr lang="en-US"/>
              </a:p>
            </p:txBody>
          </p:sp>
        </p:grpSp>
        <p:sp>
          <p:nvSpPr>
            <p:cNvPr id="339" name="Rectangle 338">
              <a:extLst>
                <a:ext uri="{FF2B5EF4-FFF2-40B4-BE49-F238E27FC236}">
                  <a16:creationId xmlns:a16="http://schemas.microsoft.com/office/drawing/2014/main" id="{F6EB1A5A-B2CA-4703-BC43-38672DE73973}"/>
                </a:ext>
              </a:extLst>
            </p:cNvPr>
            <p:cNvSpPr/>
            <p:nvPr/>
          </p:nvSpPr>
          <p:spPr bwMode="auto">
            <a:xfrm>
              <a:off x="1422947" y="6157764"/>
              <a:ext cx="99047" cy="56180"/>
            </a:xfrm>
            <a:prstGeom prst="rect">
              <a:avLst/>
            </a:prstGeom>
            <a:solidFill>
              <a:schemeClr val="bg1"/>
            </a:solidFill>
            <a:ln w="63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400" b="1">
                  <a:solidFill>
                    <a:srgbClr val="0078D7"/>
                  </a:solidFill>
                  <a:latin typeface="Segoe UI Black" panose="020B0A02040204020203" pitchFamily="34" charset="0"/>
                  <a:ea typeface="Segoe UI Black" panose="020B0A02040204020203" pitchFamily="34" charset="0"/>
                  <a:cs typeface="Segoe UI" pitchFamily="34" charset="0"/>
                </a:rPr>
                <a:t>HD</a:t>
              </a:r>
            </a:p>
          </p:txBody>
        </p:sp>
      </p:grpSp>
      <p:grpSp>
        <p:nvGrpSpPr>
          <p:cNvPr id="4" name="Group 3">
            <a:extLst>
              <a:ext uri="{FF2B5EF4-FFF2-40B4-BE49-F238E27FC236}">
                <a16:creationId xmlns:a16="http://schemas.microsoft.com/office/drawing/2014/main" id="{67101C4D-2E19-4D1A-83DE-E4FBEDCC3F52}"/>
              </a:ext>
              <a:ext uri="{C183D7F6-B498-43B3-948B-1728B52AA6E4}">
                <adec:decorative xmlns:adec="http://schemas.microsoft.com/office/drawing/2017/decorative" val="1"/>
              </a:ext>
            </a:extLst>
          </p:cNvPr>
          <p:cNvGrpSpPr/>
          <p:nvPr/>
        </p:nvGrpSpPr>
        <p:grpSpPr>
          <a:xfrm>
            <a:off x="3907112" y="2848375"/>
            <a:ext cx="1652865" cy="190839"/>
            <a:chOff x="2892515" y="2813283"/>
            <a:chExt cx="1652865" cy="190839"/>
          </a:xfrm>
        </p:grpSpPr>
        <p:sp>
          <p:nvSpPr>
            <p:cNvPr id="299" name="Stopwatch_E916" title="Icon of a stopwatch">
              <a:extLst>
                <a:ext uri="{FF2B5EF4-FFF2-40B4-BE49-F238E27FC236}">
                  <a16:creationId xmlns:a16="http://schemas.microsoft.com/office/drawing/2014/main" id="{C309F0BB-85CA-4D84-A204-526035E90E7F}"/>
                </a:ext>
              </a:extLst>
            </p:cNvPr>
            <p:cNvSpPr>
              <a:spLocks noChangeAspect="1" noEditPoints="1"/>
            </p:cNvSpPr>
            <p:nvPr/>
          </p:nvSpPr>
          <p:spPr bwMode="auto">
            <a:xfrm>
              <a:off x="3278504" y="2832544"/>
              <a:ext cx="135176" cy="152317"/>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6350" cap="sq">
              <a:solidFill>
                <a:srgbClr val="0078D7"/>
              </a:solidFill>
              <a:prstDash val="solid"/>
              <a:miter lim="800000"/>
              <a:headEnd/>
              <a:tailEnd/>
            </a:ln>
          </p:spPr>
          <p:txBody>
            <a:bodyPr vert="horz" wrap="square" lIns="89591" tIns="44795" rIns="89591" bIns="44795" numCol="1" anchor="t" anchorCtr="0" compatLnSpc="1">
              <a:prstTxWarp prst="textNoShape">
                <a:avLst/>
              </a:prstTxWarp>
            </a:bodyPr>
            <a:lstStyle/>
            <a:p>
              <a:pPr defTabSz="913791">
                <a:defRPr/>
              </a:pPr>
              <a:endParaRPr lang="en-US" sz="1960">
                <a:latin typeface="Segoe UI Semibold"/>
              </a:endParaRPr>
            </a:p>
          </p:txBody>
        </p:sp>
        <p:sp>
          <p:nvSpPr>
            <p:cNvPr id="300" name="Freeform 110">
              <a:extLst>
                <a:ext uri="{FF2B5EF4-FFF2-40B4-BE49-F238E27FC236}">
                  <a16:creationId xmlns:a16="http://schemas.microsoft.com/office/drawing/2014/main" id="{4A71D5DD-C411-4C58-ADCD-443A5B9DBE65}"/>
                </a:ext>
              </a:extLst>
            </p:cNvPr>
            <p:cNvSpPr>
              <a:spLocks noChangeAspect="1" noEditPoints="1"/>
            </p:cNvSpPr>
            <p:nvPr/>
          </p:nvSpPr>
          <p:spPr bwMode="black">
            <a:xfrm>
              <a:off x="2892515" y="2826562"/>
              <a:ext cx="87595" cy="164280"/>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rgbClr val="0078D7"/>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36" tIns="140509" rIns="175636" bIns="140509" numCol="1" spcCol="0" rtlCol="0" fromWordArt="0" anchor="t" anchorCtr="0" forceAA="0" compatLnSpc="1">
              <a:prstTxWarp prst="textNoShape">
                <a:avLst/>
              </a:prstTxWarp>
              <a:noAutofit/>
            </a:bodyPr>
            <a:lstStyle/>
            <a:p>
              <a:pPr algn="ctr" defTabSz="895235" fontAlgn="base">
                <a:spcBef>
                  <a:spcPct val="0"/>
                </a:spcBef>
                <a:spcAft>
                  <a:spcPct val="0"/>
                </a:spcAft>
                <a:defRPr/>
              </a:pPr>
              <a:endParaRPr lang="en-US" sz="1960">
                <a:solidFill>
                  <a:schemeClr val="tx1"/>
                </a:solidFill>
                <a:latin typeface="Segoe UI"/>
                <a:ea typeface="Segoe UI" pitchFamily="34" charset="0"/>
                <a:cs typeface="Segoe UI" pitchFamily="34" charset="0"/>
              </a:endParaRPr>
            </a:p>
          </p:txBody>
        </p:sp>
        <p:pic>
          <p:nvPicPr>
            <p:cNvPr id="301" name="Graphic 300">
              <a:extLst>
                <a:ext uri="{FF2B5EF4-FFF2-40B4-BE49-F238E27FC236}">
                  <a16:creationId xmlns:a16="http://schemas.microsoft.com/office/drawing/2014/main" id="{AC2C4755-9A98-43DE-847F-406251F09B4D}"/>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3040181" y="2824065"/>
              <a:ext cx="178252" cy="169274"/>
            </a:xfrm>
            <a:prstGeom prst="rect">
              <a:avLst/>
            </a:prstGeom>
          </p:spPr>
        </p:pic>
        <p:pic>
          <p:nvPicPr>
            <p:cNvPr id="305" name="Graphic 304">
              <a:extLst>
                <a:ext uri="{FF2B5EF4-FFF2-40B4-BE49-F238E27FC236}">
                  <a16:creationId xmlns:a16="http://schemas.microsoft.com/office/drawing/2014/main" id="{A363A663-474A-4B0F-88F6-9103E0B410E7}"/>
                </a:ext>
              </a:extLst>
            </p:cNvPr>
            <p:cNvPicPr>
              <a:picLocks noChangeAspect="1"/>
            </p:cNvPicPr>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flipH="1">
              <a:off x="4269825" y="2831145"/>
              <a:ext cx="59661" cy="155114"/>
            </a:xfrm>
            <a:prstGeom prst="rect">
              <a:avLst/>
            </a:prstGeom>
          </p:spPr>
        </p:pic>
        <p:grpSp>
          <p:nvGrpSpPr>
            <p:cNvPr id="306" name="Group 305">
              <a:extLst>
                <a:ext uri="{FF2B5EF4-FFF2-40B4-BE49-F238E27FC236}">
                  <a16:creationId xmlns:a16="http://schemas.microsoft.com/office/drawing/2014/main" id="{796B69C1-EB2C-497D-9102-3A83C775A78B}"/>
                </a:ext>
              </a:extLst>
            </p:cNvPr>
            <p:cNvGrpSpPr/>
            <p:nvPr/>
          </p:nvGrpSpPr>
          <p:grpSpPr>
            <a:xfrm>
              <a:off x="4389558" y="2830793"/>
              <a:ext cx="155822" cy="155818"/>
              <a:chOff x="3398698" y="3484566"/>
              <a:chExt cx="590092" cy="571501"/>
            </a:xfrm>
            <a:solidFill>
              <a:srgbClr val="0078D7"/>
            </a:solidFill>
          </p:grpSpPr>
          <p:sp>
            <p:nvSpPr>
              <p:cNvPr id="307" name="Freeform 127">
                <a:extLst>
                  <a:ext uri="{FF2B5EF4-FFF2-40B4-BE49-F238E27FC236}">
                    <a16:creationId xmlns:a16="http://schemas.microsoft.com/office/drawing/2014/main" id="{55455059-833D-4E42-A8D8-E20D6B7AD323}"/>
                  </a:ext>
                </a:extLst>
              </p:cNvPr>
              <p:cNvSpPr>
                <a:spLocks noChangeArrowheads="1"/>
              </p:cNvSpPr>
              <p:nvPr/>
            </p:nvSpPr>
            <p:spPr bwMode="auto">
              <a:xfrm>
                <a:off x="3605636" y="3484566"/>
                <a:ext cx="298450" cy="571501"/>
              </a:xfrm>
              <a:custGeom>
                <a:avLst/>
                <a:gdLst>
                  <a:gd name="T0" fmla="*/ 257 w 828"/>
                  <a:gd name="T1" fmla="*/ 1396 h 1586"/>
                  <a:gd name="T2" fmla="*/ 263 w 828"/>
                  <a:gd name="T3" fmla="*/ 1388 h 1586"/>
                  <a:gd name="T4" fmla="*/ 791 w 828"/>
                  <a:gd name="T5" fmla="*/ 251 h 1586"/>
                  <a:gd name="T6" fmla="*/ 793 w 828"/>
                  <a:gd name="T7" fmla="*/ 192 h 1586"/>
                  <a:gd name="T8" fmla="*/ 799 w 828"/>
                  <a:gd name="T9" fmla="*/ 178 h 1586"/>
                  <a:gd name="T10" fmla="*/ 743 w 828"/>
                  <a:gd name="T11" fmla="*/ 26 h 1586"/>
                  <a:gd name="T12" fmla="*/ 590 w 828"/>
                  <a:gd name="T13" fmla="*/ 79 h 1586"/>
                  <a:gd name="T14" fmla="*/ 435 w 828"/>
                  <a:gd name="T15" fmla="*/ 139 h 1586"/>
                  <a:gd name="T16" fmla="*/ 235 w 828"/>
                  <a:gd name="T17" fmla="*/ 567 h 1586"/>
                  <a:gd name="T18" fmla="*/ 249 w 828"/>
                  <a:gd name="T19" fmla="*/ 604 h 1586"/>
                  <a:gd name="T20" fmla="*/ 285 w 828"/>
                  <a:gd name="T21" fmla="*/ 590 h 1586"/>
                  <a:gd name="T22" fmla="*/ 486 w 828"/>
                  <a:gd name="T23" fmla="*/ 161 h 1586"/>
                  <a:gd name="T24" fmla="*/ 545 w 828"/>
                  <a:gd name="T25" fmla="*/ 124 h 1586"/>
                  <a:gd name="T26" fmla="*/ 539 w 828"/>
                  <a:gd name="T27" fmla="*/ 136 h 1586"/>
                  <a:gd name="T28" fmla="*/ 12 w 828"/>
                  <a:gd name="T29" fmla="*/ 1269 h 1586"/>
                  <a:gd name="T30" fmla="*/ 6 w 828"/>
                  <a:gd name="T31" fmla="*/ 1314 h 1586"/>
                  <a:gd name="T32" fmla="*/ 0 w 828"/>
                  <a:gd name="T33" fmla="*/ 1548 h 1586"/>
                  <a:gd name="T34" fmla="*/ 20 w 828"/>
                  <a:gd name="T35" fmla="*/ 1579 h 1586"/>
                  <a:gd name="T36" fmla="*/ 57 w 828"/>
                  <a:gd name="T37" fmla="*/ 1574 h 1586"/>
                  <a:gd name="T38" fmla="*/ 246 w 828"/>
                  <a:gd name="T39" fmla="*/ 1410 h 1586"/>
                  <a:gd name="T40" fmla="*/ 257 w 828"/>
                  <a:gd name="T41" fmla="*/ 1396 h 1586"/>
                  <a:gd name="T42" fmla="*/ 74 w 828"/>
                  <a:gd name="T43" fmla="*/ 1306 h 1586"/>
                  <a:gd name="T44" fmla="*/ 74 w 828"/>
                  <a:gd name="T45" fmla="*/ 1300 h 1586"/>
                  <a:gd name="T46" fmla="*/ 74 w 828"/>
                  <a:gd name="T47" fmla="*/ 1297 h 1586"/>
                  <a:gd name="T48" fmla="*/ 601 w 828"/>
                  <a:gd name="T49" fmla="*/ 167 h 1586"/>
                  <a:gd name="T50" fmla="*/ 610 w 828"/>
                  <a:gd name="T51" fmla="*/ 164 h 1586"/>
                  <a:gd name="T52" fmla="*/ 723 w 828"/>
                  <a:gd name="T53" fmla="*/ 215 h 1586"/>
                  <a:gd name="T54" fmla="*/ 726 w 828"/>
                  <a:gd name="T55" fmla="*/ 223 h 1586"/>
                  <a:gd name="T56" fmla="*/ 198 w 828"/>
                  <a:gd name="T57" fmla="*/ 1357 h 1586"/>
                  <a:gd name="T58" fmla="*/ 189 w 828"/>
                  <a:gd name="T59" fmla="*/ 1359 h 1586"/>
                  <a:gd name="T60" fmla="*/ 74 w 828"/>
                  <a:gd name="T61" fmla="*/ 1306 h 1586"/>
                  <a:gd name="T62" fmla="*/ 720 w 828"/>
                  <a:gd name="T63" fmla="*/ 76 h 1586"/>
                  <a:gd name="T64" fmla="*/ 751 w 828"/>
                  <a:gd name="T65" fmla="*/ 150 h 1586"/>
                  <a:gd name="T66" fmla="*/ 644 w 828"/>
                  <a:gd name="T67" fmla="*/ 99 h 1586"/>
                  <a:gd name="T68" fmla="*/ 720 w 828"/>
                  <a:gd name="T69" fmla="*/ 76 h 1586"/>
                  <a:gd name="T70" fmla="*/ 71 w 828"/>
                  <a:gd name="T71" fmla="*/ 1472 h 1586"/>
                  <a:gd name="T72" fmla="*/ 74 w 828"/>
                  <a:gd name="T73" fmla="*/ 1385 h 1586"/>
                  <a:gd name="T74" fmla="*/ 139 w 828"/>
                  <a:gd name="T75" fmla="*/ 1416 h 1586"/>
                  <a:gd name="T76" fmla="*/ 71 w 828"/>
                  <a:gd name="T77" fmla="*/ 1472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28" h="1586">
                    <a:moveTo>
                      <a:pt x="257" y="1396"/>
                    </a:moveTo>
                    <a:cubicBezTo>
                      <a:pt x="260" y="1393"/>
                      <a:pt x="260" y="1390"/>
                      <a:pt x="263" y="1388"/>
                    </a:cubicBezTo>
                    <a:lnTo>
                      <a:pt x="791" y="251"/>
                    </a:lnTo>
                    <a:cubicBezTo>
                      <a:pt x="799" y="232"/>
                      <a:pt x="799" y="212"/>
                      <a:pt x="793" y="192"/>
                    </a:cubicBezTo>
                    <a:lnTo>
                      <a:pt x="799" y="178"/>
                    </a:lnTo>
                    <a:cubicBezTo>
                      <a:pt x="827" y="122"/>
                      <a:pt x="802" y="51"/>
                      <a:pt x="743" y="26"/>
                    </a:cubicBezTo>
                    <a:cubicBezTo>
                      <a:pt x="686" y="0"/>
                      <a:pt x="618" y="23"/>
                      <a:pt x="590" y="79"/>
                    </a:cubicBezTo>
                    <a:cubicBezTo>
                      <a:pt x="531" y="54"/>
                      <a:pt x="460" y="79"/>
                      <a:pt x="435" y="139"/>
                    </a:cubicBezTo>
                    <a:lnTo>
                      <a:pt x="235" y="567"/>
                    </a:lnTo>
                    <a:cubicBezTo>
                      <a:pt x="229" y="582"/>
                      <a:pt x="235" y="598"/>
                      <a:pt x="249" y="604"/>
                    </a:cubicBezTo>
                    <a:cubicBezTo>
                      <a:pt x="263" y="609"/>
                      <a:pt x="280" y="604"/>
                      <a:pt x="285" y="590"/>
                    </a:cubicBezTo>
                    <a:lnTo>
                      <a:pt x="486" y="161"/>
                    </a:lnTo>
                    <a:cubicBezTo>
                      <a:pt x="497" y="139"/>
                      <a:pt x="522" y="124"/>
                      <a:pt x="545" y="124"/>
                    </a:cubicBezTo>
                    <a:cubicBezTo>
                      <a:pt x="542" y="127"/>
                      <a:pt x="539" y="130"/>
                      <a:pt x="539" y="136"/>
                    </a:cubicBezTo>
                    <a:lnTo>
                      <a:pt x="12" y="1269"/>
                    </a:lnTo>
                    <a:cubicBezTo>
                      <a:pt x="6" y="1283"/>
                      <a:pt x="3" y="1300"/>
                      <a:pt x="6" y="1314"/>
                    </a:cubicBezTo>
                    <a:lnTo>
                      <a:pt x="0" y="1548"/>
                    </a:lnTo>
                    <a:cubicBezTo>
                      <a:pt x="0" y="1563"/>
                      <a:pt x="9" y="1574"/>
                      <a:pt x="20" y="1579"/>
                    </a:cubicBezTo>
                    <a:cubicBezTo>
                      <a:pt x="31" y="1585"/>
                      <a:pt x="48" y="1582"/>
                      <a:pt x="57" y="1574"/>
                    </a:cubicBezTo>
                    <a:lnTo>
                      <a:pt x="246" y="1410"/>
                    </a:lnTo>
                    <a:cubicBezTo>
                      <a:pt x="252" y="1407"/>
                      <a:pt x="254" y="1402"/>
                      <a:pt x="257" y="1396"/>
                    </a:cubicBezTo>
                    <a:close/>
                    <a:moveTo>
                      <a:pt x="74" y="1306"/>
                    </a:moveTo>
                    <a:lnTo>
                      <a:pt x="74" y="1300"/>
                    </a:lnTo>
                    <a:cubicBezTo>
                      <a:pt x="74" y="1300"/>
                      <a:pt x="74" y="1300"/>
                      <a:pt x="74" y="1297"/>
                    </a:cubicBezTo>
                    <a:lnTo>
                      <a:pt x="601" y="167"/>
                    </a:lnTo>
                    <a:cubicBezTo>
                      <a:pt x="604" y="164"/>
                      <a:pt x="607" y="161"/>
                      <a:pt x="610" y="164"/>
                    </a:cubicBezTo>
                    <a:lnTo>
                      <a:pt x="723" y="215"/>
                    </a:lnTo>
                    <a:cubicBezTo>
                      <a:pt x="726" y="218"/>
                      <a:pt x="728" y="220"/>
                      <a:pt x="726" y="223"/>
                    </a:cubicBezTo>
                    <a:lnTo>
                      <a:pt x="198" y="1357"/>
                    </a:lnTo>
                    <a:cubicBezTo>
                      <a:pt x="195" y="1359"/>
                      <a:pt x="192" y="1362"/>
                      <a:pt x="189" y="1359"/>
                    </a:cubicBezTo>
                    <a:lnTo>
                      <a:pt x="74" y="1306"/>
                    </a:lnTo>
                    <a:close/>
                    <a:moveTo>
                      <a:pt x="720" y="76"/>
                    </a:moveTo>
                    <a:cubicBezTo>
                      <a:pt x="748" y="91"/>
                      <a:pt x="760" y="122"/>
                      <a:pt x="751" y="150"/>
                    </a:cubicBezTo>
                    <a:lnTo>
                      <a:pt x="644" y="99"/>
                    </a:lnTo>
                    <a:cubicBezTo>
                      <a:pt x="658" y="74"/>
                      <a:pt x="692" y="65"/>
                      <a:pt x="720" y="76"/>
                    </a:cubicBezTo>
                    <a:close/>
                    <a:moveTo>
                      <a:pt x="71" y="1472"/>
                    </a:moveTo>
                    <a:lnTo>
                      <a:pt x="74" y="1385"/>
                    </a:lnTo>
                    <a:lnTo>
                      <a:pt x="139" y="1416"/>
                    </a:lnTo>
                    <a:lnTo>
                      <a:pt x="71" y="1472"/>
                    </a:lnTo>
                    <a:close/>
                  </a:path>
                </a:pathLst>
              </a:custGeom>
              <a:solidFill>
                <a:srgbClr val="0078D7"/>
              </a:solidFill>
              <a:ln w="3175">
                <a:noFill/>
              </a:ln>
              <a:effectLst/>
            </p:spPr>
            <p:txBody>
              <a:bodyPr wrap="none" anchor="ctr"/>
              <a:lstStyle/>
              <a:p>
                <a:pPr algn="ctr" defTabSz="895526">
                  <a:defRPr/>
                </a:pPr>
                <a:endParaRPr lang="en-US" sz="2353" u="sng" kern="0">
                  <a:latin typeface="+mj-lt"/>
                </a:endParaRPr>
              </a:p>
            </p:txBody>
          </p:sp>
          <p:sp>
            <p:nvSpPr>
              <p:cNvPr id="308" name="Freeform 128">
                <a:extLst>
                  <a:ext uri="{FF2B5EF4-FFF2-40B4-BE49-F238E27FC236}">
                    <a16:creationId xmlns:a16="http://schemas.microsoft.com/office/drawing/2014/main" id="{14908895-6D98-4DED-B733-5AD8677C9921}"/>
                  </a:ext>
                </a:extLst>
              </p:cNvPr>
              <p:cNvSpPr>
                <a:spLocks noChangeArrowheads="1"/>
              </p:cNvSpPr>
              <p:nvPr/>
            </p:nvSpPr>
            <p:spPr bwMode="auto">
              <a:xfrm>
                <a:off x="3398698" y="3795726"/>
                <a:ext cx="257176" cy="258763"/>
              </a:xfrm>
              <a:custGeom>
                <a:avLst/>
                <a:gdLst>
                  <a:gd name="T0" fmla="*/ 432 w 715"/>
                  <a:gd name="T1" fmla="*/ 643 h 720"/>
                  <a:gd name="T2" fmla="*/ 288 w 715"/>
                  <a:gd name="T3" fmla="*/ 618 h 720"/>
                  <a:gd name="T4" fmla="*/ 149 w 715"/>
                  <a:gd name="T5" fmla="*/ 239 h 720"/>
                  <a:gd name="T6" fmla="*/ 327 w 715"/>
                  <a:gd name="T7" fmla="*/ 87 h 720"/>
                  <a:gd name="T8" fmla="*/ 657 w 715"/>
                  <a:gd name="T9" fmla="*/ 76 h 720"/>
                  <a:gd name="T10" fmla="*/ 683 w 715"/>
                  <a:gd name="T11" fmla="*/ 76 h 720"/>
                  <a:gd name="T12" fmla="*/ 714 w 715"/>
                  <a:gd name="T13" fmla="*/ 8 h 720"/>
                  <a:gd name="T14" fmla="*/ 657 w 715"/>
                  <a:gd name="T15" fmla="*/ 5 h 720"/>
                  <a:gd name="T16" fmla="*/ 305 w 715"/>
                  <a:gd name="T17" fmla="*/ 19 h 720"/>
                  <a:gd name="T18" fmla="*/ 82 w 715"/>
                  <a:gd name="T19" fmla="*/ 211 h 720"/>
                  <a:gd name="T20" fmla="*/ 254 w 715"/>
                  <a:gd name="T21" fmla="*/ 682 h 720"/>
                  <a:gd name="T22" fmla="*/ 434 w 715"/>
                  <a:gd name="T23" fmla="*/ 713 h 720"/>
                  <a:gd name="T24" fmla="*/ 465 w 715"/>
                  <a:gd name="T25" fmla="*/ 677 h 720"/>
                  <a:gd name="T26" fmla="*/ 432 w 715"/>
                  <a:gd name="T27" fmla="*/ 643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5" h="720">
                    <a:moveTo>
                      <a:pt x="432" y="643"/>
                    </a:moveTo>
                    <a:cubicBezTo>
                      <a:pt x="384" y="646"/>
                      <a:pt x="333" y="637"/>
                      <a:pt x="288" y="618"/>
                    </a:cubicBezTo>
                    <a:cubicBezTo>
                      <a:pt x="147" y="550"/>
                      <a:pt x="84" y="381"/>
                      <a:pt x="149" y="239"/>
                    </a:cubicBezTo>
                    <a:cubicBezTo>
                      <a:pt x="183" y="166"/>
                      <a:pt x="248" y="110"/>
                      <a:pt x="327" y="87"/>
                    </a:cubicBezTo>
                    <a:cubicBezTo>
                      <a:pt x="353" y="79"/>
                      <a:pt x="429" y="73"/>
                      <a:pt x="657" y="76"/>
                    </a:cubicBezTo>
                    <a:lnTo>
                      <a:pt x="683" y="76"/>
                    </a:lnTo>
                    <a:lnTo>
                      <a:pt x="714" y="8"/>
                    </a:lnTo>
                    <a:lnTo>
                      <a:pt x="657" y="5"/>
                    </a:lnTo>
                    <a:cubicBezTo>
                      <a:pt x="398" y="0"/>
                      <a:pt x="333" y="11"/>
                      <a:pt x="305" y="19"/>
                    </a:cubicBezTo>
                    <a:cubicBezTo>
                      <a:pt x="206" y="48"/>
                      <a:pt x="127" y="118"/>
                      <a:pt x="82" y="211"/>
                    </a:cubicBezTo>
                    <a:cubicBezTo>
                      <a:pt x="0" y="389"/>
                      <a:pt x="76" y="601"/>
                      <a:pt x="254" y="682"/>
                    </a:cubicBezTo>
                    <a:cubicBezTo>
                      <a:pt x="310" y="708"/>
                      <a:pt x="372" y="719"/>
                      <a:pt x="434" y="713"/>
                    </a:cubicBezTo>
                    <a:cubicBezTo>
                      <a:pt x="454" y="711"/>
                      <a:pt x="468" y="694"/>
                      <a:pt x="465" y="677"/>
                    </a:cubicBezTo>
                    <a:cubicBezTo>
                      <a:pt x="468" y="654"/>
                      <a:pt x="451" y="640"/>
                      <a:pt x="432" y="643"/>
                    </a:cubicBezTo>
                  </a:path>
                </a:pathLst>
              </a:custGeom>
              <a:grpFill/>
              <a:ln w="0">
                <a:solidFill>
                  <a:schemeClr val="bg1"/>
                </a:solidFill>
              </a:ln>
              <a:effectLst/>
            </p:spPr>
            <p:txBody>
              <a:bodyPr wrap="none" anchor="ctr"/>
              <a:lstStyle/>
              <a:p>
                <a:pPr algn="ctr" defTabSz="895526">
                  <a:defRPr/>
                </a:pPr>
                <a:endParaRPr lang="en-US" sz="2353" u="sng" kern="0">
                  <a:latin typeface="+mj-lt"/>
                </a:endParaRPr>
              </a:p>
            </p:txBody>
          </p:sp>
          <p:sp>
            <p:nvSpPr>
              <p:cNvPr id="309" name="Freeform 129">
                <a:extLst>
                  <a:ext uri="{FF2B5EF4-FFF2-40B4-BE49-F238E27FC236}">
                    <a16:creationId xmlns:a16="http://schemas.microsoft.com/office/drawing/2014/main" id="{710B7548-E1EB-454E-A796-3F607A4FDEB7}"/>
                  </a:ext>
                </a:extLst>
              </p:cNvPr>
              <p:cNvSpPr>
                <a:spLocks noChangeArrowheads="1"/>
              </p:cNvSpPr>
              <p:nvPr/>
            </p:nvSpPr>
            <p:spPr bwMode="auto">
              <a:xfrm>
                <a:off x="3791941" y="3670301"/>
                <a:ext cx="196849" cy="160338"/>
              </a:xfrm>
              <a:custGeom>
                <a:avLst/>
                <a:gdLst>
                  <a:gd name="T0" fmla="*/ 398 w 548"/>
                  <a:gd name="T1" fmla="*/ 37 h 444"/>
                  <a:gd name="T2" fmla="*/ 166 w 548"/>
                  <a:gd name="T3" fmla="*/ 74 h 444"/>
                  <a:gd name="T4" fmla="*/ 144 w 548"/>
                  <a:gd name="T5" fmla="*/ 119 h 444"/>
                  <a:gd name="T6" fmla="*/ 155 w 548"/>
                  <a:gd name="T7" fmla="*/ 136 h 444"/>
                  <a:gd name="T8" fmla="*/ 203 w 548"/>
                  <a:gd name="T9" fmla="*/ 133 h 444"/>
                  <a:gd name="T10" fmla="*/ 367 w 548"/>
                  <a:gd name="T11" fmla="*/ 99 h 444"/>
                  <a:gd name="T12" fmla="*/ 434 w 548"/>
                  <a:gd name="T13" fmla="*/ 285 h 444"/>
                  <a:gd name="T14" fmla="*/ 234 w 548"/>
                  <a:gd name="T15" fmla="*/ 369 h 444"/>
                  <a:gd name="T16" fmla="*/ 50 w 548"/>
                  <a:gd name="T17" fmla="*/ 364 h 444"/>
                  <a:gd name="T18" fmla="*/ 31 w 548"/>
                  <a:gd name="T19" fmla="*/ 364 h 444"/>
                  <a:gd name="T20" fmla="*/ 0 w 548"/>
                  <a:gd name="T21" fmla="*/ 431 h 444"/>
                  <a:gd name="T22" fmla="*/ 50 w 548"/>
                  <a:gd name="T23" fmla="*/ 434 h 444"/>
                  <a:gd name="T24" fmla="*/ 237 w 548"/>
                  <a:gd name="T25" fmla="*/ 440 h 444"/>
                  <a:gd name="T26" fmla="*/ 502 w 548"/>
                  <a:gd name="T27" fmla="*/ 317 h 444"/>
                  <a:gd name="T28" fmla="*/ 398 w 548"/>
                  <a:gd name="T29" fmla="*/ 3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8" h="444">
                    <a:moveTo>
                      <a:pt x="398" y="37"/>
                    </a:moveTo>
                    <a:cubicBezTo>
                      <a:pt x="321" y="0"/>
                      <a:pt x="228" y="17"/>
                      <a:pt x="166" y="74"/>
                    </a:cubicBezTo>
                    <a:lnTo>
                      <a:pt x="144" y="119"/>
                    </a:lnTo>
                    <a:cubicBezTo>
                      <a:pt x="146" y="125"/>
                      <a:pt x="149" y="130"/>
                      <a:pt x="155" y="136"/>
                    </a:cubicBezTo>
                    <a:cubicBezTo>
                      <a:pt x="169" y="150"/>
                      <a:pt x="192" y="147"/>
                      <a:pt x="203" y="133"/>
                    </a:cubicBezTo>
                    <a:cubicBezTo>
                      <a:pt x="242" y="88"/>
                      <a:pt x="310" y="74"/>
                      <a:pt x="367" y="99"/>
                    </a:cubicBezTo>
                    <a:cubicBezTo>
                      <a:pt x="437" y="133"/>
                      <a:pt x="468" y="215"/>
                      <a:pt x="434" y="285"/>
                    </a:cubicBezTo>
                    <a:cubicBezTo>
                      <a:pt x="400" y="358"/>
                      <a:pt x="307" y="369"/>
                      <a:pt x="234" y="369"/>
                    </a:cubicBezTo>
                    <a:cubicBezTo>
                      <a:pt x="189" y="369"/>
                      <a:pt x="127" y="366"/>
                      <a:pt x="50" y="364"/>
                    </a:cubicBezTo>
                    <a:lnTo>
                      <a:pt x="31" y="364"/>
                    </a:lnTo>
                    <a:lnTo>
                      <a:pt x="0" y="431"/>
                    </a:lnTo>
                    <a:lnTo>
                      <a:pt x="50" y="434"/>
                    </a:lnTo>
                    <a:cubicBezTo>
                      <a:pt x="127" y="437"/>
                      <a:pt x="192" y="440"/>
                      <a:pt x="237" y="440"/>
                    </a:cubicBezTo>
                    <a:cubicBezTo>
                      <a:pt x="369" y="443"/>
                      <a:pt x="463" y="400"/>
                      <a:pt x="502" y="317"/>
                    </a:cubicBezTo>
                    <a:cubicBezTo>
                      <a:pt x="547" y="212"/>
                      <a:pt x="502" y="88"/>
                      <a:pt x="398" y="37"/>
                    </a:cubicBezTo>
                  </a:path>
                </a:pathLst>
              </a:custGeom>
              <a:grpFill/>
              <a:ln w="0">
                <a:solidFill>
                  <a:schemeClr val="bg1"/>
                </a:solidFill>
              </a:ln>
              <a:effectLst/>
            </p:spPr>
            <p:txBody>
              <a:bodyPr wrap="none" anchor="ctr"/>
              <a:lstStyle/>
              <a:p>
                <a:pPr algn="ctr" defTabSz="895526">
                  <a:defRPr/>
                </a:pPr>
                <a:endParaRPr lang="en-US" sz="2353" u="sng" kern="0">
                  <a:latin typeface="+mj-lt"/>
                </a:endParaRPr>
              </a:p>
            </p:txBody>
          </p:sp>
        </p:grpSp>
        <p:pic>
          <p:nvPicPr>
            <p:cNvPr id="310" name="Graphic 309">
              <a:extLst>
                <a:ext uri="{FF2B5EF4-FFF2-40B4-BE49-F238E27FC236}">
                  <a16:creationId xmlns:a16="http://schemas.microsoft.com/office/drawing/2014/main" id="{D0702A51-0567-4037-83BE-E81BF7E40BF9}"/>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3895535" y="2813283"/>
              <a:ext cx="130118" cy="190839"/>
            </a:xfrm>
            <a:prstGeom prst="rect">
              <a:avLst/>
            </a:prstGeom>
          </p:spPr>
        </p:pic>
        <p:grpSp>
          <p:nvGrpSpPr>
            <p:cNvPr id="311" name="Graphic 305">
              <a:extLst>
                <a:ext uri="{FF2B5EF4-FFF2-40B4-BE49-F238E27FC236}">
                  <a16:creationId xmlns:a16="http://schemas.microsoft.com/office/drawing/2014/main" id="{0C9D178B-8000-4A18-9E4A-1C0F5803F54F}"/>
                </a:ext>
              </a:extLst>
            </p:cNvPr>
            <p:cNvGrpSpPr/>
            <p:nvPr/>
          </p:nvGrpSpPr>
          <p:grpSpPr>
            <a:xfrm>
              <a:off x="3473751" y="2885046"/>
              <a:ext cx="142852" cy="47312"/>
              <a:chOff x="3845953" y="3735365"/>
              <a:chExt cx="142873" cy="47319"/>
            </a:xfrm>
            <a:solidFill>
              <a:srgbClr val="0078D7"/>
            </a:solidFill>
          </p:grpSpPr>
          <p:sp>
            <p:nvSpPr>
              <p:cNvPr id="312" name="Freeform: Shape 311">
                <a:extLst>
                  <a:ext uri="{FF2B5EF4-FFF2-40B4-BE49-F238E27FC236}">
                    <a16:creationId xmlns:a16="http://schemas.microsoft.com/office/drawing/2014/main" id="{B7A2F89D-DB9C-4999-A165-06E41C2A0FC8}"/>
                  </a:ext>
                </a:extLst>
              </p:cNvPr>
              <p:cNvSpPr/>
              <p:nvPr/>
            </p:nvSpPr>
            <p:spPr>
              <a:xfrm>
                <a:off x="3864127" y="3750853"/>
                <a:ext cx="106583" cy="16287"/>
              </a:xfrm>
              <a:custGeom>
                <a:avLst/>
                <a:gdLst>
                  <a:gd name="connsiteX0" fmla="*/ 103783 w 106583"/>
                  <a:gd name="connsiteY0" fmla="*/ 0 h 16287"/>
                  <a:gd name="connsiteX1" fmla="*/ 106583 w 106583"/>
                  <a:gd name="connsiteY1" fmla="*/ 0 h 16287"/>
                  <a:gd name="connsiteX2" fmla="*/ 106583 w 106583"/>
                  <a:gd name="connsiteY2" fmla="*/ 16287 h 16287"/>
                  <a:gd name="connsiteX3" fmla="*/ 103783 w 106583"/>
                  <a:gd name="connsiteY3" fmla="*/ 16287 h 16287"/>
                  <a:gd name="connsiteX4" fmla="*/ 2800 w 106583"/>
                  <a:gd name="connsiteY4" fmla="*/ 16287 h 16287"/>
                  <a:gd name="connsiteX5" fmla="*/ 2800 w 106583"/>
                  <a:gd name="connsiteY5" fmla="*/ 0 h 16287"/>
                  <a:gd name="connsiteX6" fmla="*/ 0 w 106583"/>
                  <a:gd name="connsiteY6" fmla="*/ 0 h 16287"/>
                  <a:gd name="connsiteX7" fmla="*/ 2800 w 106583"/>
                  <a:gd name="connsiteY7" fmla="*/ 0 h 1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583" h="16287">
                    <a:moveTo>
                      <a:pt x="103783" y="0"/>
                    </a:moveTo>
                    <a:cubicBezTo>
                      <a:pt x="105330" y="0"/>
                      <a:pt x="106583" y="0"/>
                      <a:pt x="106583" y="0"/>
                    </a:cubicBezTo>
                    <a:lnTo>
                      <a:pt x="106583" y="16287"/>
                    </a:lnTo>
                    <a:cubicBezTo>
                      <a:pt x="106583" y="16287"/>
                      <a:pt x="105330" y="16287"/>
                      <a:pt x="103783" y="16287"/>
                    </a:cubicBezTo>
                    <a:lnTo>
                      <a:pt x="2800" y="16287"/>
                    </a:lnTo>
                    <a:lnTo>
                      <a:pt x="2800" y="0"/>
                    </a:lnTo>
                    <a:cubicBezTo>
                      <a:pt x="1254" y="0"/>
                      <a:pt x="0" y="0"/>
                      <a:pt x="0" y="0"/>
                    </a:cubicBezTo>
                    <a:cubicBezTo>
                      <a:pt x="0" y="0"/>
                      <a:pt x="1254" y="0"/>
                      <a:pt x="2800" y="0"/>
                    </a:cubicBezTo>
                    <a:close/>
                  </a:path>
                </a:pathLst>
              </a:custGeom>
              <a:solidFill>
                <a:srgbClr val="0078D7"/>
              </a:solidFill>
              <a:ln w="5334" cap="flat">
                <a:noFill/>
                <a:prstDash val="solid"/>
                <a:miter/>
              </a:ln>
            </p:spPr>
            <p:txBody>
              <a:bodyPr rtlCol="0" anchor="ctr"/>
              <a:lstStyle/>
              <a:p>
                <a:endParaRPr lang="en-US"/>
              </a:p>
            </p:txBody>
          </p:sp>
          <p:sp>
            <p:nvSpPr>
              <p:cNvPr id="313" name="Freeform: Shape 312">
                <a:extLst>
                  <a:ext uri="{FF2B5EF4-FFF2-40B4-BE49-F238E27FC236}">
                    <a16:creationId xmlns:a16="http://schemas.microsoft.com/office/drawing/2014/main" id="{5D7D2925-2557-4CD4-8BDB-D8314E8E34BF}"/>
                  </a:ext>
                </a:extLst>
              </p:cNvPr>
              <p:cNvSpPr/>
              <p:nvPr/>
            </p:nvSpPr>
            <p:spPr>
              <a:xfrm>
                <a:off x="3845953" y="3735365"/>
                <a:ext cx="142873" cy="47319"/>
              </a:xfrm>
              <a:custGeom>
                <a:avLst/>
                <a:gdLst>
                  <a:gd name="connsiteX0" fmla="*/ 119213 w 142873"/>
                  <a:gd name="connsiteY0" fmla="*/ 0 h 47319"/>
                  <a:gd name="connsiteX1" fmla="*/ 23660 w 142873"/>
                  <a:gd name="connsiteY1" fmla="*/ 0 h 47319"/>
                  <a:gd name="connsiteX2" fmla="*/ 0 w 142873"/>
                  <a:gd name="connsiteY2" fmla="*/ 23660 h 47319"/>
                  <a:gd name="connsiteX3" fmla="*/ 23660 w 142873"/>
                  <a:gd name="connsiteY3" fmla="*/ 47319 h 47319"/>
                  <a:gd name="connsiteX4" fmla="*/ 119213 w 142873"/>
                  <a:gd name="connsiteY4" fmla="*/ 47319 h 47319"/>
                  <a:gd name="connsiteX5" fmla="*/ 142873 w 142873"/>
                  <a:gd name="connsiteY5" fmla="*/ 23660 h 47319"/>
                  <a:gd name="connsiteX6" fmla="*/ 119213 w 142873"/>
                  <a:gd name="connsiteY6" fmla="*/ 0 h 47319"/>
                  <a:gd name="connsiteX7" fmla="*/ 133272 w 142873"/>
                  <a:gd name="connsiteY7" fmla="*/ 28974 h 47319"/>
                  <a:gd name="connsiteX8" fmla="*/ 121842 w 142873"/>
                  <a:gd name="connsiteY8" fmla="*/ 40404 h 47319"/>
                  <a:gd name="connsiteX9" fmla="*/ 20917 w 142873"/>
                  <a:gd name="connsiteY9" fmla="*/ 40404 h 47319"/>
                  <a:gd name="connsiteX10" fmla="*/ 9487 w 142873"/>
                  <a:gd name="connsiteY10" fmla="*/ 28974 h 47319"/>
                  <a:gd name="connsiteX11" fmla="*/ 9487 w 142873"/>
                  <a:gd name="connsiteY11" fmla="*/ 18288 h 47319"/>
                  <a:gd name="connsiteX12" fmla="*/ 20917 w 142873"/>
                  <a:gd name="connsiteY12" fmla="*/ 6858 h 47319"/>
                  <a:gd name="connsiteX13" fmla="*/ 121899 w 142873"/>
                  <a:gd name="connsiteY13" fmla="*/ 6858 h 47319"/>
                  <a:gd name="connsiteX14" fmla="*/ 133329 w 142873"/>
                  <a:gd name="connsiteY14" fmla="*/ 18288 h 47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873" h="47319">
                    <a:moveTo>
                      <a:pt x="119213" y="0"/>
                    </a:moveTo>
                    <a:lnTo>
                      <a:pt x="23660" y="0"/>
                    </a:lnTo>
                    <a:cubicBezTo>
                      <a:pt x="10593" y="0"/>
                      <a:pt x="0" y="10593"/>
                      <a:pt x="0" y="23660"/>
                    </a:cubicBezTo>
                    <a:cubicBezTo>
                      <a:pt x="0" y="36726"/>
                      <a:pt x="10593" y="47319"/>
                      <a:pt x="23660" y="47319"/>
                    </a:cubicBezTo>
                    <a:lnTo>
                      <a:pt x="119213" y="47319"/>
                    </a:lnTo>
                    <a:cubicBezTo>
                      <a:pt x="132280" y="47319"/>
                      <a:pt x="142873" y="36726"/>
                      <a:pt x="142873" y="23660"/>
                    </a:cubicBezTo>
                    <a:cubicBezTo>
                      <a:pt x="142873" y="10593"/>
                      <a:pt x="132280" y="0"/>
                      <a:pt x="119213" y="0"/>
                    </a:cubicBezTo>
                    <a:close/>
                    <a:moveTo>
                      <a:pt x="133272" y="28974"/>
                    </a:moveTo>
                    <a:cubicBezTo>
                      <a:pt x="133272" y="35287"/>
                      <a:pt x="128155" y="40404"/>
                      <a:pt x="121842" y="40404"/>
                    </a:cubicBezTo>
                    <a:lnTo>
                      <a:pt x="20917" y="40404"/>
                    </a:lnTo>
                    <a:cubicBezTo>
                      <a:pt x="14604" y="40404"/>
                      <a:pt x="9487" y="35287"/>
                      <a:pt x="9487" y="28974"/>
                    </a:cubicBezTo>
                    <a:lnTo>
                      <a:pt x="9487" y="18288"/>
                    </a:lnTo>
                    <a:cubicBezTo>
                      <a:pt x="9487" y="11975"/>
                      <a:pt x="14604" y="6858"/>
                      <a:pt x="20917" y="6858"/>
                    </a:cubicBezTo>
                    <a:lnTo>
                      <a:pt x="121899" y="6858"/>
                    </a:lnTo>
                    <a:cubicBezTo>
                      <a:pt x="128212" y="6858"/>
                      <a:pt x="133329" y="11975"/>
                      <a:pt x="133329" y="18288"/>
                    </a:cubicBezTo>
                    <a:close/>
                  </a:path>
                </a:pathLst>
              </a:custGeom>
              <a:solidFill>
                <a:srgbClr val="0078D7"/>
              </a:solidFill>
              <a:ln w="5334" cap="flat">
                <a:noFill/>
                <a:prstDash val="solid"/>
                <a:miter/>
              </a:ln>
            </p:spPr>
            <p:txBody>
              <a:bodyPr rtlCol="0" anchor="ctr"/>
              <a:lstStyle/>
              <a:p>
                <a:endParaRPr lang="en-US"/>
              </a:p>
            </p:txBody>
          </p:sp>
        </p:grpSp>
        <p:sp>
          <p:nvSpPr>
            <p:cNvPr id="317" name="Graphic 7">
              <a:extLst>
                <a:ext uri="{FF2B5EF4-FFF2-40B4-BE49-F238E27FC236}">
                  <a16:creationId xmlns:a16="http://schemas.microsoft.com/office/drawing/2014/main" id="{3DA6278C-01C6-4B96-AA00-C94EFED93C12}"/>
                </a:ext>
              </a:extLst>
            </p:cNvPr>
            <p:cNvSpPr/>
            <p:nvPr/>
          </p:nvSpPr>
          <p:spPr>
            <a:xfrm>
              <a:off x="3676674" y="2824014"/>
              <a:ext cx="158790" cy="169376"/>
            </a:xfrm>
            <a:custGeom>
              <a:avLst/>
              <a:gdLst>
                <a:gd name="connsiteX0" fmla="*/ 109728 w 205740"/>
                <a:gd name="connsiteY0" fmla="*/ 27432 h 219456"/>
                <a:gd name="connsiteX1" fmla="*/ 96012 w 205740"/>
                <a:gd name="connsiteY1" fmla="*/ 27432 h 219456"/>
                <a:gd name="connsiteX2" fmla="*/ 96012 w 205740"/>
                <a:gd name="connsiteY2" fmla="*/ 0 h 219456"/>
                <a:gd name="connsiteX3" fmla="*/ 109728 w 205740"/>
                <a:gd name="connsiteY3" fmla="*/ 0 h 219456"/>
                <a:gd name="connsiteX4" fmla="*/ 44714 w 205740"/>
                <a:gd name="connsiteY4" fmla="*/ 54315 h 219456"/>
                <a:gd name="connsiteX5" fmla="*/ 25306 w 205740"/>
                <a:gd name="connsiteY5" fmla="*/ 34907 h 219456"/>
                <a:gd name="connsiteX6" fmla="*/ 34907 w 205740"/>
                <a:gd name="connsiteY6" fmla="*/ 25306 h 219456"/>
                <a:gd name="connsiteX7" fmla="*/ 54315 w 205740"/>
                <a:gd name="connsiteY7" fmla="*/ 44714 h 219456"/>
                <a:gd name="connsiteX8" fmla="*/ 0 w 205740"/>
                <a:gd name="connsiteY8" fmla="*/ 96012 h 219456"/>
                <a:gd name="connsiteX9" fmla="*/ 27432 w 205740"/>
                <a:gd name="connsiteY9" fmla="*/ 96012 h 219456"/>
                <a:gd name="connsiteX10" fmla="*/ 27432 w 205740"/>
                <a:gd name="connsiteY10" fmla="*/ 109728 h 219456"/>
                <a:gd name="connsiteX11" fmla="*/ 0 w 205740"/>
                <a:gd name="connsiteY11" fmla="*/ 109728 h 219456"/>
                <a:gd name="connsiteX12" fmla="*/ 205740 w 205740"/>
                <a:gd name="connsiteY12" fmla="*/ 96012 h 219456"/>
                <a:gd name="connsiteX13" fmla="*/ 205740 w 205740"/>
                <a:gd name="connsiteY13" fmla="*/ 109728 h 219456"/>
                <a:gd name="connsiteX14" fmla="*/ 178308 w 205740"/>
                <a:gd name="connsiteY14" fmla="*/ 109728 h 219456"/>
                <a:gd name="connsiteX15" fmla="*/ 178308 w 205740"/>
                <a:gd name="connsiteY15" fmla="*/ 96012 h 219456"/>
                <a:gd name="connsiteX16" fmla="*/ 161026 w 205740"/>
                <a:gd name="connsiteY16" fmla="*/ 54315 h 219456"/>
                <a:gd name="connsiteX17" fmla="*/ 151425 w 205740"/>
                <a:gd name="connsiteY17" fmla="*/ 44714 h 219456"/>
                <a:gd name="connsiteX18" fmla="*/ 170833 w 205740"/>
                <a:gd name="connsiteY18" fmla="*/ 25306 h 219456"/>
                <a:gd name="connsiteX19" fmla="*/ 180434 w 205740"/>
                <a:gd name="connsiteY19" fmla="*/ 34907 h 219456"/>
                <a:gd name="connsiteX20" fmla="*/ 102870 w 205740"/>
                <a:gd name="connsiteY20" fmla="*/ 54864 h 219456"/>
                <a:gd name="connsiteX21" fmla="*/ 121524 w 205740"/>
                <a:gd name="connsiteY21" fmla="*/ 58636 h 219456"/>
                <a:gd name="connsiteX22" fmla="*/ 136749 w 205740"/>
                <a:gd name="connsiteY22" fmla="*/ 68923 h 219456"/>
                <a:gd name="connsiteX23" fmla="*/ 147036 w 205740"/>
                <a:gd name="connsiteY23" fmla="*/ 84148 h 219456"/>
                <a:gd name="connsiteX24" fmla="*/ 150876 w 205740"/>
                <a:gd name="connsiteY24" fmla="*/ 102870 h 219456"/>
                <a:gd name="connsiteX25" fmla="*/ 150876 w 205740"/>
                <a:gd name="connsiteY25" fmla="*/ 178308 h 219456"/>
                <a:gd name="connsiteX26" fmla="*/ 164592 w 205740"/>
                <a:gd name="connsiteY26" fmla="*/ 178308 h 219456"/>
                <a:gd name="connsiteX27" fmla="*/ 164592 w 205740"/>
                <a:gd name="connsiteY27" fmla="*/ 192024 h 219456"/>
                <a:gd name="connsiteX28" fmla="*/ 137160 w 205740"/>
                <a:gd name="connsiteY28" fmla="*/ 192024 h 219456"/>
                <a:gd name="connsiteX29" fmla="*/ 137160 w 205740"/>
                <a:gd name="connsiteY29" fmla="*/ 219456 h 219456"/>
                <a:gd name="connsiteX30" fmla="*/ 123444 w 205740"/>
                <a:gd name="connsiteY30" fmla="*/ 219456 h 219456"/>
                <a:gd name="connsiteX31" fmla="*/ 123444 w 205740"/>
                <a:gd name="connsiteY31" fmla="*/ 192024 h 219456"/>
                <a:gd name="connsiteX32" fmla="*/ 82296 w 205740"/>
                <a:gd name="connsiteY32" fmla="*/ 192024 h 219456"/>
                <a:gd name="connsiteX33" fmla="*/ 82296 w 205740"/>
                <a:gd name="connsiteY33" fmla="*/ 219456 h 219456"/>
                <a:gd name="connsiteX34" fmla="*/ 68580 w 205740"/>
                <a:gd name="connsiteY34" fmla="*/ 219456 h 219456"/>
                <a:gd name="connsiteX35" fmla="*/ 68580 w 205740"/>
                <a:gd name="connsiteY35" fmla="*/ 192024 h 219456"/>
                <a:gd name="connsiteX36" fmla="*/ 41148 w 205740"/>
                <a:gd name="connsiteY36" fmla="*/ 192024 h 219456"/>
                <a:gd name="connsiteX37" fmla="*/ 41148 w 205740"/>
                <a:gd name="connsiteY37" fmla="*/ 178308 h 219456"/>
                <a:gd name="connsiteX38" fmla="*/ 54864 w 205740"/>
                <a:gd name="connsiteY38" fmla="*/ 178308 h 219456"/>
                <a:gd name="connsiteX39" fmla="*/ 54864 w 205740"/>
                <a:gd name="connsiteY39" fmla="*/ 102870 h 219456"/>
                <a:gd name="connsiteX40" fmla="*/ 58636 w 205740"/>
                <a:gd name="connsiteY40" fmla="*/ 84216 h 219456"/>
                <a:gd name="connsiteX41" fmla="*/ 68923 w 205740"/>
                <a:gd name="connsiteY41" fmla="*/ 68991 h 219456"/>
                <a:gd name="connsiteX42" fmla="*/ 84148 w 205740"/>
                <a:gd name="connsiteY42" fmla="*/ 58704 h 219456"/>
                <a:gd name="connsiteX43" fmla="*/ 102870 w 205740"/>
                <a:gd name="connsiteY43" fmla="*/ 54864 h 219456"/>
                <a:gd name="connsiteX44" fmla="*/ 137160 w 205740"/>
                <a:gd name="connsiteY44" fmla="*/ 178308 h 219456"/>
                <a:gd name="connsiteX45" fmla="*/ 137160 w 205740"/>
                <a:gd name="connsiteY45" fmla="*/ 102870 h 219456"/>
                <a:gd name="connsiteX46" fmla="*/ 134485 w 205740"/>
                <a:gd name="connsiteY46" fmla="*/ 89565 h 219456"/>
                <a:gd name="connsiteX47" fmla="*/ 127079 w 205740"/>
                <a:gd name="connsiteY47" fmla="*/ 78730 h 219456"/>
                <a:gd name="connsiteX48" fmla="*/ 116175 w 205740"/>
                <a:gd name="connsiteY48" fmla="*/ 71392 h 219456"/>
                <a:gd name="connsiteX49" fmla="*/ 102870 w 205740"/>
                <a:gd name="connsiteY49" fmla="*/ 68580 h 219456"/>
                <a:gd name="connsiteX50" fmla="*/ 89565 w 205740"/>
                <a:gd name="connsiteY50" fmla="*/ 71255 h 219456"/>
                <a:gd name="connsiteX51" fmla="*/ 78730 w 205740"/>
                <a:gd name="connsiteY51" fmla="*/ 78661 h 219456"/>
                <a:gd name="connsiteX52" fmla="*/ 71392 w 205740"/>
                <a:gd name="connsiteY52" fmla="*/ 89565 h 219456"/>
                <a:gd name="connsiteX53" fmla="*/ 68580 w 205740"/>
                <a:gd name="connsiteY53" fmla="*/ 102870 h 219456"/>
                <a:gd name="connsiteX54" fmla="*/ 68580 w 205740"/>
                <a:gd name="connsiteY54" fmla="*/ 178308 h 21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05740" h="219456">
                  <a:moveTo>
                    <a:pt x="109728" y="27432"/>
                  </a:moveTo>
                  <a:lnTo>
                    <a:pt x="96012" y="27432"/>
                  </a:lnTo>
                  <a:lnTo>
                    <a:pt x="96012" y="0"/>
                  </a:lnTo>
                  <a:lnTo>
                    <a:pt x="109728" y="0"/>
                  </a:lnTo>
                  <a:close/>
                  <a:moveTo>
                    <a:pt x="44714" y="54315"/>
                  </a:moveTo>
                  <a:lnTo>
                    <a:pt x="25306" y="34907"/>
                  </a:lnTo>
                  <a:lnTo>
                    <a:pt x="34907" y="25306"/>
                  </a:lnTo>
                  <a:lnTo>
                    <a:pt x="54315" y="44714"/>
                  </a:lnTo>
                  <a:close/>
                  <a:moveTo>
                    <a:pt x="0" y="96012"/>
                  </a:moveTo>
                  <a:lnTo>
                    <a:pt x="27432" y="96012"/>
                  </a:lnTo>
                  <a:lnTo>
                    <a:pt x="27432" y="109728"/>
                  </a:lnTo>
                  <a:lnTo>
                    <a:pt x="0" y="109728"/>
                  </a:lnTo>
                  <a:close/>
                  <a:moveTo>
                    <a:pt x="205740" y="96012"/>
                  </a:moveTo>
                  <a:lnTo>
                    <a:pt x="205740" y="109728"/>
                  </a:lnTo>
                  <a:lnTo>
                    <a:pt x="178308" y="109728"/>
                  </a:lnTo>
                  <a:lnTo>
                    <a:pt x="178308" y="96012"/>
                  </a:lnTo>
                  <a:close/>
                  <a:moveTo>
                    <a:pt x="161026" y="54315"/>
                  </a:moveTo>
                  <a:lnTo>
                    <a:pt x="151425" y="44714"/>
                  </a:lnTo>
                  <a:lnTo>
                    <a:pt x="170833" y="25306"/>
                  </a:lnTo>
                  <a:lnTo>
                    <a:pt x="180434" y="34907"/>
                  </a:lnTo>
                  <a:close/>
                  <a:moveTo>
                    <a:pt x="102870" y="54864"/>
                  </a:moveTo>
                  <a:cubicBezTo>
                    <a:pt x="109284" y="54802"/>
                    <a:pt x="115638" y="56087"/>
                    <a:pt x="121524" y="58636"/>
                  </a:cubicBezTo>
                  <a:cubicBezTo>
                    <a:pt x="127214" y="61053"/>
                    <a:pt x="132383" y="64546"/>
                    <a:pt x="136749" y="68923"/>
                  </a:cubicBezTo>
                  <a:cubicBezTo>
                    <a:pt x="141109" y="73302"/>
                    <a:pt x="144600" y="78469"/>
                    <a:pt x="147036" y="84148"/>
                  </a:cubicBezTo>
                  <a:cubicBezTo>
                    <a:pt x="149558" y="90068"/>
                    <a:pt x="150864" y="96435"/>
                    <a:pt x="150876" y="102870"/>
                  </a:cubicBezTo>
                  <a:lnTo>
                    <a:pt x="150876" y="178308"/>
                  </a:lnTo>
                  <a:lnTo>
                    <a:pt x="164592" y="178308"/>
                  </a:lnTo>
                  <a:lnTo>
                    <a:pt x="164592" y="192024"/>
                  </a:lnTo>
                  <a:lnTo>
                    <a:pt x="137160" y="192024"/>
                  </a:lnTo>
                  <a:lnTo>
                    <a:pt x="137160" y="219456"/>
                  </a:lnTo>
                  <a:lnTo>
                    <a:pt x="123444" y="219456"/>
                  </a:lnTo>
                  <a:lnTo>
                    <a:pt x="123444" y="192024"/>
                  </a:lnTo>
                  <a:lnTo>
                    <a:pt x="82296" y="192024"/>
                  </a:lnTo>
                  <a:lnTo>
                    <a:pt x="82296" y="219456"/>
                  </a:lnTo>
                  <a:lnTo>
                    <a:pt x="68580" y="219456"/>
                  </a:lnTo>
                  <a:lnTo>
                    <a:pt x="68580" y="192024"/>
                  </a:lnTo>
                  <a:lnTo>
                    <a:pt x="41148" y="192024"/>
                  </a:lnTo>
                  <a:lnTo>
                    <a:pt x="41148" y="178308"/>
                  </a:lnTo>
                  <a:lnTo>
                    <a:pt x="54864" y="178308"/>
                  </a:lnTo>
                  <a:lnTo>
                    <a:pt x="54864" y="102870"/>
                  </a:lnTo>
                  <a:cubicBezTo>
                    <a:pt x="54808" y="96457"/>
                    <a:pt x="56093" y="90103"/>
                    <a:pt x="58636" y="84216"/>
                  </a:cubicBezTo>
                  <a:cubicBezTo>
                    <a:pt x="61053" y="78526"/>
                    <a:pt x="64546" y="73357"/>
                    <a:pt x="68923" y="68991"/>
                  </a:cubicBezTo>
                  <a:cubicBezTo>
                    <a:pt x="73302" y="64631"/>
                    <a:pt x="78469" y="61141"/>
                    <a:pt x="84148" y="58704"/>
                  </a:cubicBezTo>
                  <a:cubicBezTo>
                    <a:pt x="90068" y="56182"/>
                    <a:pt x="96435" y="54876"/>
                    <a:pt x="102870" y="54864"/>
                  </a:cubicBezTo>
                  <a:close/>
                  <a:moveTo>
                    <a:pt x="137160" y="178308"/>
                  </a:moveTo>
                  <a:lnTo>
                    <a:pt x="137160" y="102870"/>
                  </a:lnTo>
                  <a:cubicBezTo>
                    <a:pt x="137188" y="98299"/>
                    <a:pt x="136278" y="93771"/>
                    <a:pt x="134485" y="89565"/>
                  </a:cubicBezTo>
                  <a:cubicBezTo>
                    <a:pt x="132746" y="85506"/>
                    <a:pt x="130231" y="81824"/>
                    <a:pt x="127079" y="78730"/>
                  </a:cubicBezTo>
                  <a:cubicBezTo>
                    <a:pt x="123890" y="75679"/>
                    <a:pt x="120202" y="73197"/>
                    <a:pt x="116175" y="71392"/>
                  </a:cubicBezTo>
                  <a:cubicBezTo>
                    <a:pt x="111989" y="69523"/>
                    <a:pt x="107454" y="68565"/>
                    <a:pt x="102870" y="68580"/>
                  </a:cubicBezTo>
                  <a:cubicBezTo>
                    <a:pt x="98299" y="68552"/>
                    <a:pt x="93771" y="69462"/>
                    <a:pt x="89565" y="71255"/>
                  </a:cubicBezTo>
                  <a:cubicBezTo>
                    <a:pt x="85506" y="72994"/>
                    <a:pt x="81824" y="75509"/>
                    <a:pt x="78730" y="78661"/>
                  </a:cubicBezTo>
                  <a:cubicBezTo>
                    <a:pt x="75679" y="81850"/>
                    <a:pt x="73197" y="85538"/>
                    <a:pt x="71392" y="89565"/>
                  </a:cubicBezTo>
                  <a:cubicBezTo>
                    <a:pt x="69523" y="93751"/>
                    <a:pt x="68565" y="98286"/>
                    <a:pt x="68580" y="102870"/>
                  </a:cubicBezTo>
                  <a:lnTo>
                    <a:pt x="68580" y="178308"/>
                  </a:lnTo>
                  <a:close/>
                </a:path>
              </a:pathLst>
            </a:custGeom>
            <a:solidFill>
              <a:srgbClr val="0078D7"/>
            </a:solidFill>
            <a:ln w="3175" cap="flat">
              <a:solidFill>
                <a:schemeClr val="bg1"/>
              </a:solidFill>
              <a:prstDash val="solid"/>
              <a:miter/>
            </a:ln>
          </p:spPr>
          <p:txBody>
            <a:bodyPr rtlCol="0" anchor="ctr"/>
            <a:lstStyle/>
            <a:p>
              <a:endParaRPr lang="en-US"/>
            </a:p>
          </p:txBody>
        </p:sp>
        <p:grpSp>
          <p:nvGrpSpPr>
            <p:cNvPr id="343" name="Group 342">
              <a:extLst>
                <a:ext uri="{FF2B5EF4-FFF2-40B4-BE49-F238E27FC236}">
                  <a16:creationId xmlns:a16="http://schemas.microsoft.com/office/drawing/2014/main" id="{6EDB6320-97B4-4F29-9506-0F506CCE401A}"/>
                </a:ext>
              </a:extLst>
            </p:cNvPr>
            <p:cNvGrpSpPr/>
            <p:nvPr/>
          </p:nvGrpSpPr>
          <p:grpSpPr>
            <a:xfrm flipV="1">
              <a:off x="4085724" y="2833251"/>
              <a:ext cx="124030" cy="150902"/>
              <a:chOff x="4097631" y="3944743"/>
              <a:chExt cx="213406" cy="91450"/>
            </a:xfrm>
            <a:solidFill>
              <a:srgbClr val="0078D7"/>
            </a:solidFill>
          </p:grpSpPr>
          <p:sp>
            <p:nvSpPr>
              <p:cNvPr id="344" name="Rectangle 343">
                <a:extLst>
                  <a:ext uri="{FF2B5EF4-FFF2-40B4-BE49-F238E27FC236}">
                    <a16:creationId xmlns:a16="http://schemas.microsoft.com/office/drawing/2014/main" id="{31E7DB89-6BC9-4BFF-B121-68C1CEA1383A}"/>
                  </a:ext>
                </a:extLst>
              </p:cNvPr>
              <p:cNvSpPr/>
              <p:nvPr/>
            </p:nvSpPr>
            <p:spPr bwMode="auto">
              <a:xfrm flipV="1">
                <a:off x="4097631" y="3944744"/>
                <a:ext cx="45718" cy="2852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45" name="Rectangle 344">
                <a:extLst>
                  <a:ext uri="{FF2B5EF4-FFF2-40B4-BE49-F238E27FC236}">
                    <a16:creationId xmlns:a16="http://schemas.microsoft.com/office/drawing/2014/main" id="{0426ACA0-740A-4511-9C4A-3C04F78F1DDA}"/>
                  </a:ext>
                </a:extLst>
              </p:cNvPr>
              <p:cNvSpPr/>
              <p:nvPr/>
            </p:nvSpPr>
            <p:spPr bwMode="auto">
              <a:xfrm flipV="1">
                <a:off x="4153527" y="3944751"/>
                <a:ext cx="45718" cy="484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46" name="Rectangle 345">
                <a:extLst>
                  <a:ext uri="{FF2B5EF4-FFF2-40B4-BE49-F238E27FC236}">
                    <a16:creationId xmlns:a16="http://schemas.microsoft.com/office/drawing/2014/main" id="{A8DCBA29-358D-46BA-B60E-0A5FC9B35315}"/>
                  </a:ext>
                </a:extLst>
              </p:cNvPr>
              <p:cNvSpPr/>
              <p:nvPr/>
            </p:nvSpPr>
            <p:spPr bwMode="auto">
              <a:xfrm flipV="1">
                <a:off x="4209547" y="3944743"/>
                <a:ext cx="45718" cy="6867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47" name="Rectangle 346">
                <a:extLst>
                  <a:ext uri="{FF2B5EF4-FFF2-40B4-BE49-F238E27FC236}">
                    <a16:creationId xmlns:a16="http://schemas.microsoft.com/office/drawing/2014/main" id="{6E56B0EB-D803-4B97-9D61-C68F31F27A86}"/>
                  </a:ext>
                </a:extLst>
              </p:cNvPr>
              <p:cNvSpPr/>
              <p:nvPr/>
            </p:nvSpPr>
            <p:spPr bwMode="auto">
              <a:xfrm flipV="1">
                <a:off x="4265319" y="3944753"/>
                <a:ext cx="45718" cy="914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348" name="Group 347">
            <a:extLst>
              <a:ext uri="{FF2B5EF4-FFF2-40B4-BE49-F238E27FC236}">
                <a16:creationId xmlns:a16="http://schemas.microsoft.com/office/drawing/2014/main" id="{34580F67-FE34-41D0-8928-2AAD9BBB0AA2}"/>
              </a:ext>
              <a:ext uri="{C183D7F6-B498-43B3-948B-1728B52AA6E4}">
                <adec:decorative xmlns:adec="http://schemas.microsoft.com/office/drawing/2017/decorative" val="1"/>
              </a:ext>
            </a:extLst>
          </p:cNvPr>
          <p:cNvGrpSpPr/>
          <p:nvPr/>
        </p:nvGrpSpPr>
        <p:grpSpPr>
          <a:xfrm>
            <a:off x="7177868" y="1435971"/>
            <a:ext cx="1230984" cy="735480"/>
            <a:chOff x="8196867" y="4006163"/>
            <a:chExt cx="1231159" cy="735584"/>
          </a:xfrm>
        </p:grpSpPr>
        <p:grpSp>
          <p:nvGrpSpPr>
            <p:cNvPr id="349" name="laptop" descr="laptop">
              <a:extLst>
                <a:ext uri="{FF2B5EF4-FFF2-40B4-BE49-F238E27FC236}">
                  <a16:creationId xmlns:a16="http://schemas.microsoft.com/office/drawing/2014/main" id="{E061F765-6F63-4D16-9B0D-E916969AC152}"/>
                </a:ext>
              </a:extLst>
            </p:cNvPr>
            <p:cNvGrpSpPr/>
            <p:nvPr/>
          </p:nvGrpSpPr>
          <p:grpSpPr>
            <a:xfrm>
              <a:off x="8196867" y="4006163"/>
              <a:ext cx="1231159" cy="735584"/>
              <a:chOff x="5886301" y="1225565"/>
              <a:chExt cx="382588" cy="228586"/>
            </a:xfrm>
            <a:solidFill>
              <a:schemeClr val="bg1">
                <a:lumMod val="95000"/>
              </a:schemeClr>
            </a:solidFill>
            <a:effectLst>
              <a:outerShdw blurRad="76200" dir="18900000" sy="23000" kx="-1200000" algn="bl" rotWithShape="0">
                <a:prstClr val="black">
                  <a:alpha val="20000"/>
                </a:prstClr>
              </a:outerShdw>
            </a:effectLst>
          </p:grpSpPr>
          <p:sp>
            <p:nvSpPr>
              <p:cNvPr id="351" name="Freeform 51">
                <a:extLst>
                  <a:ext uri="{FF2B5EF4-FFF2-40B4-BE49-F238E27FC236}">
                    <a16:creationId xmlns:a16="http://schemas.microsoft.com/office/drawing/2014/main" id="{3941DBB1-6C5F-4F0F-837B-AFBE7B8C0906}"/>
                  </a:ext>
                </a:extLst>
              </p:cNvPr>
              <p:cNvSpPr>
                <a:spLocks/>
              </p:cNvSpPr>
              <p:nvPr/>
            </p:nvSpPr>
            <p:spPr bwMode="auto">
              <a:xfrm>
                <a:off x="5886301" y="1362476"/>
                <a:ext cx="382588" cy="91675"/>
              </a:xfrm>
              <a:custGeom>
                <a:avLst/>
                <a:gdLst>
                  <a:gd name="T0" fmla="*/ 203 w 241"/>
                  <a:gd name="T1" fmla="*/ 61 h 122"/>
                  <a:gd name="T2" fmla="*/ 120 w 241"/>
                  <a:gd name="T3" fmla="*/ 0 h 122"/>
                  <a:gd name="T4" fmla="*/ 39 w 241"/>
                  <a:gd name="T5" fmla="*/ 61 h 122"/>
                  <a:gd name="T6" fmla="*/ 38 w 241"/>
                  <a:gd name="T7" fmla="*/ 61 h 122"/>
                  <a:gd name="T8" fmla="*/ 0 w 241"/>
                  <a:gd name="T9" fmla="*/ 122 h 122"/>
                  <a:gd name="T10" fmla="*/ 241 w 241"/>
                  <a:gd name="T11" fmla="*/ 122 h 122"/>
                  <a:gd name="T12" fmla="*/ 203 w 241"/>
                  <a:gd name="T13" fmla="*/ 61 h 122"/>
                </a:gdLst>
                <a:ahLst/>
                <a:cxnLst>
                  <a:cxn ang="0">
                    <a:pos x="T0" y="T1"/>
                  </a:cxn>
                  <a:cxn ang="0">
                    <a:pos x="T2" y="T3"/>
                  </a:cxn>
                  <a:cxn ang="0">
                    <a:pos x="T4" y="T5"/>
                  </a:cxn>
                  <a:cxn ang="0">
                    <a:pos x="T6" y="T7"/>
                  </a:cxn>
                  <a:cxn ang="0">
                    <a:pos x="T8" y="T9"/>
                  </a:cxn>
                  <a:cxn ang="0">
                    <a:pos x="T10" y="T11"/>
                  </a:cxn>
                  <a:cxn ang="0">
                    <a:pos x="T12" y="T13"/>
                  </a:cxn>
                </a:cxnLst>
                <a:rect l="0" t="0" r="r" b="b"/>
                <a:pathLst>
                  <a:path w="241" h="122">
                    <a:moveTo>
                      <a:pt x="203" y="61"/>
                    </a:moveTo>
                    <a:lnTo>
                      <a:pt x="120" y="0"/>
                    </a:lnTo>
                    <a:lnTo>
                      <a:pt x="39" y="61"/>
                    </a:lnTo>
                    <a:lnTo>
                      <a:pt x="38" y="61"/>
                    </a:lnTo>
                    <a:lnTo>
                      <a:pt x="0" y="122"/>
                    </a:lnTo>
                    <a:lnTo>
                      <a:pt x="241" y="122"/>
                    </a:lnTo>
                    <a:lnTo>
                      <a:pt x="203" y="61"/>
                    </a:lnTo>
                    <a:close/>
                  </a:path>
                </a:pathLst>
              </a:custGeom>
              <a:solidFill>
                <a:schemeClr val="bg1">
                  <a:lumMod val="85000"/>
                </a:schemeClr>
              </a:solidFill>
              <a:ln>
                <a:noFill/>
              </a:ln>
            </p:spPr>
            <p:txBody>
              <a:bodyPr vert="horz" wrap="square" lIns="89629" tIns="44815" rIns="89629" bIns="44815" numCol="1" anchor="t" anchorCtr="0" compatLnSpc="1">
                <a:prstTxWarp prst="textNoShape">
                  <a:avLst/>
                </a:prstTxWarp>
              </a:bodyPr>
              <a:lstStyle/>
              <a:p>
                <a:pPr algn="ctr" defTabSz="896214" fontAlgn="base"/>
                <a:endParaRPr lang="en-US" sz="1667">
                  <a:solidFill>
                    <a:srgbClr val="505050"/>
                  </a:solidFill>
                  <a:latin typeface="Segoe UI"/>
                </a:endParaRPr>
              </a:p>
            </p:txBody>
          </p:sp>
          <p:sp>
            <p:nvSpPr>
              <p:cNvPr id="352" name="Freeform 52">
                <a:extLst>
                  <a:ext uri="{FF2B5EF4-FFF2-40B4-BE49-F238E27FC236}">
                    <a16:creationId xmlns:a16="http://schemas.microsoft.com/office/drawing/2014/main" id="{5762FFB7-9524-43DF-9123-B91AA8E18AB4}"/>
                  </a:ext>
                </a:extLst>
              </p:cNvPr>
              <p:cNvSpPr>
                <a:spLocks/>
              </p:cNvSpPr>
              <p:nvPr/>
            </p:nvSpPr>
            <p:spPr bwMode="auto">
              <a:xfrm>
                <a:off x="5946776" y="1225565"/>
                <a:ext cx="261938" cy="182563"/>
              </a:xfrm>
              <a:custGeom>
                <a:avLst/>
                <a:gdLst>
                  <a:gd name="T0" fmla="*/ 149 w 156"/>
                  <a:gd name="T1" fmla="*/ 0 h 109"/>
                  <a:gd name="T2" fmla="*/ 6 w 156"/>
                  <a:gd name="T3" fmla="*/ 0 h 109"/>
                  <a:gd name="T4" fmla="*/ 0 w 156"/>
                  <a:gd name="T5" fmla="*/ 6 h 109"/>
                  <a:gd name="T6" fmla="*/ 0 w 156"/>
                  <a:gd name="T7" fmla="*/ 109 h 109"/>
                  <a:gd name="T8" fmla="*/ 0 w 156"/>
                  <a:gd name="T9" fmla="*/ 108 h 109"/>
                  <a:gd name="T10" fmla="*/ 0 w 156"/>
                  <a:gd name="T11" fmla="*/ 109 h 109"/>
                  <a:gd name="T12" fmla="*/ 156 w 156"/>
                  <a:gd name="T13" fmla="*/ 109 h 109"/>
                  <a:gd name="T14" fmla="*/ 156 w 156"/>
                  <a:gd name="T15" fmla="*/ 6 h 109"/>
                  <a:gd name="T16" fmla="*/ 149 w 156"/>
                  <a:gd name="T17"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09">
                    <a:moveTo>
                      <a:pt x="149" y="0"/>
                    </a:moveTo>
                    <a:cubicBezTo>
                      <a:pt x="6" y="0"/>
                      <a:pt x="6" y="0"/>
                      <a:pt x="6" y="0"/>
                    </a:cubicBezTo>
                    <a:cubicBezTo>
                      <a:pt x="3" y="0"/>
                      <a:pt x="0" y="3"/>
                      <a:pt x="0" y="6"/>
                    </a:cubicBezTo>
                    <a:cubicBezTo>
                      <a:pt x="0" y="109"/>
                      <a:pt x="0" y="109"/>
                      <a:pt x="0" y="109"/>
                    </a:cubicBezTo>
                    <a:cubicBezTo>
                      <a:pt x="0" y="108"/>
                      <a:pt x="0" y="108"/>
                      <a:pt x="0" y="108"/>
                    </a:cubicBezTo>
                    <a:cubicBezTo>
                      <a:pt x="0" y="109"/>
                      <a:pt x="0" y="109"/>
                      <a:pt x="0" y="109"/>
                    </a:cubicBezTo>
                    <a:cubicBezTo>
                      <a:pt x="156" y="109"/>
                      <a:pt x="156" y="109"/>
                      <a:pt x="156" y="109"/>
                    </a:cubicBezTo>
                    <a:cubicBezTo>
                      <a:pt x="156" y="6"/>
                      <a:pt x="156" y="6"/>
                      <a:pt x="156" y="6"/>
                    </a:cubicBezTo>
                    <a:cubicBezTo>
                      <a:pt x="156" y="3"/>
                      <a:pt x="153" y="0"/>
                      <a:pt x="14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endParaRPr lang="en-US" sz="1667">
                  <a:solidFill>
                    <a:srgbClr val="505050"/>
                  </a:solidFill>
                  <a:latin typeface="Segoe UI"/>
                </a:endParaRPr>
              </a:p>
            </p:txBody>
          </p:sp>
        </p:grpSp>
        <p:sp>
          <p:nvSpPr>
            <p:cNvPr id="350" name="TextBox 349">
              <a:extLst>
                <a:ext uri="{FF2B5EF4-FFF2-40B4-BE49-F238E27FC236}">
                  <a16:creationId xmlns:a16="http://schemas.microsoft.com/office/drawing/2014/main" id="{E60641C7-5E02-4F95-B10D-97BC35E0681A}"/>
                </a:ext>
              </a:extLst>
            </p:cNvPr>
            <p:cNvSpPr txBox="1"/>
            <p:nvPr/>
          </p:nvSpPr>
          <p:spPr>
            <a:xfrm>
              <a:off x="8505011" y="4120227"/>
              <a:ext cx="614870" cy="423830"/>
            </a:xfrm>
            <a:prstGeom prst="rect">
              <a:avLst/>
            </a:prstGeom>
            <a:noFill/>
          </p:spPr>
          <p:txBody>
            <a:bodyPr wrap="square" lIns="0" tIns="0" rIns="0" bIns="0" rtlCol="0" anchor="ctr">
              <a:spAutoFit/>
            </a:bodyPr>
            <a:lstStyle/>
            <a:p>
              <a:pPr algn="ctr">
                <a:lnSpc>
                  <a:spcPct val="90000"/>
                </a:lnSpc>
                <a:spcAft>
                  <a:spcPts val="600"/>
                </a:spcAft>
              </a:pPr>
              <a:r>
                <a:rPr lang="en-US" sz="1000" b="1" cap="all">
                  <a:solidFill>
                    <a:schemeClr val="bg1">
                      <a:lumMod val="85000"/>
                    </a:schemeClr>
                  </a:solidFill>
                  <a:cs typeface="Segoe UI Semibold" panose="020B0702040204020203" pitchFamily="34" charset="0"/>
                </a:rPr>
                <a:t>Image Coming Soon</a:t>
              </a:r>
            </a:p>
          </p:txBody>
        </p:sp>
      </p:grpSp>
      <p:pic>
        <p:nvPicPr>
          <p:cNvPr id="353" name="Content Placeholder 7">
            <a:extLst>
              <a:ext uri="{FF2B5EF4-FFF2-40B4-BE49-F238E27FC236}">
                <a16:creationId xmlns:a16="http://schemas.microsoft.com/office/drawing/2014/main" id="{CA0E9ECF-142D-42C2-9565-6EC4575C2ABD}"/>
              </a:ext>
              <a:ext uri="{C183D7F6-B498-43B3-948B-1728B52AA6E4}">
                <adec:decorative xmlns:adec="http://schemas.microsoft.com/office/drawing/2017/decorative" val="1"/>
              </a:ext>
            </a:extLst>
          </p:cNvPr>
          <p:cNvPicPr>
            <a:picLocks noChangeAspect="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930180" y="1245058"/>
            <a:ext cx="1516760" cy="1037457"/>
          </a:xfrm>
          <a:prstGeom prst="rect">
            <a:avLst/>
          </a:prstGeom>
          <a:effectLst>
            <a:outerShdw blurRad="76200" dir="18900000" sy="23000" kx="-1200000" algn="bl" rotWithShape="0">
              <a:prstClr val="black">
                <a:alpha val="20000"/>
              </a:prstClr>
            </a:outerShdw>
          </a:effectLst>
        </p:spPr>
      </p:pic>
      <p:pic>
        <p:nvPicPr>
          <p:cNvPr id="354" name="Content Placeholder 125">
            <a:extLst>
              <a:ext uri="{FF2B5EF4-FFF2-40B4-BE49-F238E27FC236}">
                <a16:creationId xmlns:a16="http://schemas.microsoft.com/office/drawing/2014/main" id="{203335C6-ACF2-4955-9489-F9861E8D5699}"/>
              </a:ext>
              <a:ext uri="{C183D7F6-B498-43B3-948B-1728B52AA6E4}">
                <adec:decorative xmlns:adec="http://schemas.microsoft.com/office/drawing/2017/decorative" val="1"/>
              </a:ext>
            </a:extLst>
          </p:cNvPr>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8012491" y="3738941"/>
            <a:ext cx="1326021" cy="885241"/>
          </a:xfrm>
          <a:prstGeom prst="rect">
            <a:avLst/>
          </a:prstGeom>
          <a:effectLst>
            <a:outerShdw blurRad="76200" dir="18900000" sy="23000" kx="-1200000" algn="bl" rotWithShape="0">
              <a:prstClr val="black">
                <a:alpha val="20000"/>
              </a:prstClr>
            </a:outerShdw>
          </a:effectLst>
        </p:spPr>
      </p:pic>
      <p:sp>
        <p:nvSpPr>
          <p:cNvPr id="355" name="Stopwatch_E916">
            <a:extLst>
              <a:ext uri="{FF2B5EF4-FFF2-40B4-BE49-F238E27FC236}">
                <a16:creationId xmlns:a16="http://schemas.microsoft.com/office/drawing/2014/main" id="{16198E44-06A7-43B4-B49E-2010FAF51578}"/>
              </a:ext>
              <a:ext uri="{C183D7F6-B498-43B3-948B-1728B52AA6E4}">
                <adec:decorative xmlns:adec="http://schemas.microsoft.com/office/drawing/2017/decorative" val="1"/>
              </a:ext>
            </a:extLst>
          </p:cNvPr>
          <p:cNvSpPr>
            <a:spLocks noChangeAspect="1" noEditPoints="1"/>
          </p:cNvSpPr>
          <p:nvPr/>
        </p:nvSpPr>
        <p:spPr bwMode="auto">
          <a:xfrm>
            <a:off x="8197933" y="5158749"/>
            <a:ext cx="135176" cy="152317"/>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6350" cap="sq">
            <a:solidFill>
              <a:srgbClr val="0078D7"/>
            </a:solidFill>
            <a:prstDash val="solid"/>
            <a:miter lim="800000"/>
            <a:headEnd/>
            <a:tailEnd/>
          </a:ln>
        </p:spPr>
        <p:txBody>
          <a:bodyPr vert="horz" wrap="square" lIns="89591" tIns="44795" rIns="89591" bIns="44795" numCol="1" anchor="t" anchorCtr="0" compatLnSpc="1">
            <a:prstTxWarp prst="textNoShape">
              <a:avLst/>
            </a:prstTxWarp>
          </a:bodyPr>
          <a:lstStyle/>
          <a:p>
            <a:pPr defTabSz="913791">
              <a:defRPr/>
            </a:pPr>
            <a:endParaRPr lang="en-US" sz="1960">
              <a:latin typeface="Segoe UI Semibold"/>
            </a:endParaRPr>
          </a:p>
        </p:txBody>
      </p:sp>
      <p:sp>
        <p:nvSpPr>
          <p:cNvPr id="356" name="Freeform 110">
            <a:extLst>
              <a:ext uri="{FF2B5EF4-FFF2-40B4-BE49-F238E27FC236}">
                <a16:creationId xmlns:a16="http://schemas.microsoft.com/office/drawing/2014/main" id="{EE2B16B9-A43B-4431-99DD-3DC47E5A8503}"/>
              </a:ext>
              <a:ext uri="{C183D7F6-B498-43B3-948B-1728B52AA6E4}">
                <adec:decorative xmlns:adec="http://schemas.microsoft.com/office/drawing/2017/decorative" val="1"/>
              </a:ext>
            </a:extLst>
          </p:cNvPr>
          <p:cNvSpPr>
            <a:spLocks noChangeAspect="1" noEditPoints="1"/>
          </p:cNvSpPr>
          <p:nvPr/>
        </p:nvSpPr>
        <p:spPr bwMode="black">
          <a:xfrm>
            <a:off x="7771721" y="5158749"/>
            <a:ext cx="87595" cy="164280"/>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rgbClr val="0078D7"/>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36" tIns="140509" rIns="175636" bIns="140509" numCol="1" spcCol="0" rtlCol="0" fromWordArt="0" anchor="t" anchorCtr="0" forceAA="0" compatLnSpc="1">
            <a:prstTxWarp prst="textNoShape">
              <a:avLst/>
            </a:prstTxWarp>
            <a:noAutofit/>
          </a:bodyPr>
          <a:lstStyle/>
          <a:p>
            <a:pPr algn="ctr" defTabSz="895235" fontAlgn="base">
              <a:spcBef>
                <a:spcPct val="0"/>
              </a:spcBef>
              <a:spcAft>
                <a:spcPct val="0"/>
              </a:spcAft>
              <a:defRPr/>
            </a:pPr>
            <a:endParaRPr lang="en-US" sz="1960">
              <a:solidFill>
                <a:schemeClr val="tx1"/>
              </a:solidFill>
              <a:latin typeface="Segoe UI"/>
              <a:ea typeface="Segoe UI" pitchFamily="34" charset="0"/>
              <a:cs typeface="Segoe UI" pitchFamily="34" charset="0"/>
            </a:endParaRPr>
          </a:p>
        </p:txBody>
      </p:sp>
      <p:pic>
        <p:nvPicPr>
          <p:cNvPr id="357" name="Graphic 356">
            <a:extLst>
              <a:ext uri="{FF2B5EF4-FFF2-40B4-BE49-F238E27FC236}">
                <a16:creationId xmlns:a16="http://schemas.microsoft.com/office/drawing/2014/main" id="{BE0D77BA-A57E-43EC-B2C7-41FDA1848C40}"/>
              </a:ext>
              <a:ext uri="{C183D7F6-B498-43B3-948B-1728B52AA6E4}">
                <adec:decorative xmlns:adec="http://schemas.microsoft.com/office/drawing/2017/decorative" val="1"/>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7937423" y="5158748"/>
            <a:ext cx="178252" cy="169274"/>
          </a:xfrm>
          <a:prstGeom prst="rect">
            <a:avLst/>
          </a:prstGeom>
        </p:spPr>
      </p:pic>
      <p:grpSp>
        <p:nvGrpSpPr>
          <p:cNvPr id="358" name="Group 357">
            <a:extLst>
              <a:ext uri="{FF2B5EF4-FFF2-40B4-BE49-F238E27FC236}">
                <a16:creationId xmlns:a16="http://schemas.microsoft.com/office/drawing/2014/main" id="{743A45D8-213D-4A60-B286-D6817C6410A5}"/>
              </a:ext>
              <a:ext uri="{C183D7F6-B498-43B3-948B-1728B52AA6E4}">
                <adec:decorative xmlns:adec="http://schemas.microsoft.com/office/drawing/2017/decorative" val="1"/>
              </a:ext>
            </a:extLst>
          </p:cNvPr>
          <p:cNvGrpSpPr/>
          <p:nvPr/>
        </p:nvGrpSpPr>
        <p:grpSpPr>
          <a:xfrm>
            <a:off x="9470196" y="5175185"/>
            <a:ext cx="155822" cy="155818"/>
            <a:chOff x="3398698" y="3484566"/>
            <a:chExt cx="590092" cy="571501"/>
          </a:xfrm>
          <a:solidFill>
            <a:srgbClr val="0078D7"/>
          </a:solidFill>
        </p:grpSpPr>
        <p:sp>
          <p:nvSpPr>
            <p:cNvPr id="359" name="Freeform 127">
              <a:extLst>
                <a:ext uri="{FF2B5EF4-FFF2-40B4-BE49-F238E27FC236}">
                  <a16:creationId xmlns:a16="http://schemas.microsoft.com/office/drawing/2014/main" id="{80122D29-5EA8-4096-87D6-E1F856631060}"/>
                </a:ext>
              </a:extLst>
            </p:cNvPr>
            <p:cNvSpPr>
              <a:spLocks noChangeArrowheads="1"/>
            </p:cNvSpPr>
            <p:nvPr/>
          </p:nvSpPr>
          <p:spPr bwMode="auto">
            <a:xfrm>
              <a:off x="3605636" y="3484566"/>
              <a:ext cx="298450" cy="571501"/>
            </a:xfrm>
            <a:custGeom>
              <a:avLst/>
              <a:gdLst>
                <a:gd name="T0" fmla="*/ 257 w 828"/>
                <a:gd name="T1" fmla="*/ 1396 h 1586"/>
                <a:gd name="T2" fmla="*/ 263 w 828"/>
                <a:gd name="T3" fmla="*/ 1388 h 1586"/>
                <a:gd name="T4" fmla="*/ 791 w 828"/>
                <a:gd name="T5" fmla="*/ 251 h 1586"/>
                <a:gd name="T6" fmla="*/ 793 w 828"/>
                <a:gd name="T7" fmla="*/ 192 h 1586"/>
                <a:gd name="T8" fmla="*/ 799 w 828"/>
                <a:gd name="T9" fmla="*/ 178 h 1586"/>
                <a:gd name="T10" fmla="*/ 743 w 828"/>
                <a:gd name="T11" fmla="*/ 26 h 1586"/>
                <a:gd name="T12" fmla="*/ 590 w 828"/>
                <a:gd name="T13" fmla="*/ 79 h 1586"/>
                <a:gd name="T14" fmla="*/ 435 w 828"/>
                <a:gd name="T15" fmla="*/ 139 h 1586"/>
                <a:gd name="T16" fmla="*/ 235 w 828"/>
                <a:gd name="T17" fmla="*/ 567 h 1586"/>
                <a:gd name="T18" fmla="*/ 249 w 828"/>
                <a:gd name="T19" fmla="*/ 604 h 1586"/>
                <a:gd name="T20" fmla="*/ 285 w 828"/>
                <a:gd name="T21" fmla="*/ 590 h 1586"/>
                <a:gd name="T22" fmla="*/ 486 w 828"/>
                <a:gd name="T23" fmla="*/ 161 h 1586"/>
                <a:gd name="T24" fmla="*/ 545 w 828"/>
                <a:gd name="T25" fmla="*/ 124 h 1586"/>
                <a:gd name="T26" fmla="*/ 539 w 828"/>
                <a:gd name="T27" fmla="*/ 136 h 1586"/>
                <a:gd name="T28" fmla="*/ 12 w 828"/>
                <a:gd name="T29" fmla="*/ 1269 h 1586"/>
                <a:gd name="T30" fmla="*/ 6 w 828"/>
                <a:gd name="T31" fmla="*/ 1314 h 1586"/>
                <a:gd name="T32" fmla="*/ 0 w 828"/>
                <a:gd name="T33" fmla="*/ 1548 h 1586"/>
                <a:gd name="T34" fmla="*/ 20 w 828"/>
                <a:gd name="T35" fmla="*/ 1579 h 1586"/>
                <a:gd name="T36" fmla="*/ 57 w 828"/>
                <a:gd name="T37" fmla="*/ 1574 h 1586"/>
                <a:gd name="T38" fmla="*/ 246 w 828"/>
                <a:gd name="T39" fmla="*/ 1410 h 1586"/>
                <a:gd name="T40" fmla="*/ 257 w 828"/>
                <a:gd name="T41" fmla="*/ 1396 h 1586"/>
                <a:gd name="T42" fmla="*/ 74 w 828"/>
                <a:gd name="T43" fmla="*/ 1306 h 1586"/>
                <a:gd name="T44" fmla="*/ 74 w 828"/>
                <a:gd name="T45" fmla="*/ 1300 h 1586"/>
                <a:gd name="T46" fmla="*/ 74 w 828"/>
                <a:gd name="T47" fmla="*/ 1297 h 1586"/>
                <a:gd name="T48" fmla="*/ 601 w 828"/>
                <a:gd name="T49" fmla="*/ 167 h 1586"/>
                <a:gd name="T50" fmla="*/ 610 w 828"/>
                <a:gd name="T51" fmla="*/ 164 h 1586"/>
                <a:gd name="T52" fmla="*/ 723 w 828"/>
                <a:gd name="T53" fmla="*/ 215 h 1586"/>
                <a:gd name="T54" fmla="*/ 726 w 828"/>
                <a:gd name="T55" fmla="*/ 223 h 1586"/>
                <a:gd name="T56" fmla="*/ 198 w 828"/>
                <a:gd name="T57" fmla="*/ 1357 h 1586"/>
                <a:gd name="T58" fmla="*/ 189 w 828"/>
                <a:gd name="T59" fmla="*/ 1359 h 1586"/>
                <a:gd name="T60" fmla="*/ 74 w 828"/>
                <a:gd name="T61" fmla="*/ 1306 h 1586"/>
                <a:gd name="T62" fmla="*/ 720 w 828"/>
                <a:gd name="T63" fmla="*/ 76 h 1586"/>
                <a:gd name="T64" fmla="*/ 751 w 828"/>
                <a:gd name="T65" fmla="*/ 150 h 1586"/>
                <a:gd name="T66" fmla="*/ 644 w 828"/>
                <a:gd name="T67" fmla="*/ 99 h 1586"/>
                <a:gd name="T68" fmla="*/ 720 w 828"/>
                <a:gd name="T69" fmla="*/ 76 h 1586"/>
                <a:gd name="T70" fmla="*/ 71 w 828"/>
                <a:gd name="T71" fmla="*/ 1472 h 1586"/>
                <a:gd name="T72" fmla="*/ 74 w 828"/>
                <a:gd name="T73" fmla="*/ 1385 h 1586"/>
                <a:gd name="T74" fmla="*/ 139 w 828"/>
                <a:gd name="T75" fmla="*/ 1416 h 1586"/>
                <a:gd name="T76" fmla="*/ 71 w 828"/>
                <a:gd name="T77" fmla="*/ 1472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28" h="1586">
                  <a:moveTo>
                    <a:pt x="257" y="1396"/>
                  </a:moveTo>
                  <a:cubicBezTo>
                    <a:pt x="260" y="1393"/>
                    <a:pt x="260" y="1390"/>
                    <a:pt x="263" y="1388"/>
                  </a:cubicBezTo>
                  <a:lnTo>
                    <a:pt x="791" y="251"/>
                  </a:lnTo>
                  <a:cubicBezTo>
                    <a:pt x="799" y="232"/>
                    <a:pt x="799" y="212"/>
                    <a:pt x="793" y="192"/>
                  </a:cubicBezTo>
                  <a:lnTo>
                    <a:pt x="799" y="178"/>
                  </a:lnTo>
                  <a:cubicBezTo>
                    <a:pt x="827" y="122"/>
                    <a:pt x="802" y="51"/>
                    <a:pt x="743" y="26"/>
                  </a:cubicBezTo>
                  <a:cubicBezTo>
                    <a:pt x="686" y="0"/>
                    <a:pt x="618" y="23"/>
                    <a:pt x="590" y="79"/>
                  </a:cubicBezTo>
                  <a:cubicBezTo>
                    <a:pt x="531" y="54"/>
                    <a:pt x="460" y="79"/>
                    <a:pt x="435" y="139"/>
                  </a:cubicBezTo>
                  <a:lnTo>
                    <a:pt x="235" y="567"/>
                  </a:lnTo>
                  <a:cubicBezTo>
                    <a:pt x="229" y="582"/>
                    <a:pt x="235" y="598"/>
                    <a:pt x="249" y="604"/>
                  </a:cubicBezTo>
                  <a:cubicBezTo>
                    <a:pt x="263" y="609"/>
                    <a:pt x="280" y="604"/>
                    <a:pt x="285" y="590"/>
                  </a:cubicBezTo>
                  <a:lnTo>
                    <a:pt x="486" y="161"/>
                  </a:lnTo>
                  <a:cubicBezTo>
                    <a:pt x="497" y="139"/>
                    <a:pt x="522" y="124"/>
                    <a:pt x="545" y="124"/>
                  </a:cubicBezTo>
                  <a:cubicBezTo>
                    <a:pt x="542" y="127"/>
                    <a:pt x="539" y="130"/>
                    <a:pt x="539" y="136"/>
                  </a:cubicBezTo>
                  <a:lnTo>
                    <a:pt x="12" y="1269"/>
                  </a:lnTo>
                  <a:cubicBezTo>
                    <a:pt x="6" y="1283"/>
                    <a:pt x="3" y="1300"/>
                    <a:pt x="6" y="1314"/>
                  </a:cubicBezTo>
                  <a:lnTo>
                    <a:pt x="0" y="1548"/>
                  </a:lnTo>
                  <a:cubicBezTo>
                    <a:pt x="0" y="1563"/>
                    <a:pt x="9" y="1574"/>
                    <a:pt x="20" y="1579"/>
                  </a:cubicBezTo>
                  <a:cubicBezTo>
                    <a:pt x="31" y="1585"/>
                    <a:pt x="48" y="1582"/>
                    <a:pt x="57" y="1574"/>
                  </a:cubicBezTo>
                  <a:lnTo>
                    <a:pt x="246" y="1410"/>
                  </a:lnTo>
                  <a:cubicBezTo>
                    <a:pt x="252" y="1407"/>
                    <a:pt x="254" y="1402"/>
                    <a:pt x="257" y="1396"/>
                  </a:cubicBezTo>
                  <a:close/>
                  <a:moveTo>
                    <a:pt x="74" y="1306"/>
                  </a:moveTo>
                  <a:lnTo>
                    <a:pt x="74" y="1300"/>
                  </a:lnTo>
                  <a:cubicBezTo>
                    <a:pt x="74" y="1300"/>
                    <a:pt x="74" y="1300"/>
                    <a:pt x="74" y="1297"/>
                  </a:cubicBezTo>
                  <a:lnTo>
                    <a:pt x="601" y="167"/>
                  </a:lnTo>
                  <a:cubicBezTo>
                    <a:pt x="604" y="164"/>
                    <a:pt x="607" y="161"/>
                    <a:pt x="610" y="164"/>
                  </a:cubicBezTo>
                  <a:lnTo>
                    <a:pt x="723" y="215"/>
                  </a:lnTo>
                  <a:cubicBezTo>
                    <a:pt x="726" y="218"/>
                    <a:pt x="728" y="220"/>
                    <a:pt x="726" y="223"/>
                  </a:cubicBezTo>
                  <a:lnTo>
                    <a:pt x="198" y="1357"/>
                  </a:lnTo>
                  <a:cubicBezTo>
                    <a:pt x="195" y="1359"/>
                    <a:pt x="192" y="1362"/>
                    <a:pt x="189" y="1359"/>
                  </a:cubicBezTo>
                  <a:lnTo>
                    <a:pt x="74" y="1306"/>
                  </a:lnTo>
                  <a:close/>
                  <a:moveTo>
                    <a:pt x="720" y="76"/>
                  </a:moveTo>
                  <a:cubicBezTo>
                    <a:pt x="748" y="91"/>
                    <a:pt x="760" y="122"/>
                    <a:pt x="751" y="150"/>
                  </a:cubicBezTo>
                  <a:lnTo>
                    <a:pt x="644" y="99"/>
                  </a:lnTo>
                  <a:cubicBezTo>
                    <a:pt x="658" y="74"/>
                    <a:pt x="692" y="65"/>
                    <a:pt x="720" y="76"/>
                  </a:cubicBezTo>
                  <a:close/>
                  <a:moveTo>
                    <a:pt x="71" y="1472"/>
                  </a:moveTo>
                  <a:lnTo>
                    <a:pt x="74" y="1385"/>
                  </a:lnTo>
                  <a:lnTo>
                    <a:pt x="139" y="1416"/>
                  </a:lnTo>
                  <a:lnTo>
                    <a:pt x="71" y="1472"/>
                  </a:lnTo>
                  <a:close/>
                </a:path>
              </a:pathLst>
            </a:custGeom>
            <a:solidFill>
              <a:srgbClr val="0078D7"/>
            </a:solidFill>
            <a:ln w="3175">
              <a:noFill/>
            </a:ln>
            <a:effectLst/>
          </p:spPr>
          <p:txBody>
            <a:bodyPr wrap="none" anchor="ctr"/>
            <a:lstStyle/>
            <a:p>
              <a:pPr algn="ctr" defTabSz="895526">
                <a:defRPr/>
              </a:pPr>
              <a:endParaRPr lang="en-US" sz="2353" u="sng" kern="0">
                <a:latin typeface="+mj-lt"/>
              </a:endParaRPr>
            </a:p>
          </p:txBody>
        </p:sp>
        <p:sp>
          <p:nvSpPr>
            <p:cNvPr id="360" name="Freeform 128">
              <a:extLst>
                <a:ext uri="{FF2B5EF4-FFF2-40B4-BE49-F238E27FC236}">
                  <a16:creationId xmlns:a16="http://schemas.microsoft.com/office/drawing/2014/main" id="{11C43656-CCFB-42EF-B887-7FD06336AB64}"/>
                </a:ext>
              </a:extLst>
            </p:cNvPr>
            <p:cNvSpPr>
              <a:spLocks noChangeArrowheads="1"/>
            </p:cNvSpPr>
            <p:nvPr/>
          </p:nvSpPr>
          <p:spPr bwMode="auto">
            <a:xfrm>
              <a:off x="3398698" y="3795726"/>
              <a:ext cx="257176" cy="258763"/>
            </a:xfrm>
            <a:custGeom>
              <a:avLst/>
              <a:gdLst>
                <a:gd name="T0" fmla="*/ 432 w 715"/>
                <a:gd name="T1" fmla="*/ 643 h 720"/>
                <a:gd name="T2" fmla="*/ 288 w 715"/>
                <a:gd name="T3" fmla="*/ 618 h 720"/>
                <a:gd name="T4" fmla="*/ 149 w 715"/>
                <a:gd name="T5" fmla="*/ 239 h 720"/>
                <a:gd name="T6" fmla="*/ 327 w 715"/>
                <a:gd name="T7" fmla="*/ 87 h 720"/>
                <a:gd name="T8" fmla="*/ 657 w 715"/>
                <a:gd name="T9" fmla="*/ 76 h 720"/>
                <a:gd name="T10" fmla="*/ 683 w 715"/>
                <a:gd name="T11" fmla="*/ 76 h 720"/>
                <a:gd name="T12" fmla="*/ 714 w 715"/>
                <a:gd name="T13" fmla="*/ 8 h 720"/>
                <a:gd name="T14" fmla="*/ 657 w 715"/>
                <a:gd name="T15" fmla="*/ 5 h 720"/>
                <a:gd name="T16" fmla="*/ 305 w 715"/>
                <a:gd name="T17" fmla="*/ 19 h 720"/>
                <a:gd name="T18" fmla="*/ 82 w 715"/>
                <a:gd name="T19" fmla="*/ 211 h 720"/>
                <a:gd name="T20" fmla="*/ 254 w 715"/>
                <a:gd name="T21" fmla="*/ 682 h 720"/>
                <a:gd name="T22" fmla="*/ 434 w 715"/>
                <a:gd name="T23" fmla="*/ 713 h 720"/>
                <a:gd name="T24" fmla="*/ 465 w 715"/>
                <a:gd name="T25" fmla="*/ 677 h 720"/>
                <a:gd name="T26" fmla="*/ 432 w 715"/>
                <a:gd name="T27" fmla="*/ 643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5" h="720">
                  <a:moveTo>
                    <a:pt x="432" y="643"/>
                  </a:moveTo>
                  <a:cubicBezTo>
                    <a:pt x="384" y="646"/>
                    <a:pt x="333" y="637"/>
                    <a:pt x="288" y="618"/>
                  </a:cubicBezTo>
                  <a:cubicBezTo>
                    <a:pt x="147" y="550"/>
                    <a:pt x="84" y="381"/>
                    <a:pt x="149" y="239"/>
                  </a:cubicBezTo>
                  <a:cubicBezTo>
                    <a:pt x="183" y="166"/>
                    <a:pt x="248" y="110"/>
                    <a:pt x="327" y="87"/>
                  </a:cubicBezTo>
                  <a:cubicBezTo>
                    <a:pt x="353" y="79"/>
                    <a:pt x="429" y="73"/>
                    <a:pt x="657" y="76"/>
                  </a:cubicBezTo>
                  <a:lnTo>
                    <a:pt x="683" y="76"/>
                  </a:lnTo>
                  <a:lnTo>
                    <a:pt x="714" y="8"/>
                  </a:lnTo>
                  <a:lnTo>
                    <a:pt x="657" y="5"/>
                  </a:lnTo>
                  <a:cubicBezTo>
                    <a:pt x="398" y="0"/>
                    <a:pt x="333" y="11"/>
                    <a:pt x="305" y="19"/>
                  </a:cubicBezTo>
                  <a:cubicBezTo>
                    <a:pt x="206" y="48"/>
                    <a:pt x="127" y="118"/>
                    <a:pt x="82" y="211"/>
                  </a:cubicBezTo>
                  <a:cubicBezTo>
                    <a:pt x="0" y="389"/>
                    <a:pt x="76" y="601"/>
                    <a:pt x="254" y="682"/>
                  </a:cubicBezTo>
                  <a:cubicBezTo>
                    <a:pt x="310" y="708"/>
                    <a:pt x="372" y="719"/>
                    <a:pt x="434" y="713"/>
                  </a:cubicBezTo>
                  <a:cubicBezTo>
                    <a:pt x="454" y="711"/>
                    <a:pt x="468" y="694"/>
                    <a:pt x="465" y="677"/>
                  </a:cubicBezTo>
                  <a:cubicBezTo>
                    <a:pt x="468" y="654"/>
                    <a:pt x="451" y="640"/>
                    <a:pt x="432" y="643"/>
                  </a:cubicBezTo>
                </a:path>
              </a:pathLst>
            </a:custGeom>
            <a:grpFill/>
            <a:ln w="0">
              <a:solidFill>
                <a:schemeClr val="bg1"/>
              </a:solidFill>
            </a:ln>
            <a:effectLst/>
          </p:spPr>
          <p:txBody>
            <a:bodyPr wrap="none" anchor="ctr"/>
            <a:lstStyle/>
            <a:p>
              <a:pPr algn="ctr" defTabSz="895526">
                <a:defRPr/>
              </a:pPr>
              <a:endParaRPr lang="en-US" sz="2353" u="sng" kern="0">
                <a:latin typeface="+mj-lt"/>
              </a:endParaRPr>
            </a:p>
          </p:txBody>
        </p:sp>
        <p:sp>
          <p:nvSpPr>
            <p:cNvPr id="361" name="Freeform 129">
              <a:extLst>
                <a:ext uri="{FF2B5EF4-FFF2-40B4-BE49-F238E27FC236}">
                  <a16:creationId xmlns:a16="http://schemas.microsoft.com/office/drawing/2014/main" id="{8427426F-AFE9-4A3B-B125-BF3E864A334C}"/>
                </a:ext>
              </a:extLst>
            </p:cNvPr>
            <p:cNvSpPr>
              <a:spLocks noChangeArrowheads="1"/>
            </p:cNvSpPr>
            <p:nvPr/>
          </p:nvSpPr>
          <p:spPr bwMode="auto">
            <a:xfrm>
              <a:off x="3791941" y="3670301"/>
              <a:ext cx="196849" cy="160338"/>
            </a:xfrm>
            <a:custGeom>
              <a:avLst/>
              <a:gdLst>
                <a:gd name="T0" fmla="*/ 398 w 548"/>
                <a:gd name="T1" fmla="*/ 37 h 444"/>
                <a:gd name="T2" fmla="*/ 166 w 548"/>
                <a:gd name="T3" fmla="*/ 74 h 444"/>
                <a:gd name="T4" fmla="*/ 144 w 548"/>
                <a:gd name="T5" fmla="*/ 119 h 444"/>
                <a:gd name="T6" fmla="*/ 155 w 548"/>
                <a:gd name="T7" fmla="*/ 136 h 444"/>
                <a:gd name="T8" fmla="*/ 203 w 548"/>
                <a:gd name="T9" fmla="*/ 133 h 444"/>
                <a:gd name="T10" fmla="*/ 367 w 548"/>
                <a:gd name="T11" fmla="*/ 99 h 444"/>
                <a:gd name="T12" fmla="*/ 434 w 548"/>
                <a:gd name="T13" fmla="*/ 285 h 444"/>
                <a:gd name="T14" fmla="*/ 234 w 548"/>
                <a:gd name="T15" fmla="*/ 369 h 444"/>
                <a:gd name="T16" fmla="*/ 50 w 548"/>
                <a:gd name="T17" fmla="*/ 364 h 444"/>
                <a:gd name="T18" fmla="*/ 31 w 548"/>
                <a:gd name="T19" fmla="*/ 364 h 444"/>
                <a:gd name="T20" fmla="*/ 0 w 548"/>
                <a:gd name="T21" fmla="*/ 431 h 444"/>
                <a:gd name="T22" fmla="*/ 50 w 548"/>
                <a:gd name="T23" fmla="*/ 434 h 444"/>
                <a:gd name="T24" fmla="*/ 237 w 548"/>
                <a:gd name="T25" fmla="*/ 440 h 444"/>
                <a:gd name="T26" fmla="*/ 502 w 548"/>
                <a:gd name="T27" fmla="*/ 317 h 444"/>
                <a:gd name="T28" fmla="*/ 398 w 548"/>
                <a:gd name="T29" fmla="*/ 3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8" h="444">
                  <a:moveTo>
                    <a:pt x="398" y="37"/>
                  </a:moveTo>
                  <a:cubicBezTo>
                    <a:pt x="321" y="0"/>
                    <a:pt x="228" y="17"/>
                    <a:pt x="166" y="74"/>
                  </a:cubicBezTo>
                  <a:lnTo>
                    <a:pt x="144" y="119"/>
                  </a:lnTo>
                  <a:cubicBezTo>
                    <a:pt x="146" y="125"/>
                    <a:pt x="149" y="130"/>
                    <a:pt x="155" y="136"/>
                  </a:cubicBezTo>
                  <a:cubicBezTo>
                    <a:pt x="169" y="150"/>
                    <a:pt x="192" y="147"/>
                    <a:pt x="203" y="133"/>
                  </a:cubicBezTo>
                  <a:cubicBezTo>
                    <a:pt x="242" y="88"/>
                    <a:pt x="310" y="74"/>
                    <a:pt x="367" y="99"/>
                  </a:cubicBezTo>
                  <a:cubicBezTo>
                    <a:pt x="437" y="133"/>
                    <a:pt x="468" y="215"/>
                    <a:pt x="434" y="285"/>
                  </a:cubicBezTo>
                  <a:cubicBezTo>
                    <a:pt x="400" y="358"/>
                    <a:pt x="307" y="369"/>
                    <a:pt x="234" y="369"/>
                  </a:cubicBezTo>
                  <a:cubicBezTo>
                    <a:pt x="189" y="369"/>
                    <a:pt x="127" y="366"/>
                    <a:pt x="50" y="364"/>
                  </a:cubicBezTo>
                  <a:lnTo>
                    <a:pt x="31" y="364"/>
                  </a:lnTo>
                  <a:lnTo>
                    <a:pt x="0" y="431"/>
                  </a:lnTo>
                  <a:lnTo>
                    <a:pt x="50" y="434"/>
                  </a:lnTo>
                  <a:cubicBezTo>
                    <a:pt x="127" y="437"/>
                    <a:pt x="192" y="440"/>
                    <a:pt x="237" y="440"/>
                  </a:cubicBezTo>
                  <a:cubicBezTo>
                    <a:pt x="369" y="443"/>
                    <a:pt x="463" y="400"/>
                    <a:pt x="502" y="317"/>
                  </a:cubicBezTo>
                  <a:cubicBezTo>
                    <a:pt x="547" y="212"/>
                    <a:pt x="502" y="88"/>
                    <a:pt x="398" y="37"/>
                  </a:cubicBezTo>
                </a:path>
              </a:pathLst>
            </a:custGeom>
            <a:grpFill/>
            <a:ln w="0">
              <a:solidFill>
                <a:schemeClr val="bg1"/>
              </a:solidFill>
            </a:ln>
            <a:effectLst/>
          </p:spPr>
          <p:txBody>
            <a:bodyPr wrap="none" anchor="ctr"/>
            <a:lstStyle/>
            <a:p>
              <a:pPr algn="ctr" defTabSz="895526">
                <a:defRPr/>
              </a:pPr>
              <a:endParaRPr lang="en-US" sz="2353" u="sng" kern="0">
                <a:latin typeface="+mj-lt"/>
              </a:endParaRPr>
            </a:p>
          </p:txBody>
        </p:sp>
      </p:grpSp>
      <p:pic>
        <p:nvPicPr>
          <p:cNvPr id="362" name="Graphic 361">
            <a:extLst>
              <a:ext uri="{FF2B5EF4-FFF2-40B4-BE49-F238E27FC236}">
                <a16:creationId xmlns:a16="http://schemas.microsoft.com/office/drawing/2014/main" id="{1B1C9FA2-5719-4C44-9F2A-6104A8083823}"/>
              </a:ext>
              <a:ext uri="{C183D7F6-B498-43B3-948B-1728B52AA6E4}">
                <adec:decorative xmlns:adec="http://schemas.microsoft.com/office/drawing/2017/decorative" val="1"/>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8802674" y="5135827"/>
            <a:ext cx="130118" cy="190839"/>
          </a:xfrm>
          <a:prstGeom prst="rect">
            <a:avLst/>
          </a:prstGeom>
        </p:spPr>
      </p:pic>
      <p:grpSp>
        <p:nvGrpSpPr>
          <p:cNvPr id="363" name="Graphic 305">
            <a:extLst>
              <a:ext uri="{FF2B5EF4-FFF2-40B4-BE49-F238E27FC236}">
                <a16:creationId xmlns:a16="http://schemas.microsoft.com/office/drawing/2014/main" id="{DB00DA18-1575-4F47-923F-73353594D270}"/>
              </a:ext>
              <a:ext uri="{C183D7F6-B498-43B3-948B-1728B52AA6E4}">
                <adec:decorative xmlns:adec="http://schemas.microsoft.com/office/drawing/2017/decorative" val="1"/>
              </a:ext>
            </a:extLst>
          </p:cNvPr>
          <p:cNvGrpSpPr/>
          <p:nvPr/>
        </p:nvGrpSpPr>
        <p:grpSpPr>
          <a:xfrm>
            <a:off x="8408836" y="5211836"/>
            <a:ext cx="142852" cy="47312"/>
            <a:chOff x="3845953" y="3735365"/>
            <a:chExt cx="142873" cy="47319"/>
          </a:xfrm>
          <a:solidFill>
            <a:srgbClr val="0078D7"/>
          </a:solidFill>
        </p:grpSpPr>
        <p:sp>
          <p:nvSpPr>
            <p:cNvPr id="364" name="Freeform: Shape 363">
              <a:extLst>
                <a:ext uri="{FF2B5EF4-FFF2-40B4-BE49-F238E27FC236}">
                  <a16:creationId xmlns:a16="http://schemas.microsoft.com/office/drawing/2014/main" id="{0DA7F206-30FC-40BA-9C90-79204584491B}"/>
                </a:ext>
              </a:extLst>
            </p:cNvPr>
            <p:cNvSpPr/>
            <p:nvPr/>
          </p:nvSpPr>
          <p:spPr>
            <a:xfrm>
              <a:off x="3864127" y="3750853"/>
              <a:ext cx="106583" cy="16287"/>
            </a:xfrm>
            <a:custGeom>
              <a:avLst/>
              <a:gdLst>
                <a:gd name="connsiteX0" fmla="*/ 103783 w 106583"/>
                <a:gd name="connsiteY0" fmla="*/ 0 h 16287"/>
                <a:gd name="connsiteX1" fmla="*/ 106583 w 106583"/>
                <a:gd name="connsiteY1" fmla="*/ 0 h 16287"/>
                <a:gd name="connsiteX2" fmla="*/ 106583 w 106583"/>
                <a:gd name="connsiteY2" fmla="*/ 16287 h 16287"/>
                <a:gd name="connsiteX3" fmla="*/ 103783 w 106583"/>
                <a:gd name="connsiteY3" fmla="*/ 16287 h 16287"/>
                <a:gd name="connsiteX4" fmla="*/ 2800 w 106583"/>
                <a:gd name="connsiteY4" fmla="*/ 16287 h 16287"/>
                <a:gd name="connsiteX5" fmla="*/ 2800 w 106583"/>
                <a:gd name="connsiteY5" fmla="*/ 0 h 16287"/>
                <a:gd name="connsiteX6" fmla="*/ 0 w 106583"/>
                <a:gd name="connsiteY6" fmla="*/ 0 h 16287"/>
                <a:gd name="connsiteX7" fmla="*/ 2800 w 106583"/>
                <a:gd name="connsiteY7" fmla="*/ 0 h 1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583" h="16287">
                  <a:moveTo>
                    <a:pt x="103783" y="0"/>
                  </a:moveTo>
                  <a:cubicBezTo>
                    <a:pt x="105330" y="0"/>
                    <a:pt x="106583" y="0"/>
                    <a:pt x="106583" y="0"/>
                  </a:cubicBezTo>
                  <a:lnTo>
                    <a:pt x="106583" y="16287"/>
                  </a:lnTo>
                  <a:cubicBezTo>
                    <a:pt x="106583" y="16287"/>
                    <a:pt x="105330" y="16287"/>
                    <a:pt x="103783" y="16287"/>
                  </a:cubicBezTo>
                  <a:lnTo>
                    <a:pt x="2800" y="16287"/>
                  </a:lnTo>
                  <a:lnTo>
                    <a:pt x="2800" y="0"/>
                  </a:lnTo>
                  <a:cubicBezTo>
                    <a:pt x="1254" y="0"/>
                    <a:pt x="0" y="0"/>
                    <a:pt x="0" y="0"/>
                  </a:cubicBezTo>
                  <a:cubicBezTo>
                    <a:pt x="0" y="0"/>
                    <a:pt x="1254" y="0"/>
                    <a:pt x="2800" y="0"/>
                  </a:cubicBezTo>
                  <a:close/>
                </a:path>
              </a:pathLst>
            </a:custGeom>
            <a:solidFill>
              <a:srgbClr val="0078D7"/>
            </a:solidFill>
            <a:ln w="5334" cap="flat">
              <a:noFill/>
              <a:prstDash val="solid"/>
              <a:miter/>
            </a:ln>
          </p:spPr>
          <p:txBody>
            <a:bodyPr rtlCol="0" anchor="ctr"/>
            <a:lstStyle/>
            <a:p>
              <a:endParaRPr lang="en-US"/>
            </a:p>
          </p:txBody>
        </p:sp>
        <p:sp>
          <p:nvSpPr>
            <p:cNvPr id="365" name="Freeform: Shape 364">
              <a:extLst>
                <a:ext uri="{FF2B5EF4-FFF2-40B4-BE49-F238E27FC236}">
                  <a16:creationId xmlns:a16="http://schemas.microsoft.com/office/drawing/2014/main" id="{1EA7F5D5-37ED-470B-9A34-2C9085DB4683}"/>
                </a:ext>
              </a:extLst>
            </p:cNvPr>
            <p:cNvSpPr/>
            <p:nvPr/>
          </p:nvSpPr>
          <p:spPr>
            <a:xfrm>
              <a:off x="3845953" y="3735365"/>
              <a:ext cx="142873" cy="47319"/>
            </a:xfrm>
            <a:custGeom>
              <a:avLst/>
              <a:gdLst>
                <a:gd name="connsiteX0" fmla="*/ 119213 w 142873"/>
                <a:gd name="connsiteY0" fmla="*/ 0 h 47319"/>
                <a:gd name="connsiteX1" fmla="*/ 23660 w 142873"/>
                <a:gd name="connsiteY1" fmla="*/ 0 h 47319"/>
                <a:gd name="connsiteX2" fmla="*/ 0 w 142873"/>
                <a:gd name="connsiteY2" fmla="*/ 23660 h 47319"/>
                <a:gd name="connsiteX3" fmla="*/ 23660 w 142873"/>
                <a:gd name="connsiteY3" fmla="*/ 47319 h 47319"/>
                <a:gd name="connsiteX4" fmla="*/ 119213 w 142873"/>
                <a:gd name="connsiteY4" fmla="*/ 47319 h 47319"/>
                <a:gd name="connsiteX5" fmla="*/ 142873 w 142873"/>
                <a:gd name="connsiteY5" fmla="*/ 23660 h 47319"/>
                <a:gd name="connsiteX6" fmla="*/ 119213 w 142873"/>
                <a:gd name="connsiteY6" fmla="*/ 0 h 47319"/>
                <a:gd name="connsiteX7" fmla="*/ 133272 w 142873"/>
                <a:gd name="connsiteY7" fmla="*/ 28974 h 47319"/>
                <a:gd name="connsiteX8" fmla="*/ 121842 w 142873"/>
                <a:gd name="connsiteY8" fmla="*/ 40404 h 47319"/>
                <a:gd name="connsiteX9" fmla="*/ 20917 w 142873"/>
                <a:gd name="connsiteY9" fmla="*/ 40404 h 47319"/>
                <a:gd name="connsiteX10" fmla="*/ 9487 w 142873"/>
                <a:gd name="connsiteY10" fmla="*/ 28974 h 47319"/>
                <a:gd name="connsiteX11" fmla="*/ 9487 w 142873"/>
                <a:gd name="connsiteY11" fmla="*/ 18288 h 47319"/>
                <a:gd name="connsiteX12" fmla="*/ 20917 w 142873"/>
                <a:gd name="connsiteY12" fmla="*/ 6858 h 47319"/>
                <a:gd name="connsiteX13" fmla="*/ 121899 w 142873"/>
                <a:gd name="connsiteY13" fmla="*/ 6858 h 47319"/>
                <a:gd name="connsiteX14" fmla="*/ 133329 w 142873"/>
                <a:gd name="connsiteY14" fmla="*/ 18288 h 47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873" h="47319">
                  <a:moveTo>
                    <a:pt x="119213" y="0"/>
                  </a:moveTo>
                  <a:lnTo>
                    <a:pt x="23660" y="0"/>
                  </a:lnTo>
                  <a:cubicBezTo>
                    <a:pt x="10593" y="0"/>
                    <a:pt x="0" y="10593"/>
                    <a:pt x="0" y="23660"/>
                  </a:cubicBezTo>
                  <a:cubicBezTo>
                    <a:pt x="0" y="36726"/>
                    <a:pt x="10593" y="47319"/>
                    <a:pt x="23660" y="47319"/>
                  </a:cubicBezTo>
                  <a:lnTo>
                    <a:pt x="119213" y="47319"/>
                  </a:lnTo>
                  <a:cubicBezTo>
                    <a:pt x="132280" y="47319"/>
                    <a:pt x="142873" y="36726"/>
                    <a:pt x="142873" y="23660"/>
                  </a:cubicBezTo>
                  <a:cubicBezTo>
                    <a:pt x="142873" y="10593"/>
                    <a:pt x="132280" y="0"/>
                    <a:pt x="119213" y="0"/>
                  </a:cubicBezTo>
                  <a:close/>
                  <a:moveTo>
                    <a:pt x="133272" y="28974"/>
                  </a:moveTo>
                  <a:cubicBezTo>
                    <a:pt x="133272" y="35287"/>
                    <a:pt x="128155" y="40404"/>
                    <a:pt x="121842" y="40404"/>
                  </a:cubicBezTo>
                  <a:lnTo>
                    <a:pt x="20917" y="40404"/>
                  </a:lnTo>
                  <a:cubicBezTo>
                    <a:pt x="14604" y="40404"/>
                    <a:pt x="9487" y="35287"/>
                    <a:pt x="9487" y="28974"/>
                  </a:cubicBezTo>
                  <a:lnTo>
                    <a:pt x="9487" y="18288"/>
                  </a:lnTo>
                  <a:cubicBezTo>
                    <a:pt x="9487" y="11975"/>
                    <a:pt x="14604" y="6858"/>
                    <a:pt x="20917" y="6858"/>
                  </a:cubicBezTo>
                  <a:lnTo>
                    <a:pt x="121899" y="6858"/>
                  </a:lnTo>
                  <a:cubicBezTo>
                    <a:pt x="128212" y="6858"/>
                    <a:pt x="133329" y="11975"/>
                    <a:pt x="133329" y="18288"/>
                  </a:cubicBezTo>
                  <a:close/>
                </a:path>
              </a:pathLst>
            </a:custGeom>
            <a:solidFill>
              <a:srgbClr val="0078D7"/>
            </a:solidFill>
            <a:ln w="5334" cap="flat">
              <a:noFill/>
              <a:prstDash val="solid"/>
              <a:miter/>
            </a:ln>
          </p:spPr>
          <p:txBody>
            <a:bodyPr rtlCol="0" anchor="ctr"/>
            <a:lstStyle/>
            <a:p>
              <a:endParaRPr lang="en-US"/>
            </a:p>
          </p:txBody>
        </p:sp>
      </p:grpSp>
      <p:sp>
        <p:nvSpPr>
          <p:cNvPr id="366" name="Graphic 7">
            <a:extLst>
              <a:ext uri="{FF2B5EF4-FFF2-40B4-BE49-F238E27FC236}">
                <a16:creationId xmlns:a16="http://schemas.microsoft.com/office/drawing/2014/main" id="{1D69D4DD-3E44-4A7B-91C0-DCCFBDC7C791}"/>
              </a:ext>
              <a:ext uri="{C183D7F6-B498-43B3-948B-1728B52AA6E4}">
                <adec:decorative xmlns:adec="http://schemas.microsoft.com/office/drawing/2017/decorative" val="1"/>
              </a:ext>
            </a:extLst>
          </p:cNvPr>
          <p:cNvSpPr/>
          <p:nvPr/>
        </p:nvSpPr>
        <p:spPr>
          <a:xfrm>
            <a:off x="8595822" y="5149503"/>
            <a:ext cx="158790" cy="169376"/>
          </a:xfrm>
          <a:custGeom>
            <a:avLst/>
            <a:gdLst>
              <a:gd name="connsiteX0" fmla="*/ 109728 w 205740"/>
              <a:gd name="connsiteY0" fmla="*/ 27432 h 219456"/>
              <a:gd name="connsiteX1" fmla="*/ 96012 w 205740"/>
              <a:gd name="connsiteY1" fmla="*/ 27432 h 219456"/>
              <a:gd name="connsiteX2" fmla="*/ 96012 w 205740"/>
              <a:gd name="connsiteY2" fmla="*/ 0 h 219456"/>
              <a:gd name="connsiteX3" fmla="*/ 109728 w 205740"/>
              <a:gd name="connsiteY3" fmla="*/ 0 h 219456"/>
              <a:gd name="connsiteX4" fmla="*/ 44714 w 205740"/>
              <a:gd name="connsiteY4" fmla="*/ 54315 h 219456"/>
              <a:gd name="connsiteX5" fmla="*/ 25306 w 205740"/>
              <a:gd name="connsiteY5" fmla="*/ 34907 h 219456"/>
              <a:gd name="connsiteX6" fmla="*/ 34907 w 205740"/>
              <a:gd name="connsiteY6" fmla="*/ 25306 h 219456"/>
              <a:gd name="connsiteX7" fmla="*/ 54315 w 205740"/>
              <a:gd name="connsiteY7" fmla="*/ 44714 h 219456"/>
              <a:gd name="connsiteX8" fmla="*/ 0 w 205740"/>
              <a:gd name="connsiteY8" fmla="*/ 96012 h 219456"/>
              <a:gd name="connsiteX9" fmla="*/ 27432 w 205740"/>
              <a:gd name="connsiteY9" fmla="*/ 96012 h 219456"/>
              <a:gd name="connsiteX10" fmla="*/ 27432 w 205740"/>
              <a:gd name="connsiteY10" fmla="*/ 109728 h 219456"/>
              <a:gd name="connsiteX11" fmla="*/ 0 w 205740"/>
              <a:gd name="connsiteY11" fmla="*/ 109728 h 219456"/>
              <a:gd name="connsiteX12" fmla="*/ 205740 w 205740"/>
              <a:gd name="connsiteY12" fmla="*/ 96012 h 219456"/>
              <a:gd name="connsiteX13" fmla="*/ 205740 w 205740"/>
              <a:gd name="connsiteY13" fmla="*/ 109728 h 219456"/>
              <a:gd name="connsiteX14" fmla="*/ 178308 w 205740"/>
              <a:gd name="connsiteY14" fmla="*/ 109728 h 219456"/>
              <a:gd name="connsiteX15" fmla="*/ 178308 w 205740"/>
              <a:gd name="connsiteY15" fmla="*/ 96012 h 219456"/>
              <a:gd name="connsiteX16" fmla="*/ 161026 w 205740"/>
              <a:gd name="connsiteY16" fmla="*/ 54315 h 219456"/>
              <a:gd name="connsiteX17" fmla="*/ 151425 w 205740"/>
              <a:gd name="connsiteY17" fmla="*/ 44714 h 219456"/>
              <a:gd name="connsiteX18" fmla="*/ 170833 w 205740"/>
              <a:gd name="connsiteY18" fmla="*/ 25306 h 219456"/>
              <a:gd name="connsiteX19" fmla="*/ 180434 w 205740"/>
              <a:gd name="connsiteY19" fmla="*/ 34907 h 219456"/>
              <a:gd name="connsiteX20" fmla="*/ 102870 w 205740"/>
              <a:gd name="connsiteY20" fmla="*/ 54864 h 219456"/>
              <a:gd name="connsiteX21" fmla="*/ 121524 w 205740"/>
              <a:gd name="connsiteY21" fmla="*/ 58636 h 219456"/>
              <a:gd name="connsiteX22" fmla="*/ 136749 w 205740"/>
              <a:gd name="connsiteY22" fmla="*/ 68923 h 219456"/>
              <a:gd name="connsiteX23" fmla="*/ 147036 w 205740"/>
              <a:gd name="connsiteY23" fmla="*/ 84148 h 219456"/>
              <a:gd name="connsiteX24" fmla="*/ 150876 w 205740"/>
              <a:gd name="connsiteY24" fmla="*/ 102870 h 219456"/>
              <a:gd name="connsiteX25" fmla="*/ 150876 w 205740"/>
              <a:gd name="connsiteY25" fmla="*/ 178308 h 219456"/>
              <a:gd name="connsiteX26" fmla="*/ 164592 w 205740"/>
              <a:gd name="connsiteY26" fmla="*/ 178308 h 219456"/>
              <a:gd name="connsiteX27" fmla="*/ 164592 w 205740"/>
              <a:gd name="connsiteY27" fmla="*/ 192024 h 219456"/>
              <a:gd name="connsiteX28" fmla="*/ 137160 w 205740"/>
              <a:gd name="connsiteY28" fmla="*/ 192024 h 219456"/>
              <a:gd name="connsiteX29" fmla="*/ 137160 w 205740"/>
              <a:gd name="connsiteY29" fmla="*/ 219456 h 219456"/>
              <a:gd name="connsiteX30" fmla="*/ 123444 w 205740"/>
              <a:gd name="connsiteY30" fmla="*/ 219456 h 219456"/>
              <a:gd name="connsiteX31" fmla="*/ 123444 w 205740"/>
              <a:gd name="connsiteY31" fmla="*/ 192024 h 219456"/>
              <a:gd name="connsiteX32" fmla="*/ 82296 w 205740"/>
              <a:gd name="connsiteY32" fmla="*/ 192024 h 219456"/>
              <a:gd name="connsiteX33" fmla="*/ 82296 w 205740"/>
              <a:gd name="connsiteY33" fmla="*/ 219456 h 219456"/>
              <a:gd name="connsiteX34" fmla="*/ 68580 w 205740"/>
              <a:gd name="connsiteY34" fmla="*/ 219456 h 219456"/>
              <a:gd name="connsiteX35" fmla="*/ 68580 w 205740"/>
              <a:gd name="connsiteY35" fmla="*/ 192024 h 219456"/>
              <a:gd name="connsiteX36" fmla="*/ 41148 w 205740"/>
              <a:gd name="connsiteY36" fmla="*/ 192024 h 219456"/>
              <a:gd name="connsiteX37" fmla="*/ 41148 w 205740"/>
              <a:gd name="connsiteY37" fmla="*/ 178308 h 219456"/>
              <a:gd name="connsiteX38" fmla="*/ 54864 w 205740"/>
              <a:gd name="connsiteY38" fmla="*/ 178308 h 219456"/>
              <a:gd name="connsiteX39" fmla="*/ 54864 w 205740"/>
              <a:gd name="connsiteY39" fmla="*/ 102870 h 219456"/>
              <a:gd name="connsiteX40" fmla="*/ 58636 w 205740"/>
              <a:gd name="connsiteY40" fmla="*/ 84216 h 219456"/>
              <a:gd name="connsiteX41" fmla="*/ 68923 w 205740"/>
              <a:gd name="connsiteY41" fmla="*/ 68991 h 219456"/>
              <a:gd name="connsiteX42" fmla="*/ 84148 w 205740"/>
              <a:gd name="connsiteY42" fmla="*/ 58704 h 219456"/>
              <a:gd name="connsiteX43" fmla="*/ 102870 w 205740"/>
              <a:gd name="connsiteY43" fmla="*/ 54864 h 219456"/>
              <a:gd name="connsiteX44" fmla="*/ 137160 w 205740"/>
              <a:gd name="connsiteY44" fmla="*/ 178308 h 219456"/>
              <a:gd name="connsiteX45" fmla="*/ 137160 w 205740"/>
              <a:gd name="connsiteY45" fmla="*/ 102870 h 219456"/>
              <a:gd name="connsiteX46" fmla="*/ 134485 w 205740"/>
              <a:gd name="connsiteY46" fmla="*/ 89565 h 219456"/>
              <a:gd name="connsiteX47" fmla="*/ 127079 w 205740"/>
              <a:gd name="connsiteY47" fmla="*/ 78730 h 219456"/>
              <a:gd name="connsiteX48" fmla="*/ 116175 w 205740"/>
              <a:gd name="connsiteY48" fmla="*/ 71392 h 219456"/>
              <a:gd name="connsiteX49" fmla="*/ 102870 w 205740"/>
              <a:gd name="connsiteY49" fmla="*/ 68580 h 219456"/>
              <a:gd name="connsiteX50" fmla="*/ 89565 w 205740"/>
              <a:gd name="connsiteY50" fmla="*/ 71255 h 219456"/>
              <a:gd name="connsiteX51" fmla="*/ 78730 w 205740"/>
              <a:gd name="connsiteY51" fmla="*/ 78661 h 219456"/>
              <a:gd name="connsiteX52" fmla="*/ 71392 w 205740"/>
              <a:gd name="connsiteY52" fmla="*/ 89565 h 219456"/>
              <a:gd name="connsiteX53" fmla="*/ 68580 w 205740"/>
              <a:gd name="connsiteY53" fmla="*/ 102870 h 219456"/>
              <a:gd name="connsiteX54" fmla="*/ 68580 w 205740"/>
              <a:gd name="connsiteY54" fmla="*/ 178308 h 21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05740" h="219456">
                <a:moveTo>
                  <a:pt x="109728" y="27432"/>
                </a:moveTo>
                <a:lnTo>
                  <a:pt x="96012" y="27432"/>
                </a:lnTo>
                <a:lnTo>
                  <a:pt x="96012" y="0"/>
                </a:lnTo>
                <a:lnTo>
                  <a:pt x="109728" y="0"/>
                </a:lnTo>
                <a:close/>
                <a:moveTo>
                  <a:pt x="44714" y="54315"/>
                </a:moveTo>
                <a:lnTo>
                  <a:pt x="25306" y="34907"/>
                </a:lnTo>
                <a:lnTo>
                  <a:pt x="34907" y="25306"/>
                </a:lnTo>
                <a:lnTo>
                  <a:pt x="54315" y="44714"/>
                </a:lnTo>
                <a:close/>
                <a:moveTo>
                  <a:pt x="0" y="96012"/>
                </a:moveTo>
                <a:lnTo>
                  <a:pt x="27432" y="96012"/>
                </a:lnTo>
                <a:lnTo>
                  <a:pt x="27432" y="109728"/>
                </a:lnTo>
                <a:lnTo>
                  <a:pt x="0" y="109728"/>
                </a:lnTo>
                <a:close/>
                <a:moveTo>
                  <a:pt x="205740" y="96012"/>
                </a:moveTo>
                <a:lnTo>
                  <a:pt x="205740" y="109728"/>
                </a:lnTo>
                <a:lnTo>
                  <a:pt x="178308" y="109728"/>
                </a:lnTo>
                <a:lnTo>
                  <a:pt x="178308" y="96012"/>
                </a:lnTo>
                <a:close/>
                <a:moveTo>
                  <a:pt x="161026" y="54315"/>
                </a:moveTo>
                <a:lnTo>
                  <a:pt x="151425" y="44714"/>
                </a:lnTo>
                <a:lnTo>
                  <a:pt x="170833" y="25306"/>
                </a:lnTo>
                <a:lnTo>
                  <a:pt x="180434" y="34907"/>
                </a:lnTo>
                <a:close/>
                <a:moveTo>
                  <a:pt x="102870" y="54864"/>
                </a:moveTo>
                <a:cubicBezTo>
                  <a:pt x="109284" y="54802"/>
                  <a:pt x="115638" y="56087"/>
                  <a:pt x="121524" y="58636"/>
                </a:cubicBezTo>
                <a:cubicBezTo>
                  <a:pt x="127214" y="61053"/>
                  <a:pt x="132383" y="64546"/>
                  <a:pt x="136749" y="68923"/>
                </a:cubicBezTo>
                <a:cubicBezTo>
                  <a:pt x="141109" y="73302"/>
                  <a:pt x="144600" y="78469"/>
                  <a:pt x="147036" y="84148"/>
                </a:cubicBezTo>
                <a:cubicBezTo>
                  <a:pt x="149558" y="90068"/>
                  <a:pt x="150864" y="96435"/>
                  <a:pt x="150876" y="102870"/>
                </a:cubicBezTo>
                <a:lnTo>
                  <a:pt x="150876" y="178308"/>
                </a:lnTo>
                <a:lnTo>
                  <a:pt x="164592" y="178308"/>
                </a:lnTo>
                <a:lnTo>
                  <a:pt x="164592" y="192024"/>
                </a:lnTo>
                <a:lnTo>
                  <a:pt x="137160" y="192024"/>
                </a:lnTo>
                <a:lnTo>
                  <a:pt x="137160" y="219456"/>
                </a:lnTo>
                <a:lnTo>
                  <a:pt x="123444" y="219456"/>
                </a:lnTo>
                <a:lnTo>
                  <a:pt x="123444" y="192024"/>
                </a:lnTo>
                <a:lnTo>
                  <a:pt x="82296" y="192024"/>
                </a:lnTo>
                <a:lnTo>
                  <a:pt x="82296" y="219456"/>
                </a:lnTo>
                <a:lnTo>
                  <a:pt x="68580" y="219456"/>
                </a:lnTo>
                <a:lnTo>
                  <a:pt x="68580" y="192024"/>
                </a:lnTo>
                <a:lnTo>
                  <a:pt x="41148" y="192024"/>
                </a:lnTo>
                <a:lnTo>
                  <a:pt x="41148" y="178308"/>
                </a:lnTo>
                <a:lnTo>
                  <a:pt x="54864" y="178308"/>
                </a:lnTo>
                <a:lnTo>
                  <a:pt x="54864" y="102870"/>
                </a:lnTo>
                <a:cubicBezTo>
                  <a:pt x="54808" y="96457"/>
                  <a:pt x="56093" y="90103"/>
                  <a:pt x="58636" y="84216"/>
                </a:cubicBezTo>
                <a:cubicBezTo>
                  <a:pt x="61053" y="78526"/>
                  <a:pt x="64546" y="73357"/>
                  <a:pt x="68923" y="68991"/>
                </a:cubicBezTo>
                <a:cubicBezTo>
                  <a:pt x="73302" y="64631"/>
                  <a:pt x="78469" y="61141"/>
                  <a:pt x="84148" y="58704"/>
                </a:cubicBezTo>
                <a:cubicBezTo>
                  <a:pt x="90068" y="56182"/>
                  <a:pt x="96435" y="54876"/>
                  <a:pt x="102870" y="54864"/>
                </a:cubicBezTo>
                <a:close/>
                <a:moveTo>
                  <a:pt x="137160" y="178308"/>
                </a:moveTo>
                <a:lnTo>
                  <a:pt x="137160" y="102870"/>
                </a:lnTo>
                <a:cubicBezTo>
                  <a:pt x="137188" y="98299"/>
                  <a:pt x="136278" y="93771"/>
                  <a:pt x="134485" y="89565"/>
                </a:cubicBezTo>
                <a:cubicBezTo>
                  <a:pt x="132746" y="85506"/>
                  <a:pt x="130231" y="81824"/>
                  <a:pt x="127079" y="78730"/>
                </a:cubicBezTo>
                <a:cubicBezTo>
                  <a:pt x="123890" y="75679"/>
                  <a:pt x="120202" y="73197"/>
                  <a:pt x="116175" y="71392"/>
                </a:cubicBezTo>
                <a:cubicBezTo>
                  <a:pt x="111989" y="69523"/>
                  <a:pt x="107454" y="68565"/>
                  <a:pt x="102870" y="68580"/>
                </a:cubicBezTo>
                <a:cubicBezTo>
                  <a:pt x="98299" y="68552"/>
                  <a:pt x="93771" y="69462"/>
                  <a:pt x="89565" y="71255"/>
                </a:cubicBezTo>
                <a:cubicBezTo>
                  <a:pt x="85506" y="72994"/>
                  <a:pt x="81824" y="75509"/>
                  <a:pt x="78730" y="78661"/>
                </a:cubicBezTo>
                <a:cubicBezTo>
                  <a:pt x="75679" y="81850"/>
                  <a:pt x="73197" y="85538"/>
                  <a:pt x="71392" y="89565"/>
                </a:cubicBezTo>
                <a:cubicBezTo>
                  <a:pt x="69523" y="93751"/>
                  <a:pt x="68565" y="98286"/>
                  <a:pt x="68580" y="102870"/>
                </a:cubicBezTo>
                <a:lnTo>
                  <a:pt x="68580" y="178308"/>
                </a:lnTo>
                <a:close/>
              </a:path>
            </a:pathLst>
          </a:custGeom>
          <a:solidFill>
            <a:srgbClr val="0078D7"/>
          </a:solidFill>
          <a:ln w="3175" cap="flat">
            <a:solidFill>
              <a:schemeClr val="bg1"/>
            </a:solidFill>
            <a:prstDash val="solid"/>
            <a:miter/>
          </a:ln>
        </p:spPr>
        <p:txBody>
          <a:bodyPr rtlCol="0" anchor="ctr"/>
          <a:lstStyle/>
          <a:p>
            <a:endParaRPr lang="en-US"/>
          </a:p>
        </p:txBody>
      </p:sp>
      <p:sp>
        <p:nvSpPr>
          <p:cNvPr id="367" name="Microphone_E720">
            <a:extLst>
              <a:ext uri="{FF2B5EF4-FFF2-40B4-BE49-F238E27FC236}">
                <a16:creationId xmlns:a16="http://schemas.microsoft.com/office/drawing/2014/main" id="{51585AA1-0228-4056-805C-0FE616448C76}"/>
              </a:ext>
              <a:ext uri="{C183D7F6-B498-43B3-948B-1728B52AA6E4}">
                <adec:decorative xmlns:adec="http://schemas.microsoft.com/office/drawing/2017/decorative" val="1"/>
              </a:ext>
            </a:extLst>
          </p:cNvPr>
          <p:cNvSpPr>
            <a:spLocks noChangeAspect="1" noEditPoints="1"/>
          </p:cNvSpPr>
          <p:nvPr/>
        </p:nvSpPr>
        <p:spPr bwMode="auto">
          <a:xfrm>
            <a:off x="9020853" y="5190843"/>
            <a:ext cx="99032" cy="148619"/>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6350" cap="flat">
            <a:solidFill>
              <a:srgbClr val="0078D7"/>
            </a:solidFill>
            <a:prstDash val="solid"/>
            <a:miter/>
          </a:ln>
        </p:spPr>
        <p:txBody>
          <a:bodyPr vert="horz" wrap="square" lIns="91427" tIns="45713" rIns="91427" bIns="45713" numCol="1" anchor="t" anchorCtr="0" compatLnSpc="1">
            <a:prstTxWarp prst="textNoShape">
              <a:avLst/>
            </a:prstTxWarp>
          </a:bodyPr>
          <a:lstStyle/>
          <a:p>
            <a:endParaRPr lang="en-US"/>
          </a:p>
        </p:txBody>
      </p:sp>
      <p:grpSp>
        <p:nvGrpSpPr>
          <p:cNvPr id="368" name="Group 367">
            <a:extLst>
              <a:ext uri="{FF2B5EF4-FFF2-40B4-BE49-F238E27FC236}">
                <a16:creationId xmlns:a16="http://schemas.microsoft.com/office/drawing/2014/main" id="{6E2CD64A-3644-4ED8-A0EA-4E336CE9075F}"/>
              </a:ext>
              <a:ext uri="{C183D7F6-B498-43B3-948B-1728B52AA6E4}">
                <adec:decorative xmlns:adec="http://schemas.microsoft.com/office/drawing/2017/decorative" val="1"/>
              </a:ext>
            </a:extLst>
          </p:cNvPr>
          <p:cNvGrpSpPr/>
          <p:nvPr/>
        </p:nvGrpSpPr>
        <p:grpSpPr>
          <a:xfrm>
            <a:off x="9203710" y="5194617"/>
            <a:ext cx="231162" cy="131704"/>
            <a:chOff x="1290799" y="6111564"/>
            <a:chExt cx="231195" cy="131722"/>
          </a:xfrm>
        </p:grpSpPr>
        <p:grpSp>
          <p:nvGrpSpPr>
            <p:cNvPr id="369" name="Graphic 54" descr="Camera">
              <a:extLst>
                <a:ext uri="{FF2B5EF4-FFF2-40B4-BE49-F238E27FC236}">
                  <a16:creationId xmlns:a16="http://schemas.microsoft.com/office/drawing/2014/main" id="{445CD553-82D6-4EE4-9BB0-BE542AB2F9EE}"/>
                </a:ext>
              </a:extLst>
            </p:cNvPr>
            <p:cNvGrpSpPr/>
            <p:nvPr/>
          </p:nvGrpSpPr>
          <p:grpSpPr>
            <a:xfrm>
              <a:off x="1290799" y="6111564"/>
              <a:ext cx="158841" cy="131722"/>
              <a:chOff x="1290799" y="6111564"/>
              <a:chExt cx="158841" cy="131722"/>
            </a:xfrm>
            <a:solidFill>
              <a:srgbClr val="0078D7"/>
            </a:solidFill>
          </p:grpSpPr>
          <p:sp>
            <p:nvSpPr>
              <p:cNvPr id="371" name="Freeform: Shape 370">
                <a:extLst>
                  <a:ext uri="{FF2B5EF4-FFF2-40B4-BE49-F238E27FC236}">
                    <a16:creationId xmlns:a16="http://schemas.microsoft.com/office/drawing/2014/main" id="{886356E2-BC10-4498-A04A-7F89C146B775}"/>
                  </a:ext>
                </a:extLst>
              </p:cNvPr>
              <p:cNvSpPr/>
              <p:nvPr/>
            </p:nvSpPr>
            <p:spPr>
              <a:xfrm>
                <a:off x="1290799" y="6111564"/>
                <a:ext cx="158841" cy="131722"/>
              </a:xfrm>
              <a:custGeom>
                <a:avLst/>
                <a:gdLst>
                  <a:gd name="connsiteX0" fmla="*/ 149156 w 158841"/>
                  <a:gd name="connsiteY0" fmla="*/ 19371 h 131722"/>
                  <a:gd name="connsiteX1" fmla="*/ 111511 w 158841"/>
                  <a:gd name="connsiteY1" fmla="*/ 19371 h 131722"/>
                  <a:gd name="connsiteX2" fmla="*/ 99888 w 158841"/>
                  <a:gd name="connsiteY2" fmla="*/ 0 h 131722"/>
                  <a:gd name="connsiteX3" fmla="*/ 58954 w 158841"/>
                  <a:gd name="connsiteY3" fmla="*/ 0 h 131722"/>
                  <a:gd name="connsiteX4" fmla="*/ 47331 w 158841"/>
                  <a:gd name="connsiteY4" fmla="*/ 19371 h 131722"/>
                  <a:gd name="connsiteX5" fmla="*/ 9685 w 158841"/>
                  <a:gd name="connsiteY5" fmla="*/ 19371 h 131722"/>
                  <a:gd name="connsiteX6" fmla="*/ 0 w 158841"/>
                  <a:gd name="connsiteY6" fmla="*/ 29056 h 131722"/>
                  <a:gd name="connsiteX7" fmla="*/ 0 w 158841"/>
                  <a:gd name="connsiteY7" fmla="*/ 122037 h 131722"/>
                  <a:gd name="connsiteX8" fmla="*/ 9685 w 158841"/>
                  <a:gd name="connsiteY8" fmla="*/ 131722 h 131722"/>
                  <a:gd name="connsiteX9" fmla="*/ 149156 w 158841"/>
                  <a:gd name="connsiteY9" fmla="*/ 131722 h 131722"/>
                  <a:gd name="connsiteX10" fmla="*/ 158842 w 158841"/>
                  <a:gd name="connsiteY10" fmla="*/ 122037 h 131722"/>
                  <a:gd name="connsiteX11" fmla="*/ 158842 w 158841"/>
                  <a:gd name="connsiteY11" fmla="*/ 29056 h 131722"/>
                  <a:gd name="connsiteX12" fmla="*/ 149156 w 158841"/>
                  <a:gd name="connsiteY12" fmla="*/ 19371 h 131722"/>
                  <a:gd name="connsiteX13" fmla="*/ 61146 w 158841"/>
                  <a:gd name="connsiteY13" fmla="*/ 3874 h 131722"/>
                  <a:gd name="connsiteX14" fmla="*/ 97695 w 158841"/>
                  <a:gd name="connsiteY14" fmla="*/ 3874 h 131722"/>
                  <a:gd name="connsiteX15" fmla="*/ 106993 w 158841"/>
                  <a:gd name="connsiteY15" fmla="*/ 19371 h 131722"/>
                  <a:gd name="connsiteX16" fmla="*/ 51848 w 158841"/>
                  <a:gd name="connsiteY16" fmla="*/ 19371 h 131722"/>
                  <a:gd name="connsiteX17" fmla="*/ 149156 w 158841"/>
                  <a:gd name="connsiteY17" fmla="*/ 23245 h 131722"/>
                  <a:gd name="connsiteX18" fmla="*/ 154968 w 158841"/>
                  <a:gd name="connsiteY18" fmla="*/ 29056 h 131722"/>
                  <a:gd name="connsiteX19" fmla="*/ 154968 w 158841"/>
                  <a:gd name="connsiteY19" fmla="*/ 122037 h 131722"/>
                  <a:gd name="connsiteX20" fmla="*/ 149156 w 158841"/>
                  <a:gd name="connsiteY20" fmla="*/ 127848 h 131722"/>
                  <a:gd name="connsiteX21" fmla="*/ 9685 w 158841"/>
                  <a:gd name="connsiteY21" fmla="*/ 127848 h 131722"/>
                  <a:gd name="connsiteX22" fmla="*/ 3874 w 158841"/>
                  <a:gd name="connsiteY22" fmla="*/ 122037 h 131722"/>
                  <a:gd name="connsiteX23" fmla="*/ 3874 w 158841"/>
                  <a:gd name="connsiteY23" fmla="*/ 29056 h 131722"/>
                  <a:gd name="connsiteX24" fmla="*/ 9685 w 158841"/>
                  <a:gd name="connsiteY24" fmla="*/ 23245 h 13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841" h="131722">
                    <a:moveTo>
                      <a:pt x="149156" y="19371"/>
                    </a:moveTo>
                    <a:lnTo>
                      <a:pt x="111511" y="19371"/>
                    </a:lnTo>
                    <a:lnTo>
                      <a:pt x="99888" y="0"/>
                    </a:lnTo>
                    <a:lnTo>
                      <a:pt x="58954" y="0"/>
                    </a:lnTo>
                    <a:lnTo>
                      <a:pt x="47331" y="19371"/>
                    </a:lnTo>
                    <a:lnTo>
                      <a:pt x="9685" y="19371"/>
                    </a:lnTo>
                    <a:cubicBezTo>
                      <a:pt x="4339" y="19377"/>
                      <a:pt x="6" y="23710"/>
                      <a:pt x="0" y="29056"/>
                    </a:cubicBezTo>
                    <a:lnTo>
                      <a:pt x="0" y="122037"/>
                    </a:lnTo>
                    <a:cubicBezTo>
                      <a:pt x="6" y="127383"/>
                      <a:pt x="4339" y="131716"/>
                      <a:pt x="9685" y="131722"/>
                    </a:cubicBezTo>
                    <a:lnTo>
                      <a:pt x="149156" y="131722"/>
                    </a:lnTo>
                    <a:cubicBezTo>
                      <a:pt x="154503" y="131716"/>
                      <a:pt x="158835" y="127383"/>
                      <a:pt x="158842" y="122037"/>
                    </a:cubicBezTo>
                    <a:lnTo>
                      <a:pt x="158842" y="29056"/>
                    </a:lnTo>
                    <a:cubicBezTo>
                      <a:pt x="158835" y="23710"/>
                      <a:pt x="154503" y="19377"/>
                      <a:pt x="149156" y="19371"/>
                    </a:cubicBezTo>
                    <a:close/>
                    <a:moveTo>
                      <a:pt x="61146" y="3874"/>
                    </a:moveTo>
                    <a:lnTo>
                      <a:pt x="97695" y="3874"/>
                    </a:lnTo>
                    <a:lnTo>
                      <a:pt x="106993" y="19371"/>
                    </a:lnTo>
                    <a:lnTo>
                      <a:pt x="51848" y="19371"/>
                    </a:lnTo>
                    <a:close/>
                    <a:moveTo>
                      <a:pt x="149156" y="23245"/>
                    </a:moveTo>
                    <a:cubicBezTo>
                      <a:pt x="152366" y="23245"/>
                      <a:pt x="154968" y="25847"/>
                      <a:pt x="154968" y="29056"/>
                    </a:cubicBezTo>
                    <a:lnTo>
                      <a:pt x="154968" y="122037"/>
                    </a:lnTo>
                    <a:cubicBezTo>
                      <a:pt x="154968" y="125246"/>
                      <a:pt x="152366" y="127848"/>
                      <a:pt x="149156" y="127848"/>
                    </a:cubicBezTo>
                    <a:lnTo>
                      <a:pt x="9685" y="127848"/>
                    </a:lnTo>
                    <a:cubicBezTo>
                      <a:pt x="6476" y="127848"/>
                      <a:pt x="3874" y="125246"/>
                      <a:pt x="3874" y="122037"/>
                    </a:cubicBezTo>
                    <a:lnTo>
                      <a:pt x="3874" y="29056"/>
                    </a:lnTo>
                    <a:cubicBezTo>
                      <a:pt x="3874" y="25847"/>
                      <a:pt x="6476" y="23245"/>
                      <a:pt x="9685" y="23245"/>
                    </a:cubicBezTo>
                    <a:close/>
                  </a:path>
                </a:pathLst>
              </a:custGeom>
              <a:solidFill>
                <a:srgbClr val="0078D7"/>
              </a:solidFill>
              <a:ln w="1885" cap="flat">
                <a:solidFill>
                  <a:srgbClr val="0078D7"/>
                </a:solidFill>
                <a:prstDash val="solid"/>
                <a:miter/>
              </a:ln>
            </p:spPr>
            <p:txBody>
              <a:bodyPr rtlCol="0" anchor="ctr"/>
              <a:lstStyle/>
              <a:p>
                <a:endParaRPr lang="en-US"/>
              </a:p>
            </p:txBody>
          </p:sp>
          <p:sp>
            <p:nvSpPr>
              <p:cNvPr id="372" name="Freeform: Shape 371">
                <a:extLst>
                  <a:ext uri="{FF2B5EF4-FFF2-40B4-BE49-F238E27FC236}">
                    <a16:creationId xmlns:a16="http://schemas.microsoft.com/office/drawing/2014/main" id="{E6190041-2A73-4CAC-B0E5-B1ABA5308B9C}"/>
                  </a:ext>
                </a:extLst>
              </p:cNvPr>
              <p:cNvSpPr/>
              <p:nvPr/>
            </p:nvSpPr>
            <p:spPr>
              <a:xfrm>
                <a:off x="1306296" y="6146432"/>
                <a:ext cx="25182" cy="17433"/>
              </a:xfrm>
              <a:custGeom>
                <a:avLst/>
                <a:gdLst>
                  <a:gd name="connsiteX0" fmla="*/ 0 w 25182"/>
                  <a:gd name="connsiteY0" fmla="*/ 17434 h 17433"/>
                  <a:gd name="connsiteX1" fmla="*/ 25182 w 25182"/>
                  <a:gd name="connsiteY1" fmla="*/ 17434 h 17433"/>
                  <a:gd name="connsiteX2" fmla="*/ 25182 w 25182"/>
                  <a:gd name="connsiteY2" fmla="*/ 0 h 17433"/>
                  <a:gd name="connsiteX3" fmla="*/ 0 w 25182"/>
                  <a:gd name="connsiteY3" fmla="*/ 0 h 17433"/>
                  <a:gd name="connsiteX4" fmla="*/ 3874 w 25182"/>
                  <a:gd name="connsiteY4" fmla="*/ 3874 h 17433"/>
                  <a:gd name="connsiteX5" fmla="*/ 21308 w 25182"/>
                  <a:gd name="connsiteY5" fmla="*/ 3874 h 17433"/>
                  <a:gd name="connsiteX6" fmla="*/ 21308 w 25182"/>
                  <a:gd name="connsiteY6" fmla="*/ 13560 h 17433"/>
                  <a:gd name="connsiteX7" fmla="*/ 3874 w 25182"/>
                  <a:gd name="connsiteY7" fmla="*/ 13560 h 17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17433">
                    <a:moveTo>
                      <a:pt x="0" y="17434"/>
                    </a:moveTo>
                    <a:lnTo>
                      <a:pt x="25182" y="17434"/>
                    </a:lnTo>
                    <a:lnTo>
                      <a:pt x="25182" y="0"/>
                    </a:lnTo>
                    <a:lnTo>
                      <a:pt x="0" y="0"/>
                    </a:lnTo>
                    <a:close/>
                    <a:moveTo>
                      <a:pt x="3874" y="3874"/>
                    </a:moveTo>
                    <a:lnTo>
                      <a:pt x="21308" y="3874"/>
                    </a:lnTo>
                    <a:lnTo>
                      <a:pt x="21308" y="13560"/>
                    </a:lnTo>
                    <a:lnTo>
                      <a:pt x="3874" y="13560"/>
                    </a:lnTo>
                    <a:close/>
                  </a:path>
                </a:pathLst>
              </a:custGeom>
              <a:solidFill>
                <a:srgbClr val="0078D7"/>
              </a:solidFill>
              <a:ln w="1885" cap="flat">
                <a:solidFill>
                  <a:srgbClr val="0078D7"/>
                </a:solidFill>
                <a:prstDash val="solid"/>
                <a:miter/>
              </a:ln>
            </p:spPr>
            <p:txBody>
              <a:bodyPr rtlCol="0" anchor="ctr"/>
              <a:lstStyle/>
              <a:p>
                <a:endParaRPr lang="en-US"/>
              </a:p>
            </p:txBody>
          </p:sp>
          <p:sp>
            <p:nvSpPr>
              <p:cNvPr id="373" name="Freeform: Shape 372">
                <a:extLst>
                  <a:ext uri="{FF2B5EF4-FFF2-40B4-BE49-F238E27FC236}">
                    <a16:creationId xmlns:a16="http://schemas.microsoft.com/office/drawing/2014/main" id="{1945E974-6108-4614-9182-0F44312CED9B}"/>
                  </a:ext>
                </a:extLst>
              </p:cNvPr>
              <p:cNvSpPr/>
              <p:nvPr/>
            </p:nvSpPr>
            <p:spPr>
              <a:xfrm>
                <a:off x="1335352" y="6156117"/>
                <a:ext cx="69735" cy="69735"/>
              </a:xfrm>
              <a:custGeom>
                <a:avLst/>
                <a:gdLst>
                  <a:gd name="connsiteX0" fmla="*/ 34868 w 69735"/>
                  <a:gd name="connsiteY0" fmla="*/ 0 h 69735"/>
                  <a:gd name="connsiteX1" fmla="*/ 0 w 69735"/>
                  <a:gd name="connsiteY1" fmla="*/ 34868 h 69735"/>
                  <a:gd name="connsiteX2" fmla="*/ 34868 w 69735"/>
                  <a:gd name="connsiteY2" fmla="*/ 69735 h 69735"/>
                  <a:gd name="connsiteX3" fmla="*/ 69735 w 69735"/>
                  <a:gd name="connsiteY3" fmla="*/ 34868 h 69735"/>
                  <a:gd name="connsiteX4" fmla="*/ 34868 w 69735"/>
                  <a:gd name="connsiteY4" fmla="*/ 0 h 69735"/>
                  <a:gd name="connsiteX5" fmla="*/ 34868 w 69735"/>
                  <a:gd name="connsiteY5" fmla="*/ 65861 h 69735"/>
                  <a:gd name="connsiteX6" fmla="*/ 3874 w 69735"/>
                  <a:gd name="connsiteY6" fmla="*/ 34868 h 69735"/>
                  <a:gd name="connsiteX7" fmla="*/ 34868 w 69735"/>
                  <a:gd name="connsiteY7" fmla="*/ 3874 h 69735"/>
                  <a:gd name="connsiteX8" fmla="*/ 65861 w 69735"/>
                  <a:gd name="connsiteY8" fmla="*/ 34868 h 69735"/>
                  <a:gd name="connsiteX9" fmla="*/ 34868 w 69735"/>
                  <a:gd name="connsiteY9" fmla="*/ 65861 h 69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735" h="69735">
                    <a:moveTo>
                      <a:pt x="34868" y="0"/>
                    </a:moveTo>
                    <a:cubicBezTo>
                      <a:pt x="15611" y="0"/>
                      <a:pt x="0" y="15611"/>
                      <a:pt x="0" y="34868"/>
                    </a:cubicBezTo>
                    <a:cubicBezTo>
                      <a:pt x="0" y="54125"/>
                      <a:pt x="15611" y="69735"/>
                      <a:pt x="34868" y="69735"/>
                    </a:cubicBezTo>
                    <a:cubicBezTo>
                      <a:pt x="54125" y="69735"/>
                      <a:pt x="69735" y="54125"/>
                      <a:pt x="69735" y="34868"/>
                    </a:cubicBezTo>
                    <a:cubicBezTo>
                      <a:pt x="69713" y="15620"/>
                      <a:pt x="54115" y="22"/>
                      <a:pt x="34868" y="0"/>
                    </a:cubicBezTo>
                    <a:close/>
                    <a:moveTo>
                      <a:pt x="34868" y="65861"/>
                    </a:moveTo>
                    <a:cubicBezTo>
                      <a:pt x="17750" y="65861"/>
                      <a:pt x="3874" y="51985"/>
                      <a:pt x="3874" y="34868"/>
                    </a:cubicBezTo>
                    <a:cubicBezTo>
                      <a:pt x="3874" y="17750"/>
                      <a:pt x="17750" y="3874"/>
                      <a:pt x="34868" y="3874"/>
                    </a:cubicBezTo>
                    <a:cubicBezTo>
                      <a:pt x="51985" y="3874"/>
                      <a:pt x="65861" y="17750"/>
                      <a:pt x="65861" y="34868"/>
                    </a:cubicBezTo>
                    <a:cubicBezTo>
                      <a:pt x="65841" y="51976"/>
                      <a:pt x="51976" y="65841"/>
                      <a:pt x="34868" y="65861"/>
                    </a:cubicBezTo>
                    <a:close/>
                  </a:path>
                </a:pathLst>
              </a:custGeom>
              <a:solidFill>
                <a:srgbClr val="0078D7"/>
              </a:solidFill>
              <a:ln w="1885" cap="flat">
                <a:solidFill>
                  <a:srgbClr val="0078D7"/>
                </a:solidFill>
                <a:prstDash val="solid"/>
                <a:miter/>
              </a:ln>
            </p:spPr>
            <p:txBody>
              <a:bodyPr rtlCol="0" anchor="ctr"/>
              <a:lstStyle/>
              <a:p>
                <a:endParaRPr lang="en-US"/>
              </a:p>
            </p:txBody>
          </p:sp>
        </p:grpSp>
        <p:sp>
          <p:nvSpPr>
            <p:cNvPr id="370" name="Rectangle 369">
              <a:extLst>
                <a:ext uri="{FF2B5EF4-FFF2-40B4-BE49-F238E27FC236}">
                  <a16:creationId xmlns:a16="http://schemas.microsoft.com/office/drawing/2014/main" id="{50235F4D-941C-470D-BA46-64A7AAB051FE}"/>
                </a:ext>
              </a:extLst>
            </p:cNvPr>
            <p:cNvSpPr/>
            <p:nvPr/>
          </p:nvSpPr>
          <p:spPr bwMode="auto">
            <a:xfrm>
              <a:off x="1422947" y="6157764"/>
              <a:ext cx="99047" cy="56180"/>
            </a:xfrm>
            <a:prstGeom prst="rect">
              <a:avLst/>
            </a:prstGeom>
            <a:solidFill>
              <a:schemeClr val="bg1"/>
            </a:solidFill>
            <a:ln w="63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400" b="1">
                  <a:solidFill>
                    <a:srgbClr val="0078D7"/>
                  </a:solidFill>
                  <a:latin typeface="Segoe UI Black" panose="020B0A02040204020203" pitchFamily="34" charset="0"/>
                  <a:ea typeface="Segoe UI Black" panose="020B0A02040204020203" pitchFamily="34" charset="0"/>
                  <a:cs typeface="Segoe UI" pitchFamily="34" charset="0"/>
                </a:rPr>
                <a:t>HD</a:t>
              </a:r>
            </a:p>
          </p:txBody>
        </p:sp>
      </p:grpSp>
      <p:pic>
        <p:nvPicPr>
          <p:cNvPr id="374" name="Picture 373">
            <a:extLst>
              <a:ext uri="{FF2B5EF4-FFF2-40B4-BE49-F238E27FC236}">
                <a16:creationId xmlns:a16="http://schemas.microsoft.com/office/drawing/2014/main" id="{E2AE8697-4C60-4326-BB5D-00DFF989A3C8}"/>
              </a:ext>
              <a:ext uri="{C183D7F6-B498-43B3-948B-1728B52AA6E4}">
                <adec:decorative xmlns:adec="http://schemas.microsoft.com/office/drawing/2017/decorative" val="1"/>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2091460" y="1270892"/>
            <a:ext cx="201236" cy="81634"/>
          </a:xfrm>
          <a:prstGeom prst="rect">
            <a:avLst/>
          </a:prstGeom>
        </p:spPr>
      </p:pic>
      <p:pic>
        <p:nvPicPr>
          <p:cNvPr id="375" name="Picture 374">
            <a:extLst>
              <a:ext uri="{FF2B5EF4-FFF2-40B4-BE49-F238E27FC236}">
                <a16:creationId xmlns:a16="http://schemas.microsoft.com/office/drawing/2014/main" id="{B1E99F28-4152-4537-B68E-4E713E28FC29}"/>
              </a:ext>
              <a:ext uri="{C183D7F6-B498-43B3-948B-1728B52AA6E4}">
                <adec:decorative xmlns:adec="http://schemas.microsoft.com/office/drawing/2017/decorative" val="1"/>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5394185" y="1258751"/>
            <a:ext cx="201236" cy="81634"/>
          </a:xfrm>
          <a:prstGeom prst="rect">
            <a:avLst/>
          </a:prstGeom>
        </p:spPr>
      </p:pic>
      <p:pic>
        <p:nvPicPr>
          <p:cNvPr id="376" name="Picture 375">
            <a:extLst>
              <a:ext uri="{FF2B5EF4-FFF2-40B4-BE49-F238E27FC236}">
                <a16:creationId xmlns:a16="http://schemas.microsoft.com/office/drawing/2014/main" id="{3373C4AB-E9ED-4C50-ADD6-41EEC17489BF}"/>
              </a:ext>
              <a:ext uri="{C183D7F6-B498-43B3-948B-1728B52AA6E4}">
                <adec:decorative xmlns:adec="http://schemas.microsoft.com/office/drawing/2017/decorative" val="1"/>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11463963" y="1272799"/>
            <a:ext cx="201236" cy="81634"/>
          </a:xfrm>
          <a:prstGeom prst="rect">
            <a:avLst/>
          </a:prstGeom>
        </p:spPr>
      </p:pic>
      <p:pic>
        <p:nvPicPr>
          <p:cNvPr id="377" name="Picture 376">
            <a:extLst>
              <a:ext uri="{FF2B5EF4-FFF2-40B4-BE49-F238E27FC236}">
                <a16:creationId xmlns:a16="http://schemas.microsoft.com/office/drawing/2014/main" id="{08FE9ADE-60EF-4540-9C82-9704ABCA2F43}"/>
              </a:ext>
              <a:ext uri="{C183D7F6-B498-43B3-948B-1728B52AA6E4}">
                <adec:decorative xmlns:adec="http://schemas.microsoft.com/office/drawing/2017/decorative" val="1"/>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1960830" y="3724871"/>
            <a:ext cx="201236" cy="81634"/>
          </a:xfrm>
          <a:prstGeom prst="rect">
            <a:avLst/>
          </a:prstGeom>
        </p:spPr>
      </p:pic>
      <p:pic>
        <p:nvPicPr>
          <p:cNvPr id="378" name="Picture 377">
            <a:extLst>
              <a:ext uri="{FF2B5EF4-FFF2-40B4-BE49-F238E27FC236}">
                <a16:creationId xmlns:a16="http://schemas.microsoft.com/office/drawing/2014/main" id="{8D46F817-71F6-490A-8B9A-F6E87ADF0ABA}"/>
              </a:ext>
              <a:ext uri="{C183D7F6-B498-43B3-948B-1728B52AA6E4}">
                <adec:decorative xmlns:adec="http://schemas.microsoft.com/office/drawing/2017/decorative" val="1"/>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4236572" y="3720404"/>
            <a:ext cx="201236" cy="81634"/>
          </a:xfrm>
          <a:prstGeom prst="rect">
            <a:avLst/>
          </a:prstGeom>
        </p:spPr>
      </p:pic>
      <p:pic>
        <p:nvPicPr>
          <p:cNvPr id="379" name="Picture 378">
            <a:extLst>
              <a:ext uri="{FF2B5EF4-FFF2-40B4-BE49-F238E27FC236}">
                <a16:creationId xmlns:a16="http://schemas.microsoft.com/office/drawing/2014/main" id="{9FA7CF77-4EB3-4C47-891D-3D483AE18BE6}"/>
              </a:ext>
              <a:ext uri="{C183D7F6-B498-43B3-948B-1728B52AA6E4}">
                <adec:decorative xmlns:adec="http://schemas.microsoft.com/office/drawing/2017/decorative" val="1"/>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6468004" y="3730318"/>
            <a:ext cx="201236" cy="81634"/>
          </a:xfrm>
          <a:prstGeom prst="rect">
            <a:avLst/>
          </a:prstGeom>
        </p:spPr>
      </p:pic>
      <p:pic>
        <p:nvPicPr>
          <p:cNvPr id="380" name="Picture 379">
            <a:extLst>
              <a:ext uri="{FF2B5EF4-FFF2-40B4-BE49-F238E27FC236}">
                <a16:creationId xmlns:a16="http://schemas.microsoft.com/office/drawing/2014/main" id="{2A814BF7-1DCF-4695-ACB0-25ED2C1EC05B}"/>
              </a:ext>
              <a:ext uri="{C183D7F6-B498-43B3-948B-1728B52AA6E4}">
                <adec:decorative xmlns:adec="http://schemas.microsoft.com/office/drawing/2017/decorative" val="1"/>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9188149" y="3724871"/>
            <a:ext cx="201236" cy="81634"/>
          </a:xfrm>
          <a:prstGeom prst="rect">
            <a:avLst/>
          </a:prstGeom>
        </p:spPr>
      </p:pic>
    </p:spTree>
    <p:extLst>
      <p:ext uri="{BB962C8B-B14F-4D97-AF65-F5344CB8AC3E}">
        <p14:creationId xmlns:p14="http://schemas.microsoft.com/office/powerpoint/2010/main" val="386259833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02701-C9EF-45D6-868D-DF7186421821}"/>
              </a:ext>
            </a:extLst>
          </p:cNvPr>
          <p:cNvSpPr>
            <a:spLocks noGrp="1"/>
          </p:cNvSpPr>
          <p:nvPr>
            <p:ph type="title"/>
          </p:nvPr>
        </p:nvSpPr>
        <p:spPr>
          <a:xfrm>
            <a:off x="457200" y="503238"/>
            <a:ext cx="11520488" cy="730139"/>
          </a:xfrm>
        </p:spPr>
        <p:txBody>
          <a:bodyPr/>
          <a:lstStyle/>
          <a:p>
            <a:r>
              <a:rPr lang="en-US">
                <a:solidFill>
                  <a:schemeClr val="tx2"/>
                </a:solidFill>
                <a:latin typeface="Segoe UI Semibold" panose="020B0702040204020203" pitchFamily="34" charset="0"/>
                <a:cs typeface="Segoe UI Semibold" panose="020B0702040204020203" pitchFamily="34" charset="0"/>
              </a:rPr>
              <a:t>Find the right devices </a:t>
            </a:r>
            <a:r>
              <a:rPr lang="en-US"/>
              <a:t>for your school </a:t>
            </a:r>
            <a:r>
              <a:rPr lang="en-US">
                <a:solidFill>
                  <a:schemeClr val="bg1"/>
                </a:solidFill>
              </a:rPr>
              <a:t>slide 2</a:t>
            </a:r>
          </a:p>
        </p:txBody>
      </p:sp>
      <p:graphicFrame>
        <p:nvGraphicFramePr>
          <p:cNvPr id="144" name="Table 2">
            <a:extLst>
              <a:ext uri="{FF2B5EF4-FFF2-40B4-BE49-F238E27FC236}">
                <a16:creationId xmlns:a16="http://schemas.microsoft.com/office/drawing/2014/main" id="{8C6EBC79-1A98-48D9-9AAD-D212C0FA785F}"/>
              </a:ext>
            </a:extLst>
          </p:cNvPr>
          <p:cNvGraphicFramePr>
            <a:graphicFrameLocks noGrp="1"/>
          </p:cNvGraphicFramePr>
          <p:nvPr>
            <p:extLst>
              <p:ext uri="{D42A27DB-BD31-4B8C-83A1-F6EECF244321}">
                <p14:modId xmlns:p14="http://schemas.microsoft.com/office/powerpoint/2010/main" val="4076165637"/>
              </p:ext>
            </p:extLst>
          </p:nvPr>
        </p:nvGraphicFramePr>
        <p:xfrm>
          <a:off x="-8741" y="2381575"/>
          <a:ext cx="12434712" cy="1081886"/>
        </p:xfrm>
        <a:graphic>
          <a:graphicData uri="http://schemas.openxmlformats.org/drawingml/2006/table">
            <a:tbl>
              <a:tblPr firstRow="1" bandRow="1">
                <a:tableStyleId>{5C22544A-7EE6-4342-B048-85BDC9FD1C3A}</a:tableStyleId>
              </a:tblPr>
              <a:tblGrid>
                <a:gridCol w="3108678">
                  <a:extLst>
                    <a:ext uri="{9D8B030D-6E8A-4147-A177-3AD203B41FA5}">
                      <a16:colId xmlns:a16="http://schemas.microsoft.com/office/drawing/2014/main" val="3398982997"/>
                    </a:ext>
                  </a:extLst>
                </a:gridCol>
                <a:gridCol w="3108678">
                  <a:extLst>
                    <a:ext uri="{9D8B030D-6E8A-4147-A177-3AD203B41FA5}">
                      <a16:colId xmlns:a16="http://schemas.microsoft.com/office/drawing/2014/main" val="39528479"/>
                    </a:ext>
                  </a:extLst>
                </a:gridCol>
                <a:gridCol w="3108678">
                  <a:extLst>
                    <a:ext uri="{9D8B030D-6E8A-4147-A177-3AD203B41FA5}">
                      <a16:colId xmlns:a16="http://schemas.microsoft.com/office/drawing/2014/main" val="4197934073"/>
                    </a:ext>
                  </a:extLst>
                </a:gridCol>
                <a:gridCol w="3108678">
                  <a:extLst>
                    <a:ext uri="{9D8B030D-6E8A-4147-A177-3AD203B41FA5}">
                      <a16:colId xmlns:a16="http://schemas.microsoft.com/office/drawing/2014/main" val="1162122615"/>
                    </a:ext>
                  </a:extLst>
                </a:gridCol>
              </a:tblGrid>
              <a:tr h="624751">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7"/>
                          </a:solidFill>
                          <a:effectLst/>
                          <a:uLnTx/>
                          <a:uFillTx/>
                          <a:latin typeface="Segoe UI Semibold"/>
                          <a:ea typeface="+mn-ea"/>
                          <a:cs typeface="Segoe UI Semibold"/>
                        </a:rPr>
                        <a:t>JP-IK </a:t>
                      </a:r>
                    </a:p>
                    <a:p>
                      <a:pPr marL="0" marR="0" lvl="0" indent="0" algn="ctr" defTabSz="932104"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Leap </a:t>
                      </a:r>
                      <a:r>
                        <a:rPr kumimoji="0" lang="en-US" sz="1000" b="0" i="0" u="none" strike="noStrike" kern="1200" cap="none" spc="0" normalizeH="0" baseline="0" noProof="0">
                          <a:ln>
                            <a:noFill/>
                          </a:ln>
                          <a:solidFill>
                            <a:prstClr val="black"/>
                          </a:solidFill>
                          <a:effectLst/>
                          <a:uLnTx/>
                          <a:uFillTx/>
                          <a:latin typeface="+mn-lt"/>
                          <a:ea typeface="+mn-ea"/>
                          <a:cs typeface="Segoe UI Semibold"/>
                        </a:rPr>
                        <a:t>T304</a:t>
                      </a:r>
                    </a:p>
                    <a:p>
                      <a:pPr marL="0" marR="0" lvl="0" indent="0" algn="ctr" defTabSz="932104" rtl="0" eaLnBrk="1" fontAlgn="auto" latinLnBrk="0" hangingPunct="1">
                        <a:lnSpc>
                          <a:spcPct val="100000"/>
                        </a:lnSpc>
                        <a:spcBef>
                          <a:spcPts val="0"/>
                        </a:spcBef>
                        <a:spcAft>
                          <a:spcPts val="0"/>
                        </a:spcAft>
                        <a:buClrTx/>
                        <a:buSzTx/>
                        <a:buFontTx/>
                        <a:buNone/>
                        <a:tabLst/>
                        <a:defRPr/>
                      </a:pPr>
                      <a:endParaRPr lang="en-US" sz="1000" b="0" kern="1200">
                        <a:solidFill>
                          <a:schemeClr val="tx1"/>
                        </a:solidFill>
                        <a:latin typeface="+mn-lt"/>
                        <a:ea typeface="+mn-ea"/>
                        <a:cs typeface="Segoe UI Semibold"/>
                      </a:endParaRPr>
                    </a:p>
                  </a:txBody>
                  <a:tcPr marL="0" marR="0" marT="45713" marB="45713">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kern="1200">
                          <a:solidFill>
                            <a:srgbClr val="0078D7"/>
                          </a:solidFill>
                          <a:latin typeface="Segoe UI Semibold"/>
                          <a:ea typeface="+mn-ea"/>
                          <a:cs typeface="Segoe UI Semibold"/>
                        </a:rPr>
                        <a:t>JP-IK</a:t>
                      </a:r>
                      <a:r>
                        <a:rPr lang="en-US" sz="1100" b="1">
                          <a:solidFill>
                            <a:srgbClr val="0078D7"/>
                          </a:solidFill>
                          <a:latin typeface="Segoe UI Semibold"/>
                          <a:cs typeface="Segoe UI Semibold"/>
                        </a:rPr>
                        <a:t> </a:t>
                      </a:r>
                    </a:p>
                    <a:p>
                      <a:pPr algn="ctr"/>
                      <a:r>
                        <a:rPr lang="en-US" sz="1000" b="0" kern="1200">
                          <a:solidFill>
                            <a:schemeClr val="tx1"/>
                          </a:solidFill>
                          <a:latin typeface="Segoe UI Semibold" panose="020B0702040204020203" pitchFamily="34" charset="0"/>
                          <a:ea typeface="+mn-ea"/>
                          <a:cs typeface="Segoe UI Semibold" panose="020B0702040204020203" pitchFamily="34" charset="0"/>
                        </a:rPr>
                        <a:t>Turn Connect </a:t>
                      </a:r>
                      <a:r>
                        <a:rPr lang="en-US" sz="1000" b="0" kern="1200">
                          <a:solidFill>
                            <a:schemeClr val="tx1"/>
                          </a:solidFill>
                          <a:latin typeface="+mj-lt"/>
                          <a:ea typeface="+mn-ea"/>
                          <a:cs typeface="Segoe UI Semibold" panose="020B0702040204020203" pitchFamily="34" charset="0"/>
                        </a:rPr>
                        <a:t> </a:t>
                      </a:r>
                      <a:r>
                        <a:rPr lang="en-US" sz="1000" b="0" kern="1200">
                          <a:solidFill>
                            <a:schemeClr val="tx1"/>
                          </a:solidFill>
                          <a:latin typeface="+mn-lt"/>
                          <a:ea typeface="+mn-ea"/>
                          <a:cs typeface="Segoe UI Semibold"/>
                        </a:rPr>
                        <a:t>T101</a:t>
                      </a:r>
                    </a:p>
                    <a:p>
                      <a:pPr algn="ctr"/>
                      <a:endParaRPr lang="en-US" sz="1000" b="0" kern="1200">
                        <a:solidFill>
                          <a:schemeClr val="tx1"/>
                        </a:solidFill>
                        <a:latin typeface="+mn-lt"/>
                        <a:ea typeface="+mn-ea"/>
                        <a:cs typeface="Segoe UI Semibold"/>
                      </a:endParaRPr>
                    </a:p>
                  </a:txBody>
                  <a:tcPr marL="0" marR="0" marT="45713" marB="4571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1" kern="1200">
                          <a:solidFill>
                            <a:srgbClr val="0078D7"/>
                          </a:solidFill>
                          <a:latin typeface="Segoe UI Semibold"/>
                          <a:ea typeface="+mn-ea"/>
                          <a:cs typeface="Segoe UI Semibold"/>
                        </a:rPr>
                        <a:t>JP-IK </a:t>
                      </a:r>
                    </a:p>
                    <a:p>
                      <a:pPr algn="ctr">
                        <a:spcAft>
                          <a:spcPts val="0"/>
                        </a:spcAft>
                      </a:pPr>
                      <a:r>
                        <a:rPr lang="en-US" sz="1000" b="0" kern="1200">
                          <a:solidFill>
                            <a:schemeClr val="tx1"/>
                          </a:solidFill>
                          <a:latin typeface="Segoe UI Semibold" panose="020B0702040204020203" pitchFamily="34" charset="0"/>
                          <a:ea typeface="+mn-ea"/>
                          <a:cs typeface="Segoe UI Semibold" panose="020B0702040204020203" pitchFamily="34" charset="0"/>
                        </a:rPr>
                        <a:t>Turn</a:t>
                      </a:r>
                      <a:r>
                        <a:rPr lang="en-US" sz="1000" b="0" kern="1200">
                          <a:solidFill>
                            <a:schemeClr val="tx1"/>
                          </a:solidFill>
                          <a:latin typeface="+mj-lt"/>
                          <a:ea typeface="+mn-ea"/>
                          <a:cs typeface="Segoe UI Semibold" panose="020B0702040204020203" pitchFamily="34" charset="0"/>
                        </a:rPr>
                        <a:t> </a:t>
                      </a:r>
                      <a:r>
                        <a:rPr lang="en-US" sz="1000" b="0" kern="1200">
                          <a:solidFill>
                            <a:schemeClr val="tx1"/>
                          </a:solidFill>
                          <a:latin typeface="+mn-lt"/>
                          <a:ea typeface="+mn-ea"/>
                          <a:cs typeface="Segoe UI Semibold"/>
                        </a:rPr>
                        <a:t>T303</a:t>
                      </a:r>
                    </a:p>
                  </a:txBody>
                  <a:tcPr marL="0" marR="0" marT="45713" marB="4571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1" kern="1200">
                          <a:solidFill>
                            <a:srgbClr val="0078D7"/>
                          </a:solidFill>
                          <a:latin typeface="Segoe UI Semibold"/>
                          <a:ea typeface="+mn-ea"/>
                          <a:cs typeface="Segoe UI Semibold"/>
                        </a:rPr>
                        <a:t>JP-IK</a:t>
                      </a:r>
                      <a:endParaRPr lang="en-US" sz="1000" b="1" kern="1200">
                        <a:solidFill>
                          <a:srgbClr val="0078D7"/>
                        </a:solidFill>
                        <a:latin typeface="Segoe UI Semibold"/>
                        <a:ea typeface="+mn-ea"/>
                        <a:cs typeface="Segoe UI Semibold"/>
                      </a:endParaRPr>
                    </a:p>
                    <a:p>
                      <a:pPr algn="ctr">
                        <a:spcAft>
                          <a:spcPts val="0"/>
                        </a:spcAft>
                      </a:pPr>
                      <a:r>
                        <a:rPr lang="en-US" sz="1000" b="0" kern="1200">
                          <a:solidFill>
                            <a:schemeClr val="tx1"/>
                          </a:solidFill>
                          <a:latin typeface="Segoe UI Semibold" panose="020B0702040204020203" pitchFamily="34" charset="0"/>
                          <a:ea typeface="+mn-ea"/>
                          <a:cs typeface="Segoe UI Semibold" panose="020B0702040204020203" pitchFamily="34" charset="0"/>
                        </a:rPr>
                        <a:t>Slide </a:t>
                      </a:r>
                      <a:r>
                        <a:rPr lang="en-US" sz="1000" b="0" kern="1200">
                          <a:solidFill>
                            <a:schemeClr val="tx1"/>
                          </a:solidFill>
                          <a:latin typeface="+mn-lt"/>
                          <a:ea typeface="+mn-ea"/>
                          <a:cs typeface="Segoe UI Semibold"/>
                        </a:rPr>
                        <a:t>S301</a:t>
                      </a:r>
                    </a:p>
                    <a:p>
                      <a:pPr algn="ctr">
                        <a:spcAft>
                          <a:spcPts val="0"/>
                        </a:spcAft>
                      </a:pPr>
                      <a:endParaRPr lang="en-US" sz="1000" b="0" kern="1200">
                        <a:solidFill>
                          <a:schemeClr val="tx1"/>
                        </a:solidFill>
                        <a:latin typeface="+mn-lt"/>
                        <a:ea typeface="+mn-ea"/>
                        <a:cs typeface="Segoe UI Semibold"/>
                      </a:endParaRPr>
                    </a:p>
                  </a:txBody>
                  <a:tcPr marL="0" marR="0" marT="45713" marB="4571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9340179"/>
                  </a:ext>
                </a:extLst>
              </a:tr>
              <a:tr h="457135">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a:solidFill>
                            <a:schemeClr val="tx1"/>
                          </a:solidFill>
                          <a:latin typeface="Segoe UI Semibold" panose="020B0702040204020203" pitchFamily="34" charset="0"/>
                          <a:cs typeface="Segoe UI Semibold" panose="020B0702040204020203" pitchFamily="34" charset="0"/>
                        </a:rPr>
                        <a:t>Intel: </a:t>
                      </a:r>
                      <a:r>
                        <a:rPr lang="en-US" sz="1000">
                          <a:solidFill>
                            <a:schemeClr val="tx1"/>
                          </a:solidFill>
                          <a:latin typeface="+mn-lt"/>
                          <a:cs typeface="Segoe UI Semibold" panose="020B0702040204020203" pitchFamily="34" charset="0"/>
                        </a:rPr>
                        <a:t>$185+</a:t>
                      </a:r>
                      <a:endParaRPr lang="en-US" sz="1000">
                        <a:solidFill>
                          <a:schemeClr val="tx1"/>
                        </a:solidFill>
                        <a:latin typeface="Segoe UI Semibold" panose="020B0702040204020203" pitchFamily="34" charset="0"/>
                        <a:cs typeface="Segoe UI Semibold" panose="020B0702040204020203" pitchFamily="34" charset="0"/>
                      </a:endParaRPr>
                    </a:p>
                  </a:txBody>
                  <a:tcPr marL="0" marR="0" marT="91427"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a:solidFill>
                            <a:schemeClr val="tx1"/>
                          </a:solidFill>
                          <a:latin typeface="Segoe UI Semibold" panose="020B0702040204020203" pitchFamily="34" charset="0"/>
                          <a:cs typeface="Segoe UI Semibold" panose="020B0702040204020203" pitchFamily="34" charset="0"/>
                        </a:rPr>
                        <a:t> Qualcomm: $</a:t>
                      </a:r>
                      <a:r>
                        <a:rPr lang="en-US" sz="1000" kern="1200">
                          <a:solidFill>
                            <a:schemeClr val="tx1"/>
                          </a:solidFill>
                          <a:latin typeface="+mn-lt"/>
                          <a:ea typeface="+mn-ea"/>
                          <a:cs typeface="Segoe UI Semibold" panose="020B0702040204020203" pitchFamily="34" charset="0"/>
                        </a:rPr>
                        <a:t>329</a:t>
                      </a:r>
                      <a:r>
                        <a:rPr lang="en-US" sz="1000" kern="1200">
                          <a:solidFill>
                            <a:schemeClr val="tx1"/>
                          </a:solidFill>
                          <a:latin typeface="Segoe UI Semibold" panose="020B0702040204020203" pitchFamily="34" charset="0"/>
                          <a:ea typeface="+mn-ea"/>
                          <a:cs typeface="Segoe UI Semibold" panose="020B0702040204020203" pitchFamily="34" charset="0"/>
                        </a:rPr>
                        <a:t>+</a:t>
                      </a:r>
                      <a:endParaRPr lang="en-US" sz="1000">
                        <a:solidFill>
                          <a:schemeClr val="tx1"/>
                        </a:solidFill>
                        <a:latin typeface="+mn-lt"/>
                        <a:cs typeface="Segoe UI Semibold"/>
                      </a:endParaRPr>
                    </a:p>
                  </a:txBody>
                  <a:tcPr marL="0" marR="0" marT="9142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kern="1200">
                          <a:solidFill>
                            <a:schemeClr val="tx1"/>
                          </a:solidFill>
                          <a:latin typeface="Segoe UI Semibold" panose="020B0702040204020203" pitchFamily="34" charset="0"/>
                          <a:ea typeface="+mn-ea"/>
                          <a:cs typeface="Segoe UI Semibold" panose="020B0702040204020203" pitchFamily="34" charset="0"/>
                        </a:rPr>
                        <a:t>Intel</a:t>
                      </a:r>
                      <a:r>
                        <a:rPr lang="en-US" sz="1000">
                          <a:solidFill>
                            <a:schemeClr val="tx1"/>
                          </a:solidFill>
                          <a:latin typeface="+mn-lt"/>
                          <a:cs typeface="Segoe UI Semibold"/>
                        </a:rPr>
                        <a:t>: $239+</a:t>
                      </a:r>
                    </a:p>
                  </a:txBody>
                  <a:tcPr marL="0" marR="0" marT="9142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kern="1200">
                          <a:solidFill>
                            <a:schemeClr val="tx1"/>
                          </a:solidFill>
                          <a:latin typeface="Segoe UI Semibold" panose="020B0702040204020203" pitchFamily="34" charset="0"/>
                          <a:ea typeface="+mn-ea"/>
                          <a:cs typeface="Segoe UI Semibold" panose="020B0702040204020203" pitchFamily="34" charset="0"/>
                        </a:rPr>
                        <a:t>Intel</a:t>
                      </a:r>
                      <a:r>
                        <a:rPr lang="en-US" sz="1000">
                          <a:solidFill>
                            <a:schemeClr val="tx1"/>
                          </a:solidFill>
                          <a:latin typeface="+mn-lt"/>
                          <a:cs typeface="Segoe UI Semibold"/>
                        </a:rPr>
                        <a:t>: $219+</a:t>
                      </a:r>
                    </a:p>
                  </a:txBody>
                  <a:tcPr marL="0" marR="0" marT="9142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9416787"/>
                  </a:ext>
                </a:extLst>
              </a:tr>
            </a:tbl>
          </a:graphicData>
        </a:graphic>
      </p:graphicFrame>
      <p:graphicFrame>
        <p:nvGraphicFramePr>
          <p:cNvPr id="145" name="Table 2">
            <a:extLst>
              <a:ext uri="{FF2B5EF4-FFF2-40B4-BE49-F238E27FC236}">
                <a16:creationId xmlns:a16="http://schemas.microsoft.com/office/drawing/2014/main" id="{868925A9-099C-43AC-908D-6EF46C399A7F}"/>
              </a:ext>
            </a:extLst>
          </p:cNvPr>
          <p:cNvGraphicFramePr>
            <a:graphicFrameLocks noGrp="1"/>
          </p:cNvGraphicFramePr>
          <p:nvPr>
            <p:extLst>
              <p:ext uri="{D42A27DB-BD31-4B8C-83A1-F6EECF244321}">
                <p14:modId xmlns:p14="http://schemas.microsoft.com/office/powerpoint/2010/main" val="663418377"/>
              </p:ext>
            </p:extLst>
          </p:nvPr>
        </p:nvGraphicFramePr>
        <p:xfrm>
          <a:off x="3624" y="4745047"/>
          <a:ext cx="12431180" cy="1081886"/>
        </p:xfrm>
        <a:graphic>
          <a:graphicData uri="http://schemas.openxmlformats.org/drawingml/2006/table">
            <a:tbl>
              <a:tblPr firstRow="1" bandRow="1">
                <a:tableStyleId>{5C22544A-7EE6-4342-B048-85BDC9FD1C3A}</a:tableStyleId>
              </a:tblPr>
              <a:tblGrid>
                <a:gridCol w="3107795">
                  <a:extLst>
                    <a:ext uri="{9D8B030D-6E8A-4147-A177-3AD203B41FA5}">
                      <a16:colId xmlns:a16="http://schemas.microsoft.com/office/drawing/2014/main" val="3398982997"/>
                    </a:ext>
                  </a:extLst>
                </a:gridCol>
                <a:gridCol w="3107795">
                  <a:extLst>
                    <a:ext uri="{9D8B030D-6E8A-4147-A177-3AD203B41FA5}">
                      <a16:colId xmlns:a16="http://schemas.microsoft.com/office/drawing/2014/main" val="39528479"/>
                    </a:ext>
                  </a:extLst>
                </a:gridCol>
                <a:gridCol w="3107795">
                  <a:extLst>
                    <a:ext uri="{9D8B030D-6E8A-4147-A177-3AD203B41FA5}">
                      <a16:colId xmlns:a16="http://schemas.microsoft.com/office/drawing/2014/main" val="4197934073"/>
                    </a:ext>
                  </a:extLst>
                </a:gridCol>
                <a:gridCol w="3107795">
                  <a:extLst>
                    <a:ext uri="{9D8B030D-6E8A-4147-A177-3AD203B41FA5}">
                      <a16:colId xmlns:a16="http://schemas.microsoft.com/office/drawing/2014/main" val="1162122615"/>
                    </a:ext>
                  </a:extLst>
                </a:gridCol>
              </a:tblGrid>
              <a:tr h="624751">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1400" b="1" kern="1200">
                          <a:solidFill>
                            <a:srgbClr val="0078D7"/>
                          </a:solidFill>
                          <a:latin typeface="Segoe UI Semibold"/>
                          <a:ea typeface="+mn-ea"/>
                          <a:cs typeface="Segoe UI Semibold"/>
                        </a:rPr>
                        <a:t>Lenovo</a:t>
                      </a:r>
                      <a:r>
                        <a:rPr lang="en-US" sz="1100" b="1" kern="1200">
                          <a:solidFill>
                            <a:srgbClr val="0078D7"/>
                          </a:solidFill>
                          <a:latin typeface="Segoe UI Semibold"/>
                          <a:ea typeface="+mn-ea"/>
                          <a:cs typeface="Segoe UI Semibold"/>
                        </a:rPr>
                        <a:t> </a:t>
                      </a:r>
                      <a:endParaRPr lang="en-US" sz="1000" b="1" kern="1200">
                        <a:solidFill>
                          <a:srgbClr val="0078D7"/>
                        </a:solidFill>
                        <a:latin typeface="Segoe UI Semibold"/>
                        <a:ea typeface="+mn-ea"/>
                        <a:cs typeface="Segoe UI Semibold"/>
                      </a:endParaRPr>
                    </a:p>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Segoe UI Semibold" panose="020B0702040204020203" pitchFamily="34" charset="0"/>
                          <a:ea typeface="+mn-ea"/>
                          <a:cs typeface="Segoe UI Semibold" panose="020B0702040204020203" pitchFamily="34" charset="0"/>
                        </a:rPr>
                        <a:t>14W</a:t>
                      </a:r>
                      <a:endParaRPr lang="en-US" sz="1000" b="0" kern="1200">
                        <a:solidFill>
                          <a:schemeClr val="tx1"/>
                        </a:solidFill>
                        <a:latin typeface="+mn-lt"/>
                        <a:ea typeface="+mn-ea"/>
                        <a:cs typeface="Segoe UI Semibold"/>
                      </a:endParaRPr>
                    </a:p>
                  </a:txBody>
                  <a:tcPr marL="0" marR="0" marT="45713" marB="45713">
                    <a:lnL w="12700" cmpd="sng">
                      <a:noFill/>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1400" b="1" kern="1200">
                          <a:solidFill>
                            <a:srgbClr val="0078D7"/>
                          </a:solidFill>
                          <a:latin typeface="Segoe UI Semibold"/>
                          <a:ea typeface="+mn-ea"/>
                          <a:cs typeface="Segoe UI Semibold"/>
                        </a:rPr>
                        <a:t>Lenovo</a:t>
                      </a:r>
                      <a:r>
                        <a:rPr lang="en-US" sz="1000" b="1" kern="1200">
                          <a:solidFill>
                            <a:srgbClr val="0078D7"/>
                          </a:solidFill>
                          <a:latin typeface="Segoe UI Semibold"/>
                          <a:ea typeface="+mn-ea"/>
                          <a:cs typeface="Segoe UI Semibold"/>
                        </a:rPr>
                        <a:t> </a:t>
                      </a:r>
                    </a:p>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Segoe UI Semibold" panose="020B0702040204020203" pitchFamily="34" charset="0"/>
                          <a:ea typeface="+mn-ea"/>
                          <a:cs typeface="Segoe UI Semibold" panose="020B0702040204020203" pitchFamily="34" charset="0"/>
                        </a:rPr>
                        <a:t>100e</a:t>
                      </a:r>
                      <a:endParaRPr lang="en-US" sz="1000" b="0" kern="1200">
                        <a:solidFill>
                          <a:schemeClr val="tx1"/>
                        </a:solidFill>
                        <a:latin typeface="+mn-lt"/>
                        <a:ea typeface="+mn-ea"/>
                        <a:cs typeface="Segoe UI Semibold"/>
                      </a:endParaRPr>
                    </a:p>
                  </a:txBody>
                  <a:tcPr marL="0" marR="0" marT="45713" marB="45713">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1400" b="1" kern="1200">
                          <a:solidFill>
                            <a:srgbClr val="0078D7"/>
                          </a:solidFill>
                          <a:latin typeface="Segoe UI Semibold"/>
                          <a:ea typeface="+mn-ea"/>
                          <a:cs typeface="Segoe UI Semibold"/>
                        </a:rPr>
                        <a:t>Lenovo</a:t>
                      </a:r>
                      <a:r>
                        <a:rPr lang="en-US" sz="1100" b="1">
                          <a:solidFill>
                            <a:srgbClr val="0078D7"/>
                          </a:solidFill>
                          <a:latin typeface="Segoe UI Semibold"/>
                          <a:cs typeface="Segoe UI Semibold"/>
                        </a:rPr>
                        <a:t> </a:t>
                      </a:r>
                    </a:p>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Segoe UI Semibold" panose="020B0702040204020203" pitchFamily="34" charset="0"/>
                          <a:ea typeface="+mn-ea"/>
                          <a:cs typeface="Segoe UI Semibold" panose="020B0702040204020203" pitchFamily="34" charset="0"/>
                        </a:rPr>
                        <a:t>300e</a:t>
                      </a:r>
                      <a:endParaRPr lang="en-US" sz="1000" b="0" kern="1200">
                        <a:solidFill>
                          <a:schemeClr val="tx1"/>
                        </a:solidFill>
                        <a:latin typeface="+mn-lt"/>
                        <a:ea typeface="+mn-ea"/>
                        <a:cs typeface="Segoe UI Semibold"/>
                      </a:endParaRPr>
                    </a:p>
                  </a:txBody>
                  <a:tcPr marL="0" marR="0" marT="45713" marB="45713">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kern="1200">
                          <a:solidFill>
                            <a:srgbClr val="0078D7"/>
                          </a:solidFill>
                          <a:latin typeface="Segoe UI Semibold"/>
                          <a:ea typeface="+mn-ea"/>
                          <a:cs typeface="Segoe UI Semibold"/>
                        </a:rPr>
                        <a:t>Lenovo</a:t>
                      </a:r>
                      <a:r>
                        <a:rPr lang="en-US" sz="1100" b="1">
                          <a:solidFill>
                            <a:srgbClr val="0078D7"/>
                          </a:solidFill>
                          <a:latin typeface="Segoe UI Semibold"/>
                          <a:cs typeface="Segoe UI Semibold"/>
                        </a:rPr>
                        <a:t> </a:t>
                      </a:r>
                      <a:endParaRPr lang="en-US" sz="1000" b="1">
                        <a:solidFill>
                          <a:srgbClr val="0078D7"/>
                        </a:solidFill>
                        <a:latin typeface="Segoe UI Semibold"/>
                        <a:cs typeface="Segoe UI Semibold"/>
                      </a:endParaRPr>
                    </a:p>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Segoe UI Semibold" panose="020B0702040204020203" pitchFamily="34" charset="0"/>
                          <a:ea typeface="+mn-ea"/>
                          <a:cs typeface="Segoe UI Semibold" panose="020B0702040204020203" pitchFamily="34" charset="0"/>
                        </a:rPr>
                        <a:t>NEW Device </a:t>
                      </a:r>
                      <a:r>
                        <a:rPr lang="en-US" sz="1000" b="0" kern="1200">
                          <a:solidFill>
                            <a:schemeClr val="tx1"/>
                          </a:solidFill>
                          <a:latin typeface="+mn-lt"/>
                          <a:ea typeface="+mn-ea"/>
                          <a:cs typeface="Segoe UI Semibold"/>
                        </a:rPr>
                        <a:t>Coming Soon</a:t>
                      </a:r>
                    </a:p>
                    <a:p>
                      <a:pPr algn="ctr"/>
                      <a:endParaRPr lang="en-US" sz="1000" b="0" kern="1200">
                        <a:solidFill>
                          <a:schemeClr val="tx1"/>
                        </a:solidFill>
                        <a:latin typeface="+mn-lt"/>
                        <a:ea typeface="+mn-ea"/>
                        <a:cs typeface="Segoe UI Semibold"/>
                      </a:endParaRPr>
                    </a:p>
                  </a:txBody>
                  <a:tcPr marL="0" marR="0" marT="45713" marB="45713">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9340179"/>
                  </a:ext>
                </a:extLst>
              </a:tr>
              <a:tr h="457135">
                <a:tc>
                  <a:txBody>
                    <a:bodyPr/>
                    <a:lstStyle/>
                    <a:p>
                      <a:pPr algn="ctr"/>
                      <a:r>
                        <a:rPr lang="en-US" sz="1000" kern="1200">
                          <a:solidFill>
                            <a:schemeClr val="tx1"/>
                          </a:solidFill>
                          <a:latin typeface="Segoe UI Semibold" panose="020B0702040204020203" pitchFamily="34" charset="0"/>
                          <a:ea typeface="+mn-ea"/>
                          <a:cs typeface="Segoe UI Semibold" panose="020B0702040204020203" pitchFamily="34" charset="0"/>
                        </a:rPr>
                        <a:t>AMD: </a:t>
                      </a:r>
                      <a:r>
                        <a:rPr lang="en-US" sz="1000" kern="1200">
                          <a:solidFill>
                            <a:schemeClr val="tx1"/>
                          </a:solidFill>
                          <a:latin typeface="+mn-lt"/>
                          <a:ea typeface="+mn-ea"/>
                          <a:cs typeface="Segoe UI Semibold" panose="020B0702040204020203" pitchFamily="34" charset="0"/>
                        </a:rPr>
                        <a:t>$329+</a:t>
                      </a:r>
                    </a:p>
                  </a:txBody>
                  <a:tcPr marL="0" marR="0" marT="0" marB="45713" anchor="ct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a:solidFill>
                            <a:schemeClr val="tx1"/>
                          </a:solidFill>
                          <a:latin typeface="Segoe UI Semibold" panose="020B0702040204020203" pitchFamily="34" charset="0"/>
                          <a:cs typeface="Segoe UI Semibold" panose="020B0702040204020203" pitchFamily="34" charset="0"/>
                        </a:rPr>
                        <a:t>AMD: </a:t>
                      </a:r>
                      <a:r>
                        <a:rPr lang="en-US" sz="1000" kern="1200">
                          <a:solidFill>
                            <a:schemeClr val="tx1"/>
                          </a:solidFill>
                          <a:latin typeface="+mn-lt"/>
                          <a:ea typeface="+mn-ea"/>
                          <a:cs typeface="Segoe UI Semibold" panose="020B0702040204020203" pitchFamily="34" charset="0"/>
                        </a:rPr>
                        <a:t>$229+</a:t>
                      </a:r>
                    </a:p>
                  </a:txBody>
                  <a:tcPr marL="0" marR="0" marT="0" marB="4571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a:solidFill>
                            <a:schemeClr val="tx1"/>
                          </a:solidFill>
                          <a:latin typeface="Segoe UI Semibold"/>
                          <a:cs typeface="Segoe UI Semibold"/>
                        </a:rPr>
                        <a:t>AMD: </a:t>
                      </a:r>
                      <a:r>
                        <a:rPr lang="en-US" sz="1000" kern="1200">
                          <a:solidFill>
                            <a:schemeClr val="tx1"/>
                          </a:solidFill>
                          <a:latin typeface="+mn-lt"/>
                          <a:ea typeface="+mn-ea"/>
                          <a:cs typeface="Segoe UI Semibold" panose="020B0702040204020203" pitchFamily="34" charset="0"/>
                        </a:rPr>
                        <a:t>$279+</a:t>
                      </a:r>
                    </a:p>
                  </a:txBody>
                  <a:tcPr marL="0" marR="0" marT="0" marB="4571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endParaRPr lang="en-US" sz="1000" kern="1200">
                        <a:solidFill>
                          <a:schemeClr val="tx1"/>
                        </a:solidFill>
                        <a:latin typeface="+mn-lt"/>
                        <a:ea typeface="+mn-ea"/>
                        <a:cs typeface="Segoe UI Semibold" panose="020B0702040204020203" pitchFamily="34" charset="0"/>
                      </a:endParaRPr>
                    </a:p>
                  </a:txBody>
                  <a:tcPr marL="0" marR="0" marT="0" marB="4571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9416787"/>
                  </a:ext>
                </a:extLst>
              </a:tr>
            </a:tbl>
          </a:graphicData>
        </a:graphic>
      </p:graphicFrame>
      <p:pic>
        <p:nvPicPr>
          <p:cNvPr id="146" name="Picture 10">
            <a:extLst>
              <a:ext uri="{FF2B5EF4-FFF2-40B4-BE49-F238E27FC236}">
                <a16:creationId xmlns:a16="http://schemas.microsoft.com/office/drawing/2014/main" id="{F25F5C3A-7817-42A4-9C45-89BB2DF0978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40180" y="1080497"/>
            <a:ext cx="1345677" cy="1215450"/>
          </a:xfrm>
          <a:prstGeom prst="rect">
            <a:avLst/>
          </a:prstGeom>
          <a:noFill/>
          <a:effectLst>
            <a:outerShdw blurRad="76200" dir="18900000" sy="23000" kx="-1200000" algn="bl"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47" name="Picture 2">
            <a:extLst>
              <a:ext uri="{FF2B5EF4-FFF2-40B4-BE49-F238E27FC236}">
                <a16:creationId xmlns:a16="http://schemas.microsoft.com/office/drawing/2014/main" id="{CE8A48DC-B50F-4F61-8D3A-E7EC0CD2333D}"/>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908418" y="1211608"/>
            <a:ext cx="1415132" cy="1050496"/>
          </a:xfrm>
          <a:prstGeom prst="rect">
            <a:avLst/>
          </a:prstGeom>
          <a:noFill/>
          <a:effectLst>
            <a:outerShdw blurRad="76200" dir="18900000" sy="23000" kx="-1200000" algn="bl"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48" name="Picture 4">
            <a:extLst>
              <a:ext uri="{FF2B5EF4-FFF2-40B4-BE49-F238E27FC236}">
                <a16:creationId xmlns:a16="http://schemas.microsoft.com/office/drawing/2014/main" id="{D59814DD-8DD6-4691-A12B-D7932F57B2B4}"/>
              </a:ext>
              <a:ext uri="{C183D7F6-B498-43B3-948B-1728B52AA6E4}">
                <adec:decorative xmlns:adec="http://schemas.microsoft.com/office/drawing/2017/decorative" val="1"/>
              </a:ext>
            </a:extLst>
          </p:cNvPr>
          <p:cNvPicPr>
            <a:picLocks noChangeAspect="1" noChangeArrowheads="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971724" y="1180450"/>
            <a:ext cx="1442778" cy="1177140"/>
          </a:xfrm>
          <a:prstGeom prst="rect">
            <a:avLst/>
          </a:prstGeom>
          <a:noFill/>
          <a:effectLst>
            <a:outerShdw blurRad="76200" dir="18900000" sy="23000" kx="-1200000" algn="bl"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49" name="Picture 6">
            <a:extLst>
              <a:ext uri="{FF2B5EF4-FFF2-40B4-BE49-F238E27FC236}">
                <a16:creationId xmlns:a16="http://schemas.microsoft.com/office/drawing/2014/main" id="{FBA4B8E5-828A-44C1-BBEE-7F2A61F9CB32}"/>
              </a:ext>
              <a:ext uri="{C183D7F6-B498-43B3-948B-1728B52AA6E4}">
                <adec:decorative xmlns:adec="http://schemas.microsoft.com/office/drawing/2017/decorative" val="1"/>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967255" y="1058075"/>
            <a:ext cx="1656115" cy="1204447"/>
          </a:xfrm>
          <a:prstGeom prst="rect">
            <a:avLst/>
          </a:prstGeom>
          <a:noFill/>
          <a:effectLst>
            <a:outerShdw blurRad="76200" dir="18900000" sy="23000" kx="-1200000" algn="bl"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50" name="Picture 2">
            <a:extLst>
              <a:ext uri="{FF2B5EF4-FFF2-40B4-BE49-F238E27FC236}">
                <a16:creationId xmlns:a16="http://schemas.microsoft.com/office/drawing/2014/main" id="{15902E4E-AC53-4995-89E0-1719B90A8008}"/>
              </a:ext>
              <a:ext uri="{C183D7F6-B498-43B3-948B-1728B52AA6E4}">
                <adec:decorative xmlns:adec="http://schemas.microsoft.com/office/drawing/2017/decorative" val="1"/>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900804" y="1276366"/>
            <a:ext cx="442043" cy="168818"/>
          </a:xfrm>
          <a:prstGeom prst="rect">
            <a:avLst/>
          </a:prstGeom>
          <a:noFill/>
          <a:extLst>
            <a:ext uri="{909E8E84-426E-40DD-AFC4-6F175D3DCCD1}">
              <a14:hiddenFill xmlns:a14="http://schemas.microsoft.com/office/drawing/2010/main">
                <a:solidFill>
                  <a:srgbClr val="FFFFFF"/>
                </a:solidFill>
              </a14:hiddenFill>
            </a:ext>
          </a:extLst>
        </p:spPr>
      </p:pic>
      <p:pic>
        <p:nvPicPr>
          <p:cNvPr id="151" name="Picture 150">
            <a:extLst>
              <a:ext uri="{FF2B5EF4-FFF2-40B4-BE49-F238E27FC236}">
                <a16:creationId xmlns:a16="http://schemas.microsoft.com/office/drawing/2014/main" id="{02535B25-B82E-4B8A-A11D-4F8B576A0569}"/>
              </a:ext>
              <a:ext uri="{C183D7F6-B498-43B3-948B-1728B52AA6E4}">
                <adec:decorative xmlns:adec="http://schemas.microsoft.com/office/drawing/2017/decorative" val="1"/>
              </a:ext>
            </a:extLst>
          </p:cNvPr>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429103" y="3772324"/>
            <a:ext cx="240574" cy="57137"/>
          </a:xfrm>
          <a:prstGeom prst="rect">
            <a:avLst/>
          </a:prstGeom>
        </p:spPr>
      </p:pic>
      <p:grpSp>
        <p:nvGrpSpPr>
          <p:cNvPr id="152" name="Group 151">
            <a:extLst>
              <a:ext uri="{FF2B5EF4-FFF2-40B4-BE49-F238E27FC236}">
                <a16:creationId xmlns:a16="http://schemas.microsoft.com/office/drawing/2014/main" id="{E9F0B5E2-D842-47FA-BA0C-6247CB03CB66}"/>
              </a:ext>
              <a:ext uri="{C183D7F6-B498-43B3-948B-1728B52AA6E4}">
                <adec:decorative xmlns:adec="http://schemas.microsoft.com/office/drawing/2017/decorative" val="1"/>
              </a:ext>
            </a:extLst>
          </p:cNvPr>
          <p:cNvGrpSpPr/>
          <p:nvPr/>
        </p:nvGrpSpPr>
        <p:grpSpPr>
          <a:xfrm>
            <a:off x="1425601" y="2940195"/>
            <a:ext cx="171923" cy="141585"/>
            <a:chOff x="1784728" y="3563937"/>
            <a:chExt cx="512763" cy="422275"/>
          </a:xfrm>
          <a:solidFill>
            <a:srgbClr val="0078D7"/>
          </a:solidFill>
        </p:grpSpPr>
        <p:sp>
          <p:nvSpPr>
            <p:cNvPr id="153" name="Freeform 131">
              <a:extLst>
                <a:ext uri="{FF2B5EF4-FFF2-40B4-BE49-F238E27FC236}">
                  <a16:creationId xmlns:a16="http://schemas.microsoft.com/office/drawing/2014/main" id="{3F88FF85-EB64-4F11-82A6-11A15F76DAAD}"/>
                </a:ext>
              </a:extLst>
            </p:cNvPr>
            <p:cNvSpPr>
              <a:spLocks noChangeArrowheads="1"/>
            </p:cNvSpPr>
            <p:nvPr/>
          </p:nvSpPr>
          <p:spPr bwMode="auto">
            <a:xfrm>
              <a:off x="1784728" y="3790949"/>
              <a:ext cx="512763" cy="195263"/>
            </a:xfrm>
            <a:custGeom>
              <a:avLst/>
              <a:gdLst>
                <a:gd name="T0" fmla="*/ 708 w 1426"/>
                <a:gd name="T1" fmla="*/ 542 h 543"/>
                <a:gd name="T2" fmla="*/ 31 w 1426"/>
                <a:gd name="T3" fmla="*/ 184 h 543"/>
                <a:gd name="T4" fmla="*/ 53 w 1426"/>
                <a:gd name="T5" fmla="*/ 51 h 543"/>
                <a:gd name="T6" fmla="*/ 186 w 1426"/>
                <a:gd name="T7" fmla="*/ 74 h 543"/>
                <a:gd name="T8" fmla="*/ 705 w 1426"/>
                <a:gd name="T9" fmla="*/ 350 h 543"/>
                <a:gd name="T10" fmla="*/ 1236 w 1426"/>
                <a:gd name="T11" fmla="*/ 57 h 543"/>
                <a:gd name="T12" fmla="*/ 1368 w 1426"/>
                <a:gd name="T13" fmla="*/ 29 h 543"/>
                <a:gd name="T14" fmla="*/ 1396 w 1426"/>
                <a:gd name="T15" fmla="*/ 161 h 543"/>
                <a:gd name="T16" fmla="*/ 708 w 1426"/>
                <a:gd name="T17" fmla="*/ 54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6" h="543">
                  <a:moveTo>
                    <a:pt x="708" y="542"/>
                  </a:moveTo>
                  <a:cubicBezTo>
                    <a:pt x="440" y="542"/>
                    <a:pt x="186" y="407"/>
                    <a:pt x="31" y="184"/>
                  </a:cubicBezTo>
                  <a:cubicBezTo>
                    <a:pt x="0" y="141"/>
                    <a:pt x="11" y="79"/>
                    <a:pt x="53" y="51"/>
                  </a:cubicBezTo>
                  <a:cubicBezTo>
                    <a:pt x="96" y="20"/>
                    <a:pt x="158" y="31"/>
                    <a:pt x="186" y="74"/>
                  </a:cubicBezTo>
                  <a:cubicBezTo>
                    <a:pt x="307" y="246"/>
                    <a:pt x="502" y="350"/>
                    <a:pt x="705" y="350"/>
                  </a:cubicBezTo>
                  <a:cubicBezTo>
                    <a:pt x="917" y="350"/>
                    <a:pt x="1117" y="240"/>
                    <a:pt x="1236" y="57"/>
                  </a:cubicBezTo>
                  <a:cubicBezTo>
                    <a:pt x="1264" y="12"/>
                    <a:pt x="1323" y="0"/>
                    <a:pt x="1368" y="29"/>
                  </a:cubicBezTo>
                  <a:cubicBezTo>
                    <a:pt x="1413" y="57"/>
                    <a:pt x="1425" y="116"/>
                    <a:pt x="1396" y="161"/>
                  </a:cubicBezTo>
                  <a:cubicBezTo>
                    <a:pt x="1244" y="398"/>
                    <a:pt x="984" y="542"/>
                    <a:pt x="708" y="542"/>
                  </a:cubicBezTo>
                </a:path>
              </a:pathLst>
            </a:custGeom>
            <a:grpFill/>
            <a:ln w="12700">
              <a:solidFill>
                <a:schemeClr val="bg1"/>
              </a:solidFill>
            </a:ln>
            <a:effectLst/>
          </p:spPr>
          <p:txBody>
            <a:bodyPr wrap="none" anchor="ctr"/>
            <a:lstStyle/>
            <a:p>
              <a:pPr algn="ctr" defTabSz="895354">
                <a:defRPr/>
              </a:pPr>
              <a:endParaRPr lang="en-US" sz="2353" kern="0">
                <a:latin typeface="+mj-lt"/>
              </a:endParaRPr>
            </a:p>
          </p:txBody>
        </p:sp>
        <p:sp>
          <p:nvSpPr>
            <p:cNvPr id="154" name="Freeform 132">
              <a:extLst>
                <a:ext uri="{FF2B5EF4-FFF2-40B4-BE49-F238E27FC236}">
                  <a16:creationId xmlns:a16="http://schemas.microsoft.com/office/drawing/2014/main" id="{DDCE7CEF-83D3-4D1B-9120-A10C4899BF35}"/>
                </a:ext>
              </a:extLst>
            </p:cNvPr>
            <p:cNvSpPr>
              <a:spLocks noChangeArrowheads="1"/>
            </p:cNvSpPr>
            <p:nvPr/>
          </p:nvSpPr>
          <p:spPr bwMode="auto">
            <a:xfrm>
              <a:off x="1845051" y="3563940"/>
              <a:ext cx="128586" cy="128588"/>
            </a:xfrm>
            <a:custGeom>
              <a:avLst/>
              <a:gdLst>
                <a:gd name="T0" fmla="*/ 356 w 357"/>
                <a:gd name="T1" fmla="*/ 178 h 357"/>
                <a:gd name="T2" fmla="*/ 332 w 357"/>
                <a:gd name="T3" fmla="*/ 267 h 357"/>
                <a:gd name="T4" fmla="*/ 267 w 357"/>
                <a:gd name="T5" fmla="*/ 332 h 357"/>
                <a:gd name="T6" fmla="*/ 178 w 357"/>
                <a:gd name="T7" fmla="*/ 356 h 357"/>
                <a:gd name="T8" fmla="*/ 89 w 357"/>
                <a:gd name="T9" fmla="*/ 332 h 357"/>
                <a:gd name="T10" fmla="*/ 24 w 357"/>
                <a:gd name="T11" fmla="*/ 267 h 357"/>
                <a:gd name="T12" fmla="*/ 0 w 357"/>
                <a:gd name="T13" fmla="*/ 178 h 357"/>
                <a:gd name="T14" fmla="*/ 24 w 357"/>
                <a:gd name="T15" fmla="*/ 89 h 357"/>
                <a:gd name="T16" fmla="*/ 89 w 357"/>
                <a:gd name="T17" fmla="*/ 24 h 357"/>
                <a:gd name="T18" fmla="*/ 178 w 357"/>
                <a:gd name="T19" fmla="*/ 0 h 357"/>
                <a:gd name="T20" fmla="*/ 267 w 357"/>
                <a:gd name="T21" fmla="*/ 24 h 357"/>
                <a:gd name="T22" fmla="*/ 332 w 357"/>
                <a:gd name="T23" fmla="*/ 89 h 357"/>
                <a:gd name="T24" fmla="*/ 356 w 357"/>
                <a:gd name="T25" fmla="*/ 178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7">
                  <a:moveTo>
                    <a:pt x="356" y="178"/>
                  </a:moveTo>
                  <a:cubicBezTo>
                    <a:pt x="356" y="211"/>
                    <a:pt x="348" y="239"/>
                    <a:pt x="332" y="267"/>
                  </a:cubicBezTo>
                  <a:cubicBezTo>
                    <a:pt x="315" y="295"/>
                    <a:pt x="295" y="316"/>
                    <a:pt x="267" y="332"/>
                  </a:cubicBezTo>
                  <a:cubicBezTo>
                    <a:pt x="238" y="348"/>
                    <a:pt x="211" y="356"/>
                    <a:pt x="178" y="356"/>
                  </a:cubicBezTo>
                  <a:cubicBezTo>
                    <a:pt x="145" y="356"/>
                    <a:pt x="117" y="348"/>
                    <a:pt x="89" y="332"/>
                  </a:cubicBezTo>
                  <a:cubicBezTo>
                    <a:pt x="61" y="316"/>
                    <a:pt x="40" y="295"/>
                    <a:pt x="24" y="267"/>
                  </a:cubicBezTo>
                  <a:cubicBezTo>
                    <a:pt x="8" y="239"/>
                    <a:pt x="0" y="211"/>
                    <a:pt x="0" y="178"/>
                  </a:cubicBezTo>
                  <a:cubicBezTo>
                    <a:pt x="0" y="145"/>
                    <a:pt x="8" y="117"/>
                    <a:pt x="24" y="89"/>
                  </a:cubicBezTo>
                  <a:cubicBezTo>
                    <a:pt x="40" y="61"/>
                    <a:pt x="61" y="40"/>
                    <a:pt x="89" y="24"/>
                  </a:cubicBezTo>
                  <a:cubicBezTo>
                    <a:pt x="117" y="8"/>
                    <a:pt x="145" y="0"/>
                    <a:pt x="178" y="0"/>
                  </a:cubicBezTo>
                  <a:cubicBezTo>
                    <a:pt x="211" y="0"/>
                    <a:pt x="238" y="8"/>
                    <a:pt x="267" y="24"/>
                  </a:cubicBezTo>
                  <a:cubicBezTo>
                    <a:pt x="295" y="40"/>
                    <a:pt x="315" y="61"/>
                    <a:pt x="332" y="89"/>
                  </a:cubicBezTo>
                  <a:cubicBezTo>
                    <a:pt x="348" y="117"/>
                    <a:pt x="356" y="145"/>
                    <a:pt x="356" y="178"/>
                  </a:cubicBezTo>
                </a:path>
              </a:pathLst>
            </a:custGeom>
            <a:grpFill/>
            <a:ln w="12700">
              <a:solidFill>
                <a:schemeClr val="bg1"/>
              </a:solidFill>
            </a:ln>
            <a:effectLst/>
          </p:spPr>
          <p:txBody>
            <a:bodyPr wrap="none" anchor="ctr"/>
            <a:lstStyle/>
            <a:p>
              <a:pPr algn="ctr" defTabSz="895354">
                <a:defRPr/>
              </a:pPr>
              <a:endParaRPr lang="en-US" sz="2353" kern="0">
                <a:latin typeface="+mj-lt"/>
              </a:endParaRPr>
            </a:p>
          </p:txBody>
        </p:sp>
        <p:sp>
          <p:nvSpPr>
            <p:cNvPr id="155" name="Freeform 134">
              <a:extLst>
                <a:ext uri="{FF2B5EF4-FFF2-40B4-BE49-F238E27FC236}">
                  <a16:creationId xmlns:a16="http://schemas.microsoft.com/office/drawing/2014/main" id="{40FC76BB-769B-4D6B-86F5-BBD66C2A5B50}"/>
                </a:ext>
              </a:extLst>
            </p:cNvPr>
            <p:cNvSpPr>
              <a:spLocks noChangeArrowheads="1"/>
            </p:cNvSpPr>
            <p:nvPr/>
          </p:nvSpPr>
          <p:spPr bwMode="auto">
            <a:xfrm>
              <a:off x="2111748" y="3563937"/>
              <a:ext cx="128586" cy="128588"/>
            </a:xfrm>
            <a:custGeom>
              <a:avLst/>
              <a:gdLst>
                <a:gd name="T0" fmla="*/ 356 w 357"/>
                <a:gd name="T1" fmla="*/ 178 h 357"/>
                <a:gd name="T2" fmla="*/ 332 w 357"/>
                <a:gd name="T3" fmla="*/ 267 h 357"/>
                <a:gd name="T4" fmla="*/ 267 w 357"/>
                <a:gd name="T5" fmla="*/ 332 h 357"/>
                <a:gd name="T6" fmla="*/ 178 w 357"/>
                <a:gd name="T7" fmla="*/ 356 h 357"/>
                <a:gd name="T8" fmla="*/ 89 w 357"/>
                <a:gd name="T9" fmla="*/ 332 h 357"/>
                <a:gd name="T10" fmla="*/ 24 w 357"/>
                <a:gd name="T11" fmla="*/ 267 h 357"/>
                <a:gd name="T12" fmla="*/ 0 w 357"/>
                <a:gd name="T13" fmla="*/ 178 h 357"/>
                <a:gd name="T14" fmla="*/ 24 w 357"/>
                <a:gd name="T15" fmla="*/ 89 h 357"/>
                <a:gd name="T16" fmla="*/ 89 w 357"/>
                <a:gd name="T17" fmla="*/ 24 h 357"/>
                <a:gd name="T18" fmla="*/ 178 w 357"/>
                <a:gd name="T19" fmla="*/ 0 h 357"/>
                <a:gd name="T20" fmla="*/ 267 w 357"/>
                <a:gd name="T21" fmla="*/ 24 h 357"/>
                <a:gd name="T22" fmla="*/ 332 w 357"/>
                <a:gd name="T23" fmla="*/ 89 h 357"/>
                <a:gd name="T24" fmla="*/ 356 w 357"/>
                <a:gd name="T25" fmla="*/ 178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7">
                  <a:moveTo>
                    <a:pt x="356" y="178"/>
                  </a:moveTo>
                  <a:cubicBezTo>
                    <a:pt x="356" y="211"/>
                    <a:pt x="348" y="239"/>
                    <a:pt x="332" y="267"/>
                  </a:cubicBezTo>
                  <a:cubicBezTo>
                    <a:pt x="315" y="295"/>
                    <a:pt x="295" y="316"/>
                    <a:pt x="267" y="332"/>
                  </a:cubicBezTo>
                  <a:cubicBezTo>
                    <a:pt x="239" y="348"/>
                    <a:pt x="210" y="356"/>
                    <a:pt x="178" y="356"/>
                  </a:cubicBezTo>
                  <a:cubicBezTo>
                    <a:pt x="145" y="356"/>
                    <a:pt x="117" y="348"/>
                    <a:pt x="89" y="332"/>
                  </a:cubicBezTo>
                  <a:cubicBezTo>
                    <a:pt x="60" y="316"/>
                    <a:pt x="40" y="295"/>
                    <a:pt x="24" y="267"/>
                  </a:cubicBezTo>
                  <a:cubicBezTo>
                    <a:pt x="7" y="239"/>
                    <a:pt x="0" y="211"/>
                    <a:pt x="0" y="178"/>
                  </a:cubicBezTo>
                  <a:cubicBezTo>
                    <a:pt x="0" y="145"/>
                    <a:pt x="7" y="117"/>
                    <a:pt x="24" y="89"/>
                  </a:cubicBezTo>
                  <a:cubicBezTo>
                    <a:pt x="40" y="61"/>
                    <a:pt x="60" y="40"/>
                    <a:pt x="89" y="24"/>
                  </a:cubicBezTo>
                  <a:cubicBezTo>
                    <a:pt x="117" y="8"/>
                    <a:pt x="146" y="0"/>
                    <a:pt x="178" y="0"/>
                  </a:cubicBezTo>
                  <a:cubicBezTo>
                    <a:pt x="211" y="0"/>
                    <a:pt x="239" y="8"/>
                    <a:pt x="267" y="24"/>
                  </a:cubicBezTo>
                  <a:cubicBezTo>
                    <a:pt x="295" y="40"/>
                    <a:pt x="315" y="61"/>
                    <a:pt x="332" y="89"/>
                  </a:cubicBezTo>
                  <a:cubicBezTo>
                    <a:pt x="348" y="117"/>
                    <a:pt x="356" y="145"/>
                    <a:pt x="356" y="178"/>
                  </a:cubicBezTo>
                </a:path>
              </a:pathLst>
            </a:custGeom>
            <a:grpFill/>
            <a:ln w="12700">
              <a:solidFill>
                <a:schemeClr val="bg1"/>
              </a:solidFill>
            </a:ln>
            <a:effectLst/>
          </p:spPr>
          <p:txBody>
            <a:bodyPr wrap="none" anchor="ctr"/>
            <a:lstStyle/>
            <a:p>
              <a:pPr algn="ctr" defTabSz="895354">
                <a:defRPr/>
              </a:pPr>
              <a:endParaRPr lang="en-US" sz="2353" kern="0">
                <a:latin typeface="+mj-lt"/>
              </a:endParaRPr>
            </a:p>
          </p:txBody>
        </p:sp>
      </p:grpSp>
      <p:grpSp>
        <p:nvGrpSpPr>
          <p:cNvPr id="156" name="Group 155">
            <a:extLst>
              <a:ext uri="{FF2B5EF4-FFF2-40B4-BE49-F238E27FC236}">
                <a16:creationId xmlns:a16="http://schemas.microsoft.com/office/drawing/2014/main" id="{ADB9FA22-B31B-44AA-B238-A303DA2052AB}"/>
              </a:ext>
              <a:ext uri="{C183D7F6-B498-43B3-948B-1728B52AA6E4}">
                <adec:decorative xmlns:adec="http://schemas.microsoft.com/office/drawing/2017/decorative" val="1"/>
              </a:ext>
            </a:extLst>
          </p:cNvPr>
          <p:cNvGrpSpPr/>
          <p:nvPr/>
        </p:nvGrpSpPr>
        <p:grpSpPr>
          <a:xfrm>
            <a:off x="1682420" y="2958450"/>
            <a:ext cx="231162" cy="131704"/>
            <a:chOff x="1290799" y="6111564"/>
            <a:chExt cx="231195" cy="131722"/>
          </a:xfrm>
        </p:grpSpPr>
        <p:grpSp>
          <p:nvGrpSpPr>
            <p:cNvPr id="157" name="Graphic 54" descr="Camera">
              <a:extLst>
                <a:ext uri="{FF2B5EF4-FFF2-40B4-BE49-F238E27FC236}">
                  <a16:creationId xmlns:a16="http://schemas.microsoft.com/office/drawing/2014/main" id="{32EB967C-53F8-4140-8005-D2950731B460}"/>
                </a:ext>
              </a:extLst>
            </p:cNvPr>
            <p:cNvGrpSpPr/>
            <p:nvPr/>
          </p:nvGrpSpPr>
          <p:grpSpPr>
            <a:xfrm>
              <a:off x="1290799" y="6111564"/>
              <a:ext cx="158841" cy="131722"/>
              <a:chOff x="1290799" y="6111564"/>
              <a:chExt cx="158841" cy="131722"/>
            </a:xfrm>
            <a:solidFill>
              <a:srgbClr val="0078D7"/>
            </a:solidFill>
          </p:grpSpPr>
          <p:sp>
            <p:nvSpPr>
              <p:cNvPr id="159" name="Freeform: Shape 158">
                <a:extLst>
                  <a:ext uri="{FF2B5EF4-FFF2-40B4-BE49-F238E27FC236}">
                    <a16:creationId xmlns:a16="http://schemas.microsoft.com/office/drawing/2014/main" id="{027A4F6B-60AD-4E8D-A5BD-3D0F1351F70F}"/>
                  </a:ext>
                </a:extLst>
              </p:cNvPr>
              <p:cNvSpPr/>
              <p:nvPr/>
            </p:nvSpPr>
            <p:spPr>
              <a:xfrm>
                <a:off x="1290799" y="6111564"/>
                <a:ext cx="158841" cy="131722"/>
              </a:xfrm>
              <a:custGeom>
                <a:avLst/>
                <a:gdLst>
                  <a:gd name="connsiteX0" fmla="*/ 149156 w 158841"/>
                  <a:gd name="connsiteY0" fmla="*/ 19371 h 131722"/>
                  <a:gd name="connsiteX1" fmla="*/ 111511 w 158841"/>
                  <a:gd name="connsiteY1" fmla="*/ 19371 h 131722"/>
                  <a:gd name="connsiteX2" fmla="*/ 99888 w 158841"/>
                  <a:gd name="connsiteY2" fmla="*/ 0 h 131722"/>
                  <a:gd name="connsiteX3" fmla="*/ 58954 w 158841"/>
                  <a:gd name="connsiteY3" fmla="*/ 0 h 131722"/>
                  <a:gd name="connsiteX4" fmla="*/ 47331 w 158841"/>
                  <a:gd name="connsiteY4" fmla="*/ 19371 h 131722"/>
                  <a:gd name="connsiteX5" fmla="*/ 9685 w 158841"/>
                  <a:gd name="connsiteY5" fmla="*/ 19371 h 131722"/>
                  <a:gd name="connsiteX6" fmla="*/ 0 w 158841"/>
                  <a:gd name="connsiteY6" fmla="*/ 29056 h 131722"/>
                  <a:gd name="connsiteX7" fmla="*/ 0 w 158841"/>
                  <a:gd name="connsiteY7" fmla="*/ 122037 h 131722"/>
                  <a:gd name="connsiteX8" fmla="*/ 9685 w 158841"/>
                  <a:gd name="connsiteY8" fmla="*/ 131722 h 131722"/>
                  <a:gd name="connsiteX9" fmla="*/ 149156 w 158841"/>
                  <a:gd name="connsiteY9" fmla="*/ 131722 h 131722"/>
                  <a:gd name="connsiteX10" fmla="*/ 158842 w 158841"/>
                  <a:gd name="connsiteY10" fmla="*/ 122037 h 131722"/>
                  <a:gd name="connsiteX11" fmla="*/ 158842 w 158841"/>
                  <a:gd name="connsiteY11" fmla="*/ 29056 h 131722"/>
                  <a:gd name="connsiteX12" fmla="*/ 149156 w 158841"/>
                  <a:gd name="connsiteY12" fmla="*/ 19371 h 131722"/>
                  <a:gd name="connsiteX13" fmla="*/ 61146 w 158841"/>
                  <a:gd name="connsiteY13" fmla="*/ 3874 h 131722"/>
                  <a:gd name="connsiteX14" fmla="*/ 97695 w 158841"/>
                  <a:gd name="connsiteY14" fmla="*/ 3874 h 131722"/>
                  <a:gd name="connsiteX15" fmla="*/ 106993 w 158841"/>
                  <a:gd name="connsiteY15" fmla="*/ 19371 h 131722"/>
                  <a:gd name="connsiteX16" fmla="*/ 51848 w 158841"/>
                  <a:gd name="connsiteY16" fmla="*/ 19371 h 131722"/>
                  <a:gd name="connsiteX17" fmla="*/ 149156 w 158841"/>
                  <a:gd name="connsiteY17" fmla="*/ 23245 h 131722"/>
                  <a:gd name="connsiteX18" fmla="*/ 154968 w 158841"/>
                  <a:gd name="connsiteY18" fmla="*/ 29056 h 131722"/>
                  <a:gd name="connsiteX19" fmla="*/ 154968 w 158841"/>
                  <a:gd name="connsiteY19" fmla="*/ 122037 h 131722"/>
                  <a:gd name="connsiteX20" fmla="*/ 149156 w 158841"/>
                  <a:gd name="connsiteY20" fmla="*/ 127848 h 131722"/>
                  <a:gd name="connsiteX21" fmla="*/ 9685 w 158841"/>
                  <a:gd name="connsiteY21" fmla="*/ 127848 h 131722"/>
                  <a:gd name="connsiteX22" fmla="*/ 3874 w 158841"/>
                  <a:gd name="connsiteY22" fmla="*/ 122037 h 131722"/>
                  <a:gd name="connsiteX23" fmla="*/ 3874 w 158841"/>
                  <a:gd name="connsiteY23" fmla="*/ 29056 h 131722"/>
                  <a:gd name="connsiteX24" fmla="*/ 9685 w 158841"/>
                  <a:gd name="connsiteY24" fmla="*/ 23245 h 13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841" h="131722">
                    <a:moveTo>
                      <a:pt x="149156" y="19371"/>
                    </a:moveTo>
                    <a:lnTo>
                      <a:pt x="111511" y="19371"/>
                    </a:lnTo>
                    <a:lnTo>
                      <a:pt x="99888" y="0"/>
                    </a:lnTo>
                    <a:lnTo>
                      <a:pt x="58954" y="0"/>
                    </a:lnTo>
                    <a:lnTo>
                      <a:pt x="47331" y="19371"/>
                    </a:lnTo>
                    <a:lnTo>
                      <a:pt x="9685" y="19371"/>
                    </a:lnTo>
                    <a:cubicBezTo>
                      <a:pt x="4339" y="19377"/>
                      <a:pt x="6" y="23710"/>
                      <a:pt x="0" y="29056"/>
                    </a:cubicBezTo>
                    <a:lnTo>
                      <a:pt x="0" y="122037"/>
                    </a:lnTo>
                    <a:cubicBezTo>
                      <a:pt x="6" y="127383"/>
                      <a:pt x="4339" y="131716"/>
                      <a:pt x="9685" y="131722"/>
                    </a:cubicBezTo>
                    <a:lnTo>
                      <a:pt x="149156" y="131722"/>
                    </a:lnTo>
                    <a:cubicBezTo>
                      <a:pt x="154503" y="131716"/>
                      <a:pt x="158835" y="127383"/>
                      <a:pt x="158842" y="122037"/>
                    </a:cubicBezTo>
                    <a:lnTo>
                      <a:pt x="158842" y="29056"/>
                    </a:lnTo>
                    <a:cubicBezTo>
                      <a:pt x="158835" y="23710"/>
                      <a:pt x="154503" y="19377"/>
                      <a:pt x="149156" y="19371"/>
                    </a:cubicBezTo>
                    <a:close/>
                    <a:moveTo>
                      <a:pt x="61146" y="3874"/>
                    </a:moveTo>
                    <a:lnTo>
                      <a:pt x="97695" y="3874"/>
                    </a:lnTo>
                    <a:lnTo>
                      <a:pt x="106993" y="19371"/>
                    </a:lnTo>
                    <a:lnTo>
                      <a:pt x="51848" y="19371"/>
                    </a:lnTo>
                    <a:close/>
                    <a:moveTo>
                      <a:pt x="149156" y="23245"/>
                    </a:moveTo>
                    <a:cubicBezTo>
                      <a:pt x="152366" y="23245"/>
                      <a:pt x="154968" y="25847"/>
                      <a:pt x="154968" y="29056"/>
                    </a:cubicBezTo>
                    <a:lnTo>
                      <a:pt x="154968" y="122037"/>
                    </a:lnTo>
                    <a:cubicBezTo>
                      <a:pt x="154968" y="125246"/>
                      <a:pt x="152366" y="127848"/>
                      <a:pt x="149156" y="127848"/>
                    </a:cubicBezTo>
                    <a:lnTo>
                      <a:pt x="9685" y="127848"/>
                    </a:lnTo>
                    <a:cubicBezTo>
                      <a:pt x="6476" y="127848"/>
                      <a:pt x="3874" y="125246"/>
                      <a:pt x="3874" y="122037"/>
                    </a:cubicBezTo>
                    <a:lnTo>
                      <a:pt x="3874" y="29056"/>
                    </a:lnTo>
                    <a:cubicBezTo>
                      <a:pt x="3874" y="25847"/>
                      <a:pt x="6476" y="23245"/>
                      <a:pt x="9685" y="23245"/>
                    </a:cubicBezTo>
                    <a:close/>
                  </a:path>
                </a:pathLst>
              </a:custGeom>
              <a:solidFill>
                <a:srgbClr val="0078D7"/>
              </a:solidFill>
              <a:ln w="1885" cap="flat">
                <a:solidFill>
                  <a:srgbClr val="0078D7"/>
                </a:solid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06046A1A-8B81-4AA9-AC0A-B4BB113B1FB3}"/>
                  </a:ext>
                </a:extLst>
              </p:cNvPr>
              <p:cNvSpPr/>
              <p:nvPr/>
            </p:nvSpPr>
            <p:spPr>
              <a:xfrm>
                <a:off x="1306296" y="6146432"/>
                <a:ext cx="25182" cy="17433"/>
              </a:xfrm>
              <a:custGeom>
                <a:avLst/>
                <a:gdLst>
                  <a:gd name="connsiteX0" fmla="*/ 0 w 25182"/>
                  <a:gd name="connsiteY0" fmla="*/ 17434 h 17433"/>
                  <a:gd name="connsiteX1" fmla="*/ 25182 w 25182"/>
                  <a:gd name="connsiteY1" fmla="*/ 17434 h 17433"/>
                  <a:gd name="connsiteX2" fmla="*/ 25182 w 25182"/>
                  <a:gd name="connsiteY2" fmla="*/ 0 h 17433"/>
                  <a:gd name="connsiteX3" fmla="*/ 0 w 25182"/>
                  <a:gd name="connsiteY3" fmla="*/ 0 h 17433"/>
                  <a:gd name="connsiteX4" fmla="*/ 3874 w 25182"/>
                  <a:gd name="connsiteY4" fmla="*/ 3874 h 17433"/>
                  <a:gd name="connsiteX5" fmla="*/ 21308 w 25182"/>
                  <a:gd name="connsiteY5" fmla="*/ 3874 h 17433"/>
                  <a:gd name="connsiteX6" fmla="*/ 21308 w 25182"/>
                  <a:gd name="connsiteY6" fmla="*/ 13560 h 17433"/>
                  <a:gd name="connsiteX7" fmla="*/ 3874 w 25182"/>
                  <a:gd name="connsiteY7" fmla="*/ 13560 h 17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17433">
                    <a:moveTo>
                      <a:pt x="0" y="17434"/>
                    </a:moveTo>
                    <a:lnTo>
                      <a:pt x="25182" y="17434"/>
                    </a:lnTo>
                    <a:lnTo>
                      <a:pt x="25182" y="0"/>
                    </a:lnTo>
                    <a:lnTo>
                      <a:pt x="0" y="0"/>
                    </a:lnTo>
                    <a:close/>
                    <a:moveTo>
                      <a:pt x="3874" y="3874"/>
                    </a:moveTo>
                    <a:lnTo>
                      <a:pt x="21308" y="3874"/>
                    </a:lnTo>
                    <a:lnTo>
                      <a:pt x="21308" y="13560"/>
                    </a:lnTo>
                    <a:lnTo>
                      <a:pt x="3874" y="13560"/>
                    </a:lnTo>
                    <a:close/>
                  </a:path>
                </a:pathLst>
              </a:custGeom>
              <a:solidFill>
                <a:srgbClr val="0078D7"/>
              </a:solidFill>
              <a:ln w="1885" cap="flat">
                <a:solidFill>
                  <a:srgbClr val="0078D7"/>
                </a:solid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2EBB6973-4A4C-448D-8177-1FED688DC922}"/>
                  </a:ext>
                </a:extLst>
              </p:cNvPr>
              <p:cNvSpPr/>
              <p:nvPr/>
            </p:nvSpPr>
            <p:spPr>
              <a:xfrm>
                <a:off x="1335352" y="6156117"/>
                <a:ext cx="69735" cy="69735"/>
              </a:xfrm>
              <a:custGeom>
                <a:avLst/>
                <a:gdLst>
                  <a:gd name="connsiteX0" fmla="*/ 34868 w 69735"/>
                  <a:gd name="connsiteY0" fmla="*/ 0 h 69735"/>
                  <a:gd name="connsiteX1" fmla="*/ 0 w 69735"/>
                  <a:gd name="connsiteY1" fmla="*/ 34868 h 69735"/>
                  <a:gd name="connsiteX2" fmla="*/ 34868 w 69735"/>
                  <a:gd name="connsiteY2" fmla="*/ 69735 h 69735"/>
                  <a:gd name="connsiteX3" fmla="*/ 69735 w 69735"/>
                  <a:gd name="connsiteY3" fmla="*/ 34868 h 69735"/>
                  <a:gd name="connsiteX4" fmla="*/ 34868 w 69735"/>
                  <a:gd name="connsiteY4" fmla="*/ 0 h 69735"/>
                  <a:gd name="connsiteX5" fmla="*/ 34868 w 69735"/>
                  <a:gd name="connsiteY5" fmla="*/ 65861 h 69735"/>
                  <a:gd name="connsiteX6" fmla="*/ 3874 w 69735"/>
                  <a:gd name="connsiteY6" fmla="*/ 34868 h 69735"/>
                  <a:gd name="connsiteX7" fmla="*/ 34868 w 69735"/>
                  <a:gd name="connsiteY7" fmla="*/ 3874 h 69735"/>
                  <a:gd name="connsiteX8" fmla="*/ 65861 w 69735"/>
                  <a:gd name="connsiteY8" fmla="*/ 34868 h 69735"/>
                  <a:gd name="connsiteX9" fmla="*/ 34868 w 69735"/>
                  <a:gd name="connsiteY9" fmla="*/ 65861 h 69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735" h="69735">
                    <a:moveTo>
                      <a:pt x="34868" y="0"/>
                    </a:moveTo>
                    <a:cubicBezTo>
                      <a:pt x="15611" y="0"/>
                      <a:pt x="0" y="15611"/>
                      <a:pt x="0" y="34868"/>
                    </a:cubicBezTo>
                    <a:cubicBezTo>
                      <a:pt x="0" y="54125"/>
                      <a:pt x="15611" y="69735"/>
                      <a:pt x="34868" y="69735"/>
                    </a:cubicBezTo>
                    <a:cubicBezTo>
                      <a:pt x="54125" y="69735"/>
                      <a:pt x="69735" y="54125"/>
                      <a:pt x="69735" y="34868"/>
                    </a:cubicBezTo>
                    <a:cubicBezTo>
                      <a:pt x="69713" y="15620"/>
                      <a:pt x="54115" y="22"/>
                      <a:pt x="34868" y="0"/>
                    </a:cubicBezTo>
                    <a:close/>
                    <a:moveTo>
                      <a:pt x="34868" y="65861"/>
                    </a:moveTo>
                    <a:cubicBezTo>
                      <a:pt x="17750" y="65861"/>
                      <a:pt x="3874" y="51985"/>
                      <a:pt x="3874" y="34868"/>
                    </a:cubicBezTo>
                    <a:cubicBezTo>
                      <a:pt x="3874" y="17750"/>
                      <a:pt x="17750" y="3874"/>
                      <a:pt x="34868" y="3874"/>
                    </a:cubicBezTo>
                    <a:cubicBezTo>
                      <a:pt x="51985" y="3874"/>
                      <a:pt x="65861" y="17750"/>
                      <a:pt x="65861" y="34868"/>
                    </a:cubicBezTo>
                    <a:cubicBezTo>
                      <a:pt x="65841" y="51976"/>
                      <a:pt x="51976" y="65841"/>
                      <a:pt x="34868" y="65861"/>
                    </a:cubicBezTo>
                    <a:close/>
                  </a:path>
                </a:pathLst>
              </a:custGeom>
              <a:solidFill>
                <a:srgbClr val="0078D7"/>
              </a:solidFill>
              <a:ln w="1885" cap="flat">
                <a:solidFill>
                  <a:srgbClr val="0078D7"/>
                </a:solidFill>
                <a:prstDash val="solid"/>
                <a:miter/>
              </a:ln>
            </p:spPr>
            <p:txBody>
              <a:bodyPr rtlCol="0" anchor="ctr"/>
              <a:lstStyle/>
              <a:p>
                <a:endParaRPr lang="en-US"/>
              </a:p>
            </p:txBody>
          </p:sp>
        </p:grpSp>
        <p:sp>
          <p:nvSpPr>
            <p:cNvPr id="158" name="Rectangle 157">
              <a:extLst>
                <a:ext uri="{FF2B5EF4-FFF2-40B4-BE49-F238E27FC236}">
                  <a16:creationId xmlns:a16="http://schemas.microsoft.com/office/drawing/2014/main" id="{347031D2-BFD6-42F0-829A-369E14E13E1E}"/>
                </a:ext>
              </a:extLst>
            </p:cNvPr>
            <p:cNvSpPr/>
            <p:nvPr/>
          </p:nvSpPr>
          <p:spPr bwMode="auto">
            <a:xfrm>
              <a:off x="1422947" y="6157764"/>
              <a:ext cx="99047" cy="56180"/>
            </a:xfrm>
            <a:prstGeom prst="rect">
              <a:avLst/>
            </a:prstGeom>
            <a:solidFill>
              <a:schemeClr val="bg1"/>
            </a:solidFill>
            <a:ln w="63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400" b="1">
                  <a:solidFill>
                    <a:srgbClr val="0078D7"/>
                  </a:solidFill>
                  <a:latin typeface="Segoe UI Black" panose="020B0A02040204020203" pitchFamily="34" charset="0"/>
                  <a:ea typeface="Segoe UI Black" panose="020B0A02040204020203" pitchFamily="34" charset="0"/>
                  <a:cs typeface="Segoe UI" pitchFamily="34" charset="0"/>
                </a:rPr>
                <a:t>HD</a:t>
              </a:r>
            </a:p>
          </p:txBody>
        </p:sp>
      </p:grpSp>
      <p:grpSp>
        <p:nvGrpSpPr>
          <p:cNvPr id="162" name="Group 161">
            <a:extLst>
              <a:ext uri="{FF2B5EF4-FFF2-40B4-BE49-F238E27FC236}">
                <a16:creationId xmlns:a16="http://schemas.microsoft.com/office/drawing/2014/main" id="{0D9910FE-A49D-448D-8FB0-BBAAB2FBEB24}"/>
              </a:ext>
              <a:ext uri="{C183D7F6-B498-43B3-948B-1728B52AA6E4}">
                <adec:decorative xmlns:adec="http://schemas.microsoft.com/office/drawing/2017/decorative" val="1"/>
              </a:ext>
            </a:extLst>
          </p:cNvPr>
          <p:cNvGrpSpPr/>
          <p:nvPr/>
        </p:nvGrpSpPr>
        <p:grpSpPr>
          <a:xfrm flipV="1">
            <a:off x="2001627" y="2937757"/>
            <a:ext cx="124030" cy="150902"/>
            <a:chOff x="4097631" y="3944743"/>
            <a:chExt cx="213406" cy="91450"/>
          </a:xfrm>
          <a:solidFill>
            <a:srgbClr val="0078D7"/>
          </a:solidFill>
        </p:grpSpPr>
        <p:sp>
          <p:nvSpPr>
            <p:cNvPr id="163" name="Rectangle 162">
              <a:extLst>
                <a:ext uri="{FF2B5EF4-FFF2-40B4-BE49-F238E27FC236}">
                  <a16:creationId xmlns:a16="http://schemas.microsoft.com/office/drawing/2014/main" id="{6BC9240D-94C5-47B9-B35C-E7D540F4730D}"/>
                </a:ext>
              </a:extLst>
            </p:cNvPr>
            <p:cNvSpPr/>
            <p:nvPr/>
          </p:nvSpPr>
          <p:spPr bwMode="auto">
            <a:xfrm flipV="1">
              <a:off x="4097631" y="3944744"/>
              <a:ext cx="45718" cy="2852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4" name="Rectangle 163">
              <a:extLst>
                <a:ext uri="{FF2B5EF4-FFF2-40B4-BE49-F238E27FC236}">
                  <a16:creationId xmlns:a16="http://schemas.microsoft.com/office/drawing/2014/main" id="{130E887F-4BB6-4537-BF06-FE2844058111}"/>
                </a:ext>
              </a:extLst>
            </p:cNvPr>
            <p:cNvSpPr/>
            <p:nvPr/>
          </p:nvSpPr>
          <p:spPr bwMode="auto">
            <a:xfrm flipV="1">
              <a:off x="4153527" y="3944751"/>
              <a:ext cx="45718" cy="484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5" name="Rectangle 164">
              <a:extLst>
                <a:ext uri="{FF2B5EF4-FFF2-40B4-BE49-F238E27FC236}">
                  <a16:creationId xmlns:a16="http://schemas.microsoft.com/office/drawing/2014/main" id="{308466E7-10F9-4532-A9A4-BF20A2C0B254}"/>
                </a:ext>
              </a:extLst>
            </p:cNvPr>
            <p:cNvSpPr/>
            <p:nvPr/>
          </p:nvSpPr>
          <p:spPr bwMode="auto">
            <a:xfrm flipV="1">
              <a:off x="4209547" y="3944743"/>
              <a:ext cx="45718" cy="6867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6" name="Rectangle 165">
              <a:extLst>
                <a:ext uri="{FF2B5EF4-FFF2-40B4-BE49-F238E27FC236}">
                  <a16:creationId xmlns:a16="http://schemas.microsoft.com/office/drawing/2014/main" id="{85EE3A40-83B2-4E5D-A85C-965D625B6F79}"/>
                </a:ext>
              </a:extLst>
            </p:cNvPr>
            <p:cNvSpPr/>
            <p:nvPr/>
          </p:nvSpPr>
          <p:spPr bwMode="auto">
            <a:xfrm flipV="1">
              <a:off x="4265319" y="3944753"/>
              <a:ext cx="45718" cy="914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67" name="Graphic 166">
            <a:extLst>
              <a:ext uri="{FF2B5EF4-FFF2-40B4-BE49-F238E27FC236}">
                <a16:creationId xmlns:a16="http://schemas.microsoft.com/office/drawing/2014/main" id="{163047E6-3F77-4BF8-B297-FDF9CDAEB41F}"/>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101365" y="5200870"/>
            <a:ext cx="178252" cy="169274"/>
          </a:xfrm>
          <a:prstGeom prst="rect">
            <a:avLst/>
          </a:prstGeom>
        </p:spPr>
      </p:pic>
      <p:sp>
        <p:nvSpPr>
          <p:cNvPr id="168" name="Freeform 110">
            <a:extLst>
              <a:ext uri="{FF2B5EF4-FFF2-40B4-BE49-F238E27FC236}">
                <a16:creationId xmlns:a16="http://schemas.microsoft.com/office/drawing/2014/main" id="{5B4AD37F-772D-4A3E-B117-ECC879137E7C}"/>
              </a:ext>
              <a:ext uri="{C183D7F6-B498-43B3-948B-1728B52AA6E4}">
                <adec:decorative xmlns:adec="http://schemas.microsoft.com/office/drawing/2017/decorative" val="1"/>
              </a:ext>
            </a:extLst>
          </p:cNvPr>
          <p:cNvSpPr>
            <a:spLocks noChangeAspect="1" noEditPoints="1"/>
          </p:cNvSpPr>
          <p:nvPr/>
        </p:nvSpPr>
        <p:spPr bwMode="black">
          <a:xfrm>
            <a:off x="924239" y="5208594"/>
            <a:ext cx="87595" cy="164280"/>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rgbClr val="0078D7"/>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36" tIns="140509" rIns="175636" bIns="140509" numCol="1" spcCol="0" rtlCol="0" fromWordArt="0" anchor="t" anchorCtr="0" forceAA="0" compatLnSpc="1">
            <a:prstTxWarp prst="textNoShape">
              <a:avLst/>
            </a:prstTxWarp>
            <a:noAutofit/>
          </a:bodyPr>
          <a:lstStyle/>
          <a:p>
            <a:pPr algn="ctr" defTabSz="895235" fontAlgn="base">
              <a:spcBef>
                <a:spcPct val="0"/>
              </a:spcBef>
              <a:spcAft>
                <a:spcPct val="0"/>
              </a:spcAft>
              <a:defRPr/>
            </a:pPr>
            <a:endParaRPr lang="en-US" sz="1960">
              <a:solidFill>
                <a:schemeClr val="tx1"/>
              </a:solidFill>
              <a:latin typeface="Segoe UI"/>
              <a:ea typeface="Segoe UI" pitchFamily="34" charset="0"/>
              <a:cs typeface="Segoe UI" pitchFamily="34" charset="0"/>
            </a:endParaRPr>
          </a:p>
        </p:txBody>
      </p:sp>
      <p:sp>
        <p:nvSpPr>
          <p:cNvPr id="169" name="Stopwatch_E916">
            <a:extLst>
              <a:ext uri="{FF2B5EF4-FFF2-40B4-BE49-F238E27FC236}">
                <a16:creationId xmlns:a16="http://schemas.microsoft.com/office/drawing/2014/main" id="{F779D4FF-E187-4088-959F-B5B8FCA2E389}"/>
              </a:ext>
              <a:ext uri="{C183D7F6-B498-43B3-948B-1728B52AA6E4}">
                <adec:decorative xmlns:adec="http://schemas.microsoft.com/office/drawing/2017/decorative" val="1"/>
              </a:ext>
            </a:extLst>
          </p:cNvPr>
          <p:cNvSpPr>
            <a:spLocks noChangeAspect="1" noEditPoints="1"/>
          </p:cNvSpPr>
          <p:nvPr/>
        </p:nvSpPr>
        <p:spPr bwMode="auto">
          <a:xfrm>
            <a:off x="1365247" y="5220234"/>
            <a:ext cx="135176" cy="152317"/>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6350" cap="sq">
            <a:solidFill>
              <a:srgbClr val="0078D7"/>
            </a:solidFill>
            <a:prstDash val="solid"/>
            <a:miter lim="800000"/>
            <a:headEnd/>
            <a:tailEnd/>
          </a:ln>
        </p:spPr>
        <p:txBody>
          <a:bodyPr vert="horz" wrap="square" lIns="89591" tIns="44795" rIns="89591" bIns="44795" numCol="1" anchor="t" anchorCtr="0" compatLnSpc="1">
            <a:prstTxWarp prst="textNoShape">
              <a:avLst/>
            </a:prstTxWarp>
          </a:bodyPr>
          <a:lstStyle/>
          <a:p>
            <a:pPr defTabSz="913791">
              <a:defRPr/>
            </a:pPr>
            <a:endParaRPr lang="en-US" sz="1960">
              <a:latin typeface="Segoe UI Semibold"/>
            </a:endParaRPr>
          </a:p>
        </p:txBody>
      </p:sp>
      <p:grpSp>
        <p:nvGrpSpPr>
          <p:cNvPr id="170" name="Graphic 305">
            <a:extLst>
              <a:ext uri="{FF2B5EF4-FFF2-40B4-BE49-F238E27FC236}">
                <a16:creationId xmlns:a16="http://schemas.microsoft.com/office/drawing/2014/main" id="{327B3508-1076-461A-8A79-762D20C00E78}"/>
              </a:ext>
              <a:ext uri="{C183D7F6-B498-43B3-948B-1728B52AA6E4}">
                <adec:decorative xmlns:adec="http://schemas.microsoft.com/office/drawing/2017/decorative" val="1"/>
              </a:ext>
            </a:extLst>
          </p:cNvPr>
          <p:cNvGrpSpPr/>
          <p:nvPr/>
        </p:nvGrpSpPr>
        <p:grpSpPr>
          <a:xfrm>
            <a:off x="1610251" y="5275272"/>
            <a:ext cx="142852" cy="47312"/>
            <a:chOff x="3845953" y="3735365"/>
            <a:chExt cx="142873" cy="47319"/>
          </a:xfrm>
          <a:solidFill>
            <a:srgbClr val="0078D7"/>
          </a:solidFill>
        </p:grpSpPr>
        <p:sp>
          <p:nvSpPr>
            <p:cNvPr id="171" name="Freeform: Shape 170">
              <a:extLst>
                <a:ext uri="{FF2B5EF4-FFF2-40B4-BE49-F238E27FC236}">
                  <a16:creationId xmlns:a16="http://schemas.microsoft.com/office/drawing/2014/main" id="{A6FEBD34-CEE4-4747-AA8C-23F9F44114E9}"/>
                </a:ext>
              </a:extLst>
            </p:cNvPr>
            <p:cNvSpPr/>
            <p:nvPr/>
          </p:nvSpPr>
          <p:spPr>
            <a:xfrm>
              <a:off x="3864127" y="3750853"/>
              <a:ext cx="106583" cy="16287"/>
            </a:xfrm>
            <a:custGeom>
              <a:avLst/>
              <a:gdLst>
                <a:gd name="connsiteX0" fmla="*/ 103783 w 106583"/>
                <a:gd name="connsiteY0" fmla="*/ 0 h 16287"/>
                <a:gd name="connsiteX1" fmla="*/ 106583 w 106583"/>
                <a:gd name="connsiteY1" fmla="*/ 0 h 16287"/>
                <a:gd name="connsiteX2" fmla="*/ 106583 w 106583"/>
                <a:gd name="connsiteY2" fmla="*/ 16287 h 16287"/>
                <a:gd name="connsiteX3" fmla="*/ 103783 w 106583"/>
                <a:gd name="connsiteY3" fmla="*/ 16287 h 16287"/>
                <a:gd name="connsiteX4" fmla="*/ 2800 w 106583"/>
                <a:gd name="connsiteY4" fmla="*/ 16287 h 16287"/>
                <a:gd name="connsiteX5" fmla="*/ 2800 w 106583"/>
                <a:gd name="connsiteY5" fmla="*/ 0 h 16287"/>
                <a:gd name="connsiteX6" fmla="*/ 0 w 106583"/>
                <a:gd name="connsiteY6" fmla="*/ 0 h 16287"/>
                <a:gd name="connsiteX7" fmla="*/ 2800 w 106583"/>
                <a:gd name="connsiteY7" fmla="*/ 0 h 1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583" h="16287">
                  <a:moveTo>
                    <a:pt x="103783" y="0"/>
                  </a:moveTo>
                  <a:cubicBezTo>
                    <a:pt x="105330" y="0"/>
                    <a:pt x="106583" y="0"/>
                    <a:pt x="106583" y="0"/>
                  </a:cubicBezTo>
                  <a:lnTo>
                    <a:pt x="106583" y="16287"/>
                  </a:lnTo>
                  <a:cubicBezTo>
                    <a:pt x="106583" y="16287"/>
                    <a:pt x="105330" y="16287"/>
                    <a:pt x="103783" y="16287"/>
                  </a:cubicBezTo>
                  <a:lnTo>
                    <a:pt x="2800" y="16287"/>
                  </a:lnTo>
                  <a:lnTo>
                    <a:pt x="2800" y="0"/>
                  </a:lnTo>
                  <a:cubicBezTo>
                    <a:pt x="1254" y="0"/>
                    <a:pt x="0" y="0"/>
                    <a:pt x="0" y="0"/>
                  </a:cubicBezTo>
                  <a:cubicBezTo>
                    <a:pt x="0" y="0"/>
                    <a:pt x="1254" y="0"/>
                    <a:pt x="2800" y="0"/>
                  </a:cubicBezTo>
                  <a:close/>
                </a:path>
              </a:pathLst>
            </a:custGeom>
            <a:solidFill>
              <a:srgbClr val="0078D7"/>
            </a:solidFill>
            <a:ln w="5334" cap="flat">
              <a:noFill/>
              <a:prstDash val="solid"/>
              <a:miter/>
            </a:ln>
          </p:spPr>
          <p:txBody>
            <a:bodyPr rtlCol="0" anchor="ctr"/>
            <a:lstStyle/>
            <a:p>
              <a:endParaRPr lang="en-US"/>
            </a:p>
          </p:txBody>
        </p:sp>
        <p:sp>
          <p:nvSpPr>
            <p:cNvPr id="172" name="Freeform: Shape 171">
              <a:extLst>
                <a:ext uri="{FF2B5EF4-FFF2-40B4-BE49-F238E27FC236}">
                  <a16:creationId xmlns:a16="http://schemas.microsoft.com/office/drawing/2014/main" id="{63849F1F-2E9C-4442-B365-EDE716EE0049}"/>
                </a:ext>
              </a:extLst>
            </p:cNvPr>
            <p:cNvSpPr/>
            <p:nvPr/>
          </p:nvSpPr>
          <p:spPr>
            <a:xfrm>
              <a:off x="3845953" y="3735365"/>
              <a:ext cx="142873" cy="47319"/>
            </a:xfrm>
            <a:custGeom>
              <a:avLst/>
              <a:gdLst>
                <a:gd name="connsiteX0" fmla="*/ 119213 w 142873"/>
                <a:gd name="connsiteY0" fmla="*/ 0 h 47319"/>
                <a:gd name="connsiteX1" fmla="*/ 23660 w 142873"/>
                <a:gd name="connsiteY1" fmla="*/ 0 h 47319"/>
                <a:gd name="connsiteX2" fmla="*/ 0 w 142873"/>
                <a:gd name="connsiteY2" fmla="*/ 23660 h 47319"/>
                <a:gd name="connsiteX3" fmla="*/ 23660 w 142873"/>
                <a:gd name="connsiteY3" fmla="*/ 47319 h 47319"/>
                <a:gd name="connsiteX4" fmla="*/ 119213 w 142873"/>
                <a:gd name="connsiteY4" fmla="*/ 47319 h 47319"/>
                <a:gd name="connsiteX5" fmla="*/ 142873 w 142873"/>
                <a:gd name="connsiteY5" fmla="*/ 23660 h 47319"/>
                <a:gd name="connsiteX6" fmla="*/ 119213 w 142873"/>
                <a:gd name="connsiteY6" fmla="*/ 0 h 47319"/>
                <a:gd name="connsiteX7" fmla="*/ 133272 w 142873"/>
                <a:gd name="connsiteY7" fmla="*/ 28974 h 47319"/>
                <a:gd name="connsiteX8" fmla="*/ 121842 w 142873"/>
                <a:gd name="connsiteY8" fmla="*/ 40404 h 47319"/>
                <a:gd name="connsiteX9" fmla="*/ 20917 w 142873"/>
                <a:gd name="connsiteY9" fmla="*/ 40404 h 47319"/>
                <a:gd name="connsiteX10" fmla="*/ 9487 w 142873"/>
                <a:gd name="connsiteY10" fmla="*/ 28974 h 47319"/>
                <a:gd name="connsiteX11" fmla="*/ 9487 w 142873"/>
                <a:gd name="connsiteY11" fmla="*/ 18288 h 47319"/>
                <a:gd name="connsiteX12" fmla="*/ 20917 w 142873"/>
                <a:gd name="connsiteY12" fmla="*/ 6858 h 47319"/>
                <a:gd name="connsiteX13" fmla="*/ 121899 w 142873"/>
                <a:gd name="connsiteY13" fmla="*/ 6858 h 47319"/>
                <a:gd name="connsiteX14" fmla="*/ 133329 w 142873"/>
                <a:gd name="connsiteY14" fmla="*/ 18288 h 47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873" h="47319">
                  <a:moveTo>
                    <a:pt x="119213" y="0"/>
                  </a:moveTo>
                  <a:lnTo>
                    <a:pt x="23660" y="0"/>
                  </a:lnTo>
                  <a:cubicBezTo>
                    <a:pt x="10593" y="0"/>
                    <a:pt x="0" y="10593"/>
                    <a:pt x="0" y="23660"/>
                  </a:cubicBezTo>
                  <a:cubicBezTo>
                    <a:pt x="0" y="36726"/>
                    <a:pt x="10593" y="47319"/>
                    <a:pt x="23660" y="47319"/>
                  </a:cubicBezTo>
                  <a:lnTo>
                    <a:pt x="119213" y="47319"/>
                  </a:lnTo>
                  <a:cubicBezTo>
                    <a:pt x="132280" y="47319"/>
                    <a:pt x="142873" y="36726"/>
                    <a:pt x="142873" y="23660"/>
                  </a:cubicBezTo>
                  <a:cubicBezTo>
                    <a:pt x="142873" y="10593"/>
                    <a:pt x="132280" y="0"/>
                    <a:pt x="119213" y="0"/>
                  </a:cubicBezTo>
                  <a:close/>
                  <a:moveTo>
                    <a:pt x="133272" y="28974"/>
                  </a:moveTo>
                  <a:cubicBezTo>
                    <a:pt x="133272" y="35287"/>
                    <a:pt x="128155" y="40404"/>
                    <a:pt x="121842" y="40404"/>
                  </a:cubicBezTo>
                  <a:lnTo>
                    <a:pt x="20917" y="40404"/>
                  </a:lnTo>
                  <a:cubicBezTo>
                    <a:pt x="14604" y="40404"/>
                    <a:pt x="9487" y="35287"/>
                    <a:pt x="9487" y="28974"/>
                  </a:cubicBezTo>
                  <a:lnTo>
                    <a:pt x="9487" y="18288"/>
                  </a:lnTo>
                  <a:cubicBezTo>
                    <a:pt x="9487" y="11975"/>
                    <a:pt x="14604" y="6858"/>
                    <a:pt x="20917" y="6858"/>
                  </a:cubicBezTo>
                  <a:lnTo>
                    <a:pt x="121899" y="6858"/>
                  </a:lnTo>
                  <a:cubicBezTo>
                    <a:pt x="128212" y="6858"/>
                    <a:pt x="133329" y="11975"/>
                    <a:pt x="133329" y="18288"/>
                  </a:cubicBezTo>
                  <a:close/>
                </a:path>
              </a:pathLst>
            </a:custGeom>
            <a:solidFill>
              <a:srgbClr val="0078D7"/>
            </a:solidFill>
            <a:ln w="5334" cap="flat">
              <a:noFill/>
              <a:prstDash val="solid"/>
              <a:miter/>
            </a:ln>
          </p:spPr>
          <p:txBody>
            <a:bodyPr rtlCol="0" anchor="ctr"/>
            <a:lstStyle/>
            <a:p>
              <a:endParaRPr lang="en-US"/>
            </a:p>
          </p:txBody>
        </p:sp>
      </p:grpSp>
      <p:sp>
        <p:nvSpPr>
          <p:cNvPr id="173" name="Rectangle 172">
            <a:extLst>
              <a:ext uri="{FF2B5EF4-FFF2-40B4-BE49-F238E27FC236}">
                <a16:creationId xmlns:a16="http://schemas.microsoft.com/office/drawing/2014/main" id="{B5A15C5D-3754-4F38-A2BC-3B42A4F0B72E}"/>
              </a:ext>
              <a:ext uri="{C183D7F6-B498-43B3-948B-1728B52AA6E4}">
                <adec:decorative xmlns:adec="http://schemas.microsoft.com/office/drawing/2017/decorative" val="1"/>
              </a:ext>
            </a:extLst>
          </p:cNvPr>
          <p:cNvSpPr/>
          <p:nvPr/>
        </p:nvSpPr>
        <p:spPr bwMode="auto">
          <a:xfrm>
            <a:off x="89" y="5787512"/>
            <a:ext cx="12434711" cy="1220165"/>
          </a:xfrm>
          <a:prstGeom prst="rect">
            <a:avLst/>
          </a:prstGeom>
          <a:solidFill>
            <a:schemeClr val="tx2"/>
          </a:solidFill>
          <a:ln>
            <a:noFill/>
            <a:headEnd type="none" w="med" len="med"/>
            <a:tailEnd type="none" w="med" len="med"/>
          </a:ln>
          <a:effectLst>
            <a:outerShdw blurRad="190500" dist="381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5" name="Table 416">
            <a:extLst>
              <a:ext uri="{FF2B5EF4-FFF2-40B4-BE49-F238E27FC236}">
                <a16:creationId xmlns:a16="http://schemas.microsoft.com/office/drawing/2014/main" id="{98ECF7BF-FA91-43F2-B610-F19F00FEF032}"/>
              </a:ext>
            </a:extLst>
          </p:cNvPr>
          <p:cNvGraphicFramePr>
            <a:graphicFrameLocks noGrp="1"/>
          </p:cNvGraphicFramePr>
          <p:nvPr>
            <p:extLst>
              <p:ext uri="{D42A27DB-BD31-4B8C-83A1-F6EECF244321}">
                <p14:modId xmlns:p14="http://schemas.microsoft.com/office/powerpoint/2010/main" val="3364836834"/>
              </p:ext>
            </p:extLst>
          </p:nvPr>
        </p:nvGraphicFramePr>
        <p:xfrm>
          <a:off x="87" y="6259608"/>
          <a:ext cx="12434708" cy="448148"/>
        </p:xfrm>
        <a:graphic>
          <a:graphicData uri="http://schemas.openxmlformats.org/drawingml/2006/table">
            <a:tbl>
              <a:tblPr firstRow="1" bandRow="1">
                <a:tableStyleId>{5C22544A-7EE6-4342-B048-85BDC9FD1C3A}</a:tableStyleId>
              </a:tblPr>
              <a:tblGrid>
                <a:gridCol w="956516">
                  <a:extLst>
                    <a:ext uri="{9D8B030D-6E8A-4147-A177-3AD203B41FA5}">
                      <a16:colId xmlns:a16="http://schemas.microsoft.com/office/drawing/2014/main" val="2926525858"/>
                    </a:ext>
                  </a:extLst>
                </a:gridCol>
                <a:gridCol w="956516">
                  <a:extLst>
                    <a:ext uri="{9D8B030D-6E8A-4147-A177-3AD203B41FA5}">
                      <a16:colId xmlns:a16="http://schemas.microsoft.com/office/drawing/2014/main" val="419483106"/>
                    </a:ext>
                  </a:extLst>
                </a:gridCol>
                <a:gridCol w="956516">
                  <a:extLst>
                    <a:ext uri="{9D8B030D-6E8A-4147-A177-3AD203B41FA5}">
                      <a16:colId xmlns:a16="http://schemas.microsoft.com/office/drawing/2014/main" val="4256894392"/>
                    </a:ext>
                  </a:extLst>
                </a:gridCol>
                <a:gridCol w="956516">
                  <a:extLst>
                    <a:ext uri="{9D8B030D-6E8A-4147-A177-3AD203B41FA5}">
                      <a16:colId xmlns:a16="http://schemas.microsoft.com/office/drawing/2014/main" val="999496664"/>
                    </a:ext>
                  </a:extLst>
                </a:gridCol>
                <a:gridCol w="956516">
                  <a:extLst>
                    <a:ext uri="{9D8B030D-6E8A-4147-A177-3AD203B41FA5}">
                      <a16:colId xmlns:a16="http://schemas.microsoft.com/office/drawing/2014/main" val="672864849"/>
                    </a:ext>
                  </a:extLst>
                </a:gridCol>
                <a:gridCol w="956516">
                  <a:extLst>
                    <a:ext uri="{9D8B030D-6E8A-4147-A177-3AD203B41FA5}">
                      <a16:colId xmlns:a16="http://schemas.microsoft.com/office/drawing/2014/main" val="1976416070"/>
                    </a:ext>
                  </a:extLst>
                </a:gridCol>
                <a:gridCol w="956516">
                  <a:extLst>
                    <a:ext uri="{9D8B030D-6E8A-4147-A177-3AD203B41FA5}">
                      <a16:colId xmlns:a16="http://schemas.microsoft.com/office/drawing/2014/main" val="629464174"/>
                    </a:ext>
                  </a:extLst>
                </a:gridCol>
                <a:gridCol w="956516">
                  <a:extLst>
                    <a:ext uri="{9D8B030D-6E8A-4147-A177-3AD203B41FA5}">
                      <a16:colId xmlns:a16="http://schemas.microsoft.com/office/drawing/2014/main" val="1903279566"/>
                    </a:ext>
                  </a:extLst>
                </a:gridCol>
                <a:gridCol w="956516">
                  <a:extLst>
                    <a:ext uri="{9D8B030D-6E8A-4147-A177-3AD203B41FA5}">
                      <a16:colId xmlns:a16="http://schemas.microsoft.com/office/drawing/2014/main" val="3515711276"/>
                    </a:ext>
                  </a:extLst>
                </a:gridCol>
                <a:gridCol w="956516">
                  <a:extLst>
                    <a:ext uri="{9D8B030D-6E8A-4147-A177-3AD203B41FA5}">
                      <a16:colId xmlns:a16="http://schemas.microsoft.com/office/drawing/2014/main" val="3973840213"/>
                    </a:ext>
                  </a:extLst>
                </a:gridCol>
                <a:gridCol w="956516">
                  <a:extLst>
                    <a:ext uri="{9D8B030D-6E8A-4147-A177-3AD203B41FA5}">
                      <a16:colId xmlns:a16="http://schemas.microsoft.com/office/drawing/2014/main" val="2766551188"/>
                    </a:ext>
                  </a:extLst>
                </a:gridCol>
                <a:gridCol w="956516">
                  <a:extLst>
                    <a:ext uri="{9D8B030D-6E8A-4147-A177-3AD203B41FA5}">
                      <a16:colId xmlns:a16="http://schemas.microsoft.com/office/drawing/2014/main" val="2234175323"/>
                    </a:ext>
                  </a:extLst>
                </a:gridCol>
                <a:gridCol w="956516">
                  <a:extLst>
                    <a:ext uri="{9D8B030D-6E8A-4147-A177-3AD203B41FA5}">
                      <a16:colId xmlns:a16="http://schemas.microsoft.com/office/drawing/2014/main" val="1843979547"/>
                    </a:ext>
                  </a:extLst>
                </a:gridCol>
              </a:tblGrid>
              <a:tr h="448148">
                <a:tc>
                  <a:txBody>
                    <a:bodyPr/>
                    <a:lstStyle/>
                    <a:p>
                      <a:pPr marL="0" marR="0" indent="0" algn="ctr" rtl="0" eaLnBrk="1" fontAlgn="auto" latinLnBrk="0" hangingPunct="1">
                        <a:spcBef>
                          <a:spcPts val="0"/>
                        </a:spcBef>
                        <a:spcAft>
                          <a:spcPts val="0"/>
                        </a:spcAft>
                      </a:pPr>
                      <a:r>
                        <a:rPr lang="en-US" sz="800" b="0" u="none" strike="noStrike">
                          <a:effectLst/>
                        </a:rPr>
                        <a:t>All day </a:t>
                      </a:r>
                    </a:p>
                    <a:p>
                      <a:pPr marL="0" marR="0" indent="0" algn="ctr" rtl="0" eaLnBrk="1" fontAlgn="auto" latinLnBrk="0" hangingPunct="1">
                        <a:spcBef>
                          <a:spcPts val="0"/>
                        </a:spcBef>
                        <a:spcAft>
                          <a:spcPts val="0"/>
                        </a:spcAft>
                      </a:pPr>
                      <a:r>
                        <a:rPr lang="en-US" sz="800" b="0" u="none" strike="noStrike">
                          <a:effectLst/>
                        </a:rPr>
                        <a:t>battery life</a:t>
                      </a:r>
                      <a:endParaRPr lang="en-US" sz="800" b="0" i="0" u="none" strike="noStrike">
                        <a:effectLst/>
                        <a:latin typeface="Arial" panose="020B0604020202020204" pitchFamily="34" charset="0"/>
                      </a:endParaRPr>
                    </a:p>
                  </a:txBody>
                  <a:tcPr marL="77322" marR="77322" marT="38662" marB="38662">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a:effectLst/>
                        </a:rPr>
                        <a:t>Rugged </a:t>
                      </a:r>
                    </a:p>
                    <a:p>
                      <a:pPr marL="0" marR="0" indent="0" algn="ctr" rtl="0" eaLnBrk="1" fontAlgn="auto" latinLnBrk="0" hangingPunct="1">
                        <a:spcBef>
                          <a:spcPts val="0"/>
                        </a:spcBef>
                        <a:spcAft>
                          <a:spcPts val="0"/>
                        </a:spcAft>
                      </a:pPr>
                      <a:r>
                        <a:rPr lang="en-US" sz="800" b="0" u="none" strike="noStrike">
                          <a:effectLst/>
                        </a:rPr>
                        <a:t>Design</a:t>
                      </a:r>
                      <a:endParaRPr lang="en-US" sz="800" b="0" i="0" u="none" strike="noStrike">
                        <a:effectLst/>
                        <a:latin typeface="Arial" panose="020B0604020202020204" pitchFamily="34" charset="0"/>
                      </a:endParaRP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a:effectLst/>
                        </a:rPr>
                        <a:t>Fast</a:t>
                      </a:r>
                      <a:br>
                        <a:rPr lang="en-US" sz="800" b="0" u="none" strike="noStrike">
                          <a:effectLst/>
                        </a:rPr>
                      </a:br>
                      <a:r>
                        <a:rPr lang="en-US" sz="800" b="0" u="none" strike="noStrike">
                          <a:effectLst/>
                        </a:rPr>
                        <a:t>Resume</a:t>
                      </a:r>
                      <a:endParaRPr lang="en-US" sz="800" b="0" i="0" u="none" strike="noStrike">
                        <a:effectLst/>
                        <a:latin typeface="Arial" panose="020B0604020202020204" pitchFamily="34" charset="0"/>
                      </a:endParaRP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kern="1200">
                          <a:effectLst/>
                        </a:rPr>
                        <a:t>Windows Hello option</a:t>
                      </a:r>
                      <a:endParaRPr lang="en-US" sz="800" b="0" i="0" u="none" strike="noStrike">
                        <a:effectLst/>
                        <a:latin typeface="Arial" panose="020B0604020202020204" pitchFamily="34" charset="0"/>
                      </a:endParaRP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a:effectLst/>
                        </a:rPr>
                        <a:t>USB </a:t>
                      </a:r>
                    </a:p>
                    <a:p>
                      <a:pPr marL="0" marR="0" indent="0" algn="ctr" rtl="0" eaLnBrk="1" fontAlgn="auto" latinLnBrk="0" hangingPunct="1">
                        <a:spcBef>
                          <a:spcPts val="0"/>
                        </a:spcBef>
                        <a:spcAft>
                          <a:spcPts val="0"/>
                        </a:spcAft>
                      </a:pPr>
                      <a:r>
                        <a:rPr lang="en-US" sz="800" b="0" u="none" strike="noStrike">
                          <a:effectLst/>
                        </a:rPr>
                        <a:t>type C </a:t>
                      </a:r>
                      <a:endParaRPr lang="en-US" sz="800" b="0" i="0" u="none" strike="noStrike">
                        <a:effectLst/>
                        <a:latin typeface="Arial" panose="020B0604020202020204" pitchFamily="34" charset="0"/>
                      </a:endParaRP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a:effectLst/>
                        </a:rPr>
                        <a:t>Good to Go indicator</a:t>
                      </a:r>
                      <a:endParaRPr lang="en-US" sz="800" b="0" i="0" u="none" strike="noStrike">
                        <a:effectLst/>
                        <a:latin typeface="Arial" panose="020B0604020202020204" pitchFamily="34" charset="0"/>
                      </a:endParaRP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a:effectLst/>
                        </a:rPr>
                        <a:t>Touch display option</a:t>
                      </a:r>
                      <a:endParaRPr lang="en-US" sz="800" b="0" i="0" u="none" strike="noStrike">
                        <a:effectLst/>
                        <a:latin typeface="Arial" panose="020B0604020202020204" pitchFamily="34" charset="0"/>
                      </a:endParaRP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kern="1200">
                          <a:solidFill>
                            <a:schemeClr val="lt1"/>
                          </a:solidFill>
                          <a:effectLst/>
                          <a:latin typeface="+mn-lt"/>
                          <a:ea typeface="+mn-ea"/>
                          <a:cs typeface="+mn-cs"/>
                        </a:rPr>
                        <a:t>Quality</a:t>
                      </a:r>
                    </a:p>
                    <a:p>
                      <a:pPr marL="0" marR="0" indent="0" algn="ctr" rtl="0" eaLnBrk="1" fontAlgn="auto" latinLnBrk="0" hangingPunct="1">
                        <a:spcBef>
                          <a:spcPts val="0"/>
                        </a:spcBef>
                        <a:spcAft>
                          <a:spcPts val="0"/>
                        </a:spcAft>
                      </a:pPr>
                      <a:r>
                        <a:rPr lang="en-US" sz="800" b="0" u="none" strike="noStrike" kern="1200">
                          <a:solidFill>
                            <a:schemeClr val="lt1"/>
                          </a:solidFill>
                          <a:effectLst/>
                          <a:latin typeface="+mn-lt"/>
                          <a:ea typeface="+mn-ea"/>
                          <a:cs typeface="+mn-cs"/>
                        </a:rPr>
                        <a:t>Mic</a:t>
                      </a: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800" b="0" u="none" strike="noStrike" kern="1200">
                          <a:solidFill>
                            <a:schemeClr val="lt1"/>
                          </a:solidFill>
                          <a:effectLst/>
                          <a:latin typeface="+mn-lt"/>
                          <a:ea typeface="+mn-ea"/>
                          <a:cs typeface="+mn-cs"/>
                        </a:rPr>
                        <a:t>HD </a:t>
                      </a:r>
                    </a:p>
                    <a:p>
                      <a:pPr marL="0" marR="0" lvl="0" indent="0" algn="ctr" defTabSz="932104" rtl="0" eaLnBrk="1" fontAlgn="auto" latinLnBrk="0" hangingPunct="1">
                        <a:lnSpc>
                          <a:spcPct val="100000"/>
                        </a:lnSpc>
                        <a:spcBef>
                          <a:spcPts val="0"/>
                        </a:spcBef>
                        <a:spcAft>
                          <a:spcPts val="0"/>
                        </a:spcAft>
                        <a:buClrTx/>
                        <a:buSzTx/>
                        <a:buFontTx/>
                        <a:buNone/>
                        <a:tabLst/>
                        <a:defRPr/>
                      </a:pPr>
                      <a:r>
                        <a:rPr lang="en-US" sz="800" b="0" u="none" strike="noStrike" kern="1200">
                          <a:solidFill>
                            <a:schemeClr val="lt1"/>
                          </a:solidFill>
                          <a:effectLst/>
                          <a:latin typeface="+mn-lt"/>
                          <a:ea typeface="+mn-ea"/>
                          <a:cs typeface="+mn-cs"/>
                        </a:rPr>
                        <a:t>Camera</a:t>
                      </a:r>
                    </a:p>
                  </a:txBody>
                  <a:tcPr marL="89629" marR="89629" marT="44815" marB="44815">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800" b="0" u="none" strike="noStrike" kern="1200">
                          <a:solidFill>
                            <a:schemeClr val="lt1"/>
                          </a:solidFill>
                          <a:effectLst/>
                          <a:latin typeface="+mn-lt"/>
                          <a:ea typeface="+mn-ea"/>
                          <a:cs typeface="+mn-cs"/>
                        </a:rPr>
                        <a:t>FHD </a:t>
                      </a:r>
                    </a:p>
                    <a:p>
                      <a:pPr marL="0" marR="0" lvl="0" indent="0" algn="ctr" defTabSz="932104" rtl="0" eaLnBrk="1" fontAlgn="auto" latinLnBrk="0" hangingPunct="1">
                        <a:lnSpc>
                          <a:spcPct val="100000"/>
                        </a:lnSpc>
                        <a:spcBef>
                          <a:spcPts val="0"/>
                        </a:spcBef>
                        <a:spcAft>
                          <a:spcPts val="0"/>
                        </a:spcAft>
                        <a:buClrTx/>
                        <a:buSzTx/>
                        <a:buFontTx/>
                        <a:buNone/>
                        <a:tabLst/>
                        <a:defRPr/>
                      </a:pPr>
                      <a:r>
                        <a:rPr lang="en-US" sz="800" b="0" u="none" strike="noStrike" kern="1200">
                          <a:solidFill>
                            <a:schemeClr val="lt1"/>
                          </a:solidFill>
                          <a:effectLst/>
                          <a:latin typeface="+mn-lt"/>
                          <a:ea typeface="+mn-ea"/>
                          <a:cs typeface="+mn-cs"/>
                        </a:rPr>
                        <a:t>Camera</a:t>
                      </a: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kern="1200">
                          <a:solidFill>
                            <a:schemeClr val="lt1"/>
                          </a:solidFill>
                          <a:effectLst/>
                          <a:latin typeface="+mn-lt"/>
                          <a:ea typeface="+mn-ea"/>
                          <a:cs typeface="+mn-cs"/>
                        </a:rPr>
                        <a:t>Cellular </a:t>
                      </a:r>
                    </a:p>
                    <a:p>
                      <a:pPr marL="0" marR="0" indent="0" algn="ctr" rtl="0" eaLnBrk="1" fontAlgn="auto" latinLnBrk="0" hangingPunct="1">
                        <a:spcBef>
                          <a:spcPts val="0"/>
                        </a:spcBef>
                        <a:spcAft>
                          <a:spcPts val="0"/>
                        </a:spcAft>
                      </a:pPr>
                      <a:r>
                        <a:rPr lang="en-US" sz="800" b="0" u="none" strike="noStrike" kern="1200">
                          <a:solidFill>
                            <a:schemeClr val="lt1"/>
                          </a:solidFill>
                          <a:effectLst/>
                          <a:latin typeface="+mn-lt"/>
                          <a:ea typeface="+mn-ea"/>
                          <a:cs typeface="+mn-cs"/>
                        </a:rPr>
                        <a:t>option</a:t>
                      </a: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kern="1200">
                          <a:solidFill>
                            <a:schemeClr val="lt1"/>
                          </a:solidFill>
                          <a:effectLst/>
                          <a:latin typeface="+mn-lt"/>
                          <a:ea typeface="+mn-ea"/>
                          <a:cs typeface="+mn-cs"/>
                        </a:rPr>
                        <a:t>Pen Garage</a:t>
                      </a:r>
                    </a:p>
                    <a:p>
                      <a:pPr marL="0" marR="0" indent="0" algn="ctr" rtl="0" eaLnBrk="1" fontAlgn="auto" latinLnBrk="0" hangingPunct="1">
                        <a:spcBef>
                          <a:spcPts val="0"/>
                        </a:spcBef>
                        <a:spcAft>
                          <a:spcPts val="0"/>
                        </a:spcAft>
                      </a:pPr>
                      <a:r>
                        <a:rPr lang="en-US" sz="800" b="0" u="none" strike="noStrike" kern="1200">
                          <a:solidFill>
                            <a:schemeClr val="lt1"/>
                          </a:solidFill>
                          <a:effectLst/>
                          <a:latin typeface="+mn-lt"/>
                          <a:ea typeface="+mn-ea"/>
                          <a:cs typeface="+mn-cs"/>
                        </a:rPr>
                        <a:t>&amp; Charging</a:t>
                      </a:r>
                    </a:p>
                  </a:txBody>
                  <a:tcPr marL="77322" marR="77322" marT="38662" marB="38662">
                    <a:lnL w="635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kern="1200">
                          <a:solidFill>
                            <a:schemeClr val="lt1"/>
                          </a:solidFill>
                          <a:effectLst/>
                          <a:latin typeface="+mn-lt"/>
                          <a:ea typeface="+mn-ea"/>
                          <a:cs typeface="+mn-cs"/>
                        </a:rPr>
                        <a:t>Windows </a:t>
                      </a:r>
                    </a:p>
                    <a:p>
                      <a:pPr marL="0" marR="0" indent="0" algn="ctr" rtl="0" eaLnBrk="1" fontAlgn="auto" latinLnBrk="0" hangingPunct="1">
                        <a:spcBef>
                          <a:spcPts val="0"/>
                        </a:spcBef>
                        <a:spcAft>
                          <a:spcPts val="0"/>
                        </a:spcAft>
                      </a:pPr>
                      <a:r>
                        <a:rPr lang="en-US" sz="800" b="0" u="none" strike="noStrike" kern="1200">
                          <a:solidFill>
                            <a:schemeClr val="lt1"/>
                          </a:solidFill>
                          <a:effectLst/>
                          <a:latin typeface="+mn-lt"/>
                          <a:ea typeface="+mn-ea"/>
                          <a:cs typeface="+mn-cs"/>
                        </a:rPr>
                        <a:t>Ink Option</a:t>
                      </a:r>
                    </a:p>
                  </a:txBody>
                  <a:tcPr marL="77322" marR="77322" marT="38662" marB="38662">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10046473"/>
                  </a:ext>
                </a:extLst>
              </a:tr>
            </a:tbl>
          </a:graphicData>
        </a:graphic>
      </p:graphicFrame>
      <p:sp>
        <p:nvSpPr>
          <p:cNvPr id="176" name="Microphone_E720">
            <a:extLst>
              <a:ext uri="{FF2B5EF4-FFF2-40B4-BE49-F238E27FC236}">
                <a16:creationId xmlns:a16="http://schemas.microsoft.com/office/drawing/2014/main" id="{0C465A53-E525-4196-975D-352AAA6084FF}"/>
              </a:ext>
              <a:ext uri="{C183D7F6-B498-43B3-948B-1728B52AA6E4}">
                <adec:decorative xmlns:adec="http://schemas.microsoft.com/office/drawing/2017/decorative" val="1"/>
              </a:ext>
            </a:extLst>
          </p:cNvPr>
          <p:cNvSpPr>
            <a:spLocks noChangeAspect="1" noEditPoints="1"/>
          </p:cNvSpPr>
          <p:nvPr/>
        </p:nvSpPr>
        <p:spPr bwMode="auto">
          <a:xfrm>
            <a:off x="7113809" y="6063243"/>
            <a:ext cx="103890" cy="155911"/>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2700" cap="flat">
            <a:solidFill>
              <a:schemeClr val="bg1"/>
            </a:solidFill>
            <a:prstDash val="solid"/>
            <a:miter/>
          </a:ln>
        </p:spPr>
        <p:txBody>
          <a:bodyPr vert="horz" wrap="square" lIns="89629" tIns="44815" rIns="89629" bIns="44815" numCol="1" anchor="t" anchorCtr="0" compatLnSpc="1">
            <a:prstTxWarp prst="textNoShape">
              <a:avLst/>
            </a:prstTxWarp>
          </a:bodyPr>
          <a:lstStyle/>
          <a:p>
            <a:endParaRPr lang="en-US" sz="1764"/>
          </a:p>
        </p:txBody>
      </p:sp>
      <p:pic>
        <p:nvPicPr>
          <p:cNvPr id="177" name="Graphic 176">
            <a:extLst>
              <a:ext uri="{FF2B5EF4-FFF2-40B4-BE49-F238E27FC236}">
                <a16:creationId xmlns:a16="http://schemas.microsoft.com/office/drawing/2014/main" id="{7B760CF3-C75B-4D30-B0CD-93317C266A09}"/>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122786" y="6047653"/>
            <a:ext cx="127560" cy="187088"/>
          </a:xfrm>
          <a:prstGeom prst="rect">
            <a:avLst/>
          </a:prstGeom>
        </p:spPr>
      </p:pic>
      <p:sp>
        <p:nvSpPr>
          <p:cNvPr id="178" name="Freeform 110">
            <a:extLst>
              <a:ext uri="{FF2B5EF4-FFF2-40B4-BE49-F238E27FC236}">
                <a16:creationId xmlns:a16="http://schemas.microsoft.com/office/drawing/2014/main" id="{44298335-5C46-49AD-A6E4-8FFCC32ACF73}"/>
              </a:ext>
              <a:ext uri="{C183D7F6-B498-43B3-948B-1728B52AA6E4}">
                <adec:decorative xmlns:adec="http://schemas.microsoft.com/office/drawing/2017/decorative" val="1"/>
              </a:ext>
            </a:extLst>
          </p:cNvPr>
          <p:cNvSpPr>
            <a:spLocks noChangeAspect="1" noEditPoints="1"/>
          </p:cNvSpPr>
          <p:nvPr/>
        </p:nvSpPr>
        <p:spPr bwMode="black">
          <a:xfrm>
            <a:off x="428313" y="6060673"/>
            <a:ext cx="85873" cy="161051"/>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184" tIns="137747" rIns="172184" bIns="137747" numCol="1" spcCol="0" rtlCol="0" fromWordArt="0" anchor="t" anchorCtr="0" forceAA="0" compatLnSpc="1">
            <a:prstTxWarp prst="textNoShape">
              <a:avLst/>
            </a:prstTxWarp>
            <a:noAutofit/>
          </a:bodyPr>
          <a:lstStyle/>
          <a:p>
            <a:pPr algn="ctr" defTabSz="877598" fontAlgn="base">
              <a:spcBef>
                <a:spcPct val="0"/>
              </a:spcBef>
              <a:spcAft>
                <a:spcPct val="0"/>
              </a:spcAft>
              <a:defRPr/>
            </a:pPr>
            <a:endParaRPr lang="en-US" sz="1921">
              <a:solidFill>
                <a:schemeClr val="tx1"/>
              </a:solidFill>
              <a:latin typeface="Segoe UI"/>
              <a:ea typeface="Segoe UI" pitchFamily="34" charset="0"/>
              <a:cs typeface="Segoe UI" pitchFamily="34" charset="0"/>
            </a:endParaRPr>
          </a:p>
        </p:txBody>
      </p:sp>
      <p:grpSp>
        <p:nvGrpSpPr>
          <p:cNvPr id="179" name="Graphic 305">
            <a:extLst>
              <a:ext uri="{FF2B5EF4-FFF2-40B4-BE49-F238E27FC236}">
                <a16:creationId xmlns:a16="http://schemas.microsoft.com/office/drawing/2014/main" id="{EE64E2FF-455F-4ABE-AB56-27A46697F66D}"/>
              </a:ext>
              <a:ext uri="{C183D7F6-B498-43B3-948B-1728B52AA6E4}">
                <adec:decorative xmlns:adec="http://schemas.microsoft.com/office/drawing/2017/decorative" val="1"/>
              </a:ext>
            </a:extLst>
          </p:cNvPr>
          <p:cNvGrpSpPr/>
          <p:nvPr/>
        </p:nvGrpSpPr>
        <p:grpSpPr>
          <a:xfrm>
            <a:off x="4186971" y="6106482"/>
            <a:ext cx="209631" cy="69430"/>
            <a:chOff x="3845953" y="3735365"/>
            <a:chExt cx="142873" cy="47319"/>
          </a:xfrm>
          <a:solidFill>
            <a:schemeClr val="bg1"/>
          </a:solidFill>
        </p:grpSpPr>
        <p:sp>
          <p:nvSpPr>
            <p:cNvPr id="180" name="Freeform: Shape 179">
              <a:extLst>
                <a:ext uri="{FF2B5EF4-FFF2-40B4-BE49-F238E27FC236}">
                  <a16:creationId xmlns:a16="http://schemas.microsoft.com/office/drawing/2014/main" id="{C2A7E2FA-3BD5-45DD-8DB5-BB3A5951A925}"/>
                </a:ext>
              </a:extLst>
            </p:cNvPr>
            <p:cNvSpPr/>
            <p:nvPr/>
          </p:nvSpPr>
          <p:spPr>
            <a:xfrm>
              <a:off x="3864127" y="3750853"/>
              <a:ext cx="106583" cy="16287"/>
            </a:xfrm>
            <a:custGeom>
              <a:avLst/>
              <a:gdLst>
                <a:gd name="connsiteX0" fmla="*/ 103783 w 106583"/>
                <a:gd name="connsiteY0" fmla="*/ 0 h 16287"/>
                <a:gd name="connsiteX1" fmla="*/ 106583 w 106583"/>
                <a:gd name="connsiteY1" fmla="*/ 0 h 16287"/>
                <a:gd name="connsiteX2" fmla="*/ 106583 w 106583"/>
                <a:gd name="connsiteY2" fmla="*/ 16287 h 16287"/>
                <a:gd name="connsiteX3" fmla="*/ 103783 w 106583"/>
                <a:gd name="connsiteY3" fmla="*/ 16287 h 16287"/>
                <a:gd name="connsiteX4" fmla="*/ 2800 w 106583"/>
                <a:gd name="connsiteY4" fmla="*/ 16287 h 16287"/>
                <a:gd name="connsiteX5" fmla="*/ 2800 w 106583"/>
                <a:gd name="connsiteY5" fmla="*/ 0 h 16287"/>
                <a:gd name="connsiteX6" fmla="*/ 0 w 106583"/>
                <a:gd name="connsiteY6" fmla="*/ 0 h 16287"/>
                <a:gd name="connsiteX7" fmla="*/ 2800 w 106583"/>
                <a:gd name="connsiteY7" fmla="*/ 0 h 1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583" h="16287">
                  <a:moveTo>
                    <a:pt x="103783" y="0"/>
                  </a:moveTo>
                  <a:cubicBezTo>
                    <a:pt x="105330" y="0"/>
                    <a:pt x="106583" y="0"/>
                    <a:pt x="106583" y="0"/>
                  </a:cubicBezTo>
                  <a:lnTo>
                    <a:pt x="106583" y="16287"/>
                  </a:lnTo>
                  <a:cubicBezTo>
                    <a:pt x="106583" y="16287"/>
                    <a:pt x="105330" y="16287"/>
                    <a:pt x="103783" y="16287"/>
                  </a:cubicBezTo>
                  <a:lnTo>
                    <a:pt x="2800" y="16287"/>
                  </a:lnTo>
                  <a:lnTo>
                    <a:pt x="2800" y="0"/>
                  </a:lnTo>
                  <a:cubicBezTo>
                    <a:pt x="1254" y="0"/>
                    <a:pt x="0" y="0"/>
                    <a:pt x="0" y="0"/>
                  </a:cubicBezTo>
                  <a:cubicBezTo>
                    <a:pt x="0" y="0"/>
                    <a:pt x="1254" y="0"/>
                    <a:pt x="2800" y="0"/>
                  </a:cubicBezTo>
                  <a:close/>
                </a:path>
              </a:pathLst>
            </a:custGeom>
            <a:grpFill/>
            <a:ln w="5334" cap="flat">
              <a:noFill/>
              <a:prstDash val="solid"/>
              <a:miter/>
            </a:ln>
          </p:spPr>
          <p:txBody>
            <a:bodyPr rtlCol="0" anchor="ctr"/>
            <a:lstStyle/>
            <a:p>
              <a:endParaRPr lang="en-US" sz="1764"/>
            </a:p>
          </p:txBody>
        </p:sp>
        <p:sp>
          <p:nvSpPr>
            <p:cNvPr id="181" name="Freeform: Shape 180">
              <a:extLst>
                <a:ext uri="{FF2B5EF4-FFF2-40B4-BE49-F238E27FC236}">
                  <a16:creationId xmlns:a16="http://schemas.microsoft.com/office/drawing/2014/main" id="{F009C93C-D3D6-474D-AA9F-BB93FDA39BC4}"/>
                </a:ext>
              </a:extLst>
            </p:cNvPr>
            <p:cNvSpPr/>
            <p:nvPr/>
          </p:nvSpPr>
          <p:spPr>
            <a:xfrm>
              <a:off x="3845953" y="3735365"/>
              <a:ext cx="142873" cy="47319"/>
            </a:xfrm>
            <a:custGeom>
              <a:avLst/>
              <a:gdLst>
                <a:gd name="connsiteX0" fmla="*/ 119213 w 142873"/>
                <a:gd name="connsiteY0" fmla="*/ 0 h 47319"/>
                <a:gd name="connsiteX1" fmla="*/ 23660 w 142873"/>
                <a:gd name="connsiteY1" fmla="*/ 0 h 47319"/>
                <a:gd name="connsiteX2" fmla="*/ 0 w 142873"/>
                <a:gd name="connsiteY2" fmla="*/ 23660 h 47319"/>
                <a:gd name="connsiteX3" fmla="*/ 23660 w 142873"/>
                <a:gd name="connsiteY3" fmla="*/ 47319 h 47319"/>
                <a:gd name="connsiteX4" fmla="*/ 119213 w 142873"/>
                <a:gd name="connsiteY4" fmla="*/ 47319 h 47319"/>
                <a:gd name="connsiteX5" fmla="*/ 142873 w 142873"/>
                <a:gd name="connsiteY5" fmla="*/ 23660 h 47319"/>
                <a:gd name="connsiteX6" fmla="*/ 119213 w 142873"/>
                <a:gd name="connsiteY6" fmla="*/ 0 h 47319"/>
                <a:gd name="connsiteX7" fmla="*/ 133272 w 142873"/>
                <a:gd name="connsiteY7" fmla="*/ 28974 h 47319"/>
                <a:gd name="connsiteX8" fmla="*/ 121842 w 142873"/>
                <a:gd name="connsiteY8" fmla="*/ 40404 h 47319"/>
                <a:gd name="connsiteX9" fmla="*/ 20917 w 142873"/>
                <a:gd name="connsiteY9" fmla="*/ 40404 h 47319"/>
                <a:gd name="connsiteX10" fmla="*/ 9487 w 142873"/>
                <a:gd name="connsiteY10" fmla="*/ 28974 h 47319"/>
                <a:gd name="connsiteX11" fmla="*/ 9487 w 142873"/>
                <a:gd name="connsiteY11" fmla="*/ 18288 h 47319"/>
                <a:gd name="connsiteX12" fmla="*/ 20917 w 142873"/>
                <a:gd name="connsiteY12" fmla="*/ 6858 h 47319"/>
                <a:gd name="connsiteX13" fmla="*/ 121899 w 142873"/>
                <a:gd name="connsiteY13" fmla="*/ 6858 h 47319"/>
                <a:gd name="connsiteX14" fmla="*/ 133329 w 142873"/>
                <a:gd name="connsiteY14" fmla="*/ 18288 h 47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873" h="47319">
                  <a:moveTo>
                    <a:pt x="119213" y="0"/>
                  </a:moveTo>
                  <a:lnTo>
                    <a:pt x="23660" y="0"/>
                  </a:lnTo>
                  <a:cubicBezTo>
                    <a:pt x="10593" y="0"/>
                    <a:pt x="0" y="10593"/>
                    <a:pt x="0" y="23660"/>
                  </a:cubicBezTo>
                  <a:cubicBezTo>
                    <a:pt x="0" y="36726"/>
                    <a:pt x="10593" y="47319"/>
                    <a:pt x="23660" y="47319"/>
                  </a:cubicBezTo>
                  <a:lnTo>
                    <a:pt x="119213" y="47319"/>
                  </a:lnTo>
                  <a:cubicBezTo>
                    <a:pt x="132280" y="47319"/>
                    <a:pt x="142873" y="36726"/>
                    <a:pt x="142873" y="23660"/>
                  </a:cubicBezTo>
                  <a:cubicBezTo>
                    <a:pt x="142873" y="10593"/>
                    <a:pt x="132280" y="0"/>
                    <a:pt x="119213" y="0"/>
                  </a:cubicBezTo>
                  <a:close/>
                  <a:moveTo>
                    <a:pt x="133272" y="28974"/>
                  </a:moveTo>
                  <a:cubicBezTo>
                    <a:pt x="133272" y="35287"/>
                    <a:pt x="128155" y="40404"/>
                    <a:pt x="121842" y="40404"/>
                  </a:cubicBezTo>
                  <a:lnTo>
                    <a:pt x="20917" y="40404"/>
                  </a:lnTo>
                  <a:cubicBezTo>
                    <a:pt x="14604" y="40404"/>
                    <a:pt x="9487" y="35287"/>
                    <a:pt x="9487" y="28974"/>
                  </a:cubicBezTo>
                  <a:lnTo>
                    <a:pt x="9487" y="18288"/>
                  </a:lnTo>
                  <a:cubicBezTo>
                    <a:pt x="9487" y="11975"/>
                    <a:pt x="14604" y="6858"/>
                    <a:pt x="20917" y="6858"/>
                  </a:cubicBezTo>
                  <a:lnTo>
                    <a:pt x="121899" y="6858"/>
                  </a:lnTo>
                  <a:cubicBezTo>
                    <a:pt x="128212" y="6858"/>
                    <a:pt x="133329" y="11975"/>
                    <a:pt x="133329" y="18288"/>
                  </a:cubicBezTo>
                  <a:close/>
                </a:path>
              </a:pathLst>
            </a:custGeom>
            <a:grpFill/>
            <a:ln w="5334" cap="flat">
              <a:noFill/>
              <a:prstDash val="solid"/>
              <a:miter/>
            </a:ln>
          </p:spPr>
          <p:txBody>
            <a:bodyPr rtlCol="0" anchor="ctr"/>
            <a:lstStyle/>
            <a:p>
              <a:endParaRPr lang="en-US" sz="1764"/>
            </a:p>
          </p:txBody>
        </p:sp>
      </p:grpSp>
      <p:pic>
        <p:nvPicPr>
          <p:cNvPr id="182" name="Graphic 181">
            <a:extLst>
              <a:ext uri="{FF2B5EF4-FFF2-40B4-BE49-F238E27FC236}">
                <a16:creationId xmlns:a16="http://schemas.microsoft.com/office/drawing/2014/main" id="{2843D32F-14F3-40B6-84F5-6CA60F852291}"/>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158422" y="6031485"/>
            <a:ext cx="205711" cy="219425"/>
          </a:xfrm>
          <a:prstGeom prst="rect">
            <a:avLst/>
          </a:prstGeom>
        </p:spPr>
      </p:pic>
      <p:pic>
        <p:nvPicPr>
          <p:cNvPr id="183" name="Graphic 182">
            <a:extLst>
              <a:ext uri="{FF2B5EF4-FFF2-40B4-BE49-F238E27FC236}">
                <a16:creationId xmlns:a16="http://schemas.microsoft.com/office/drawing/2014/main" id="{E199791C-3282-4007-97C2-6D568FA0F569}"/>
              </a:ext>
              <a:ext uri="{C183D7F6-B498-43B3-948B-1728B52AA6E4}">
                <adec:decorative xmlns:adec="http://schemas.microsoft.com/office/drawing/2017/decorative" val="1"/>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336797" y="6058224"/>
            <a:ext cx="174748" cy="165946"/>
          </a:xfrm>
          <a:prstGeom prst="rect">
            <a:avLst/>
          </a:prstGeom>
        </p:spPr>
      </p:pic>
      <p:sp>
        <p:nvSpPr>
          <p:cNvPr id="184" name="Stopwatch_E916">
            <a:extLst>
              <a:ext uri="{FF2B5EF4-FFF2-40B4-BE49-F238E27FC236}">
                <a16:creationId xmlns:a16="http://schemas.microsoft.com/office/drawing/2014/main" id="{DD484736-43F2-43FB-8809-CB219E861E57}"/>
              </a:ext>
              <a:ext uri="{C183D7F6-B498-43B3-948B-1728B52AA6E4}">
                <adec:decorative xmlns:adec="http://schemas.microsoft.com/office/drawing/2017/decorative" val="1"/>
              </a:ext>
            </a:extLst>
          </p:cNvPr>
          <p:cNvSpPr>
            <a:spLocks noChangeAspect="1" noEditPoints="1"/>
          </p:cNvSpPr>
          <p:nvPr/>
        </p:nvSpPr>
        <p:spPr bwMode="auto">
          <a:xfrm>
            <a:off x="2330176" y="6066536"/>
            <a:ext cx="132520" cy="149323"/>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9525" cap="sq">
            <a:solidFill>
              <a:schemeClr val="bg1"/>
            </a:solidFill>
            <a:prstDash val="solid"/>
            <a:miter lim="800000"/>
            <a:headEnd/>
            <a:tailEnd/>
          </a:ln>
        </p:spPr>
        <p:txBody>
          <a:bodyPr vert="horz" wrap="square" lIns="87829" tIns="43915" rIns="87829" bIns="43915" numCol="1" anchor="t" anchorCtr="0" compatLnSpc="1">
            <a:prstTxWarp prst="textNoShape">
              <a:avLst/>
            </a:prstTxWarp>
          </a:bodyPr>
          <a:lstStyle/>
          <a:p>
            <a:pPr defTabSz="895789">
              <a:defRPr/>
            </a:pPr>
            <a:endParaRPr lang="en-US" sz="1921">
              <a:latin typeface="Segoe UI Semibold"/>
            </a:endParaRPr>
          </a:p>
        </p:txBody>
      </p:sp>
      <p:grpSp>
        <p:nvGrpSpPr>
          <p:cNvPr id="185" name="Group 184">
            <a:extLst>
              <a:ext uri="{FF2B5EF4-FFF2-40B4-BE49-F238E27FC236}">
                <a16:creationId xmlns:a16="http://schemas.microsoft.com/office/drawing/2014/main" id="{F94D91AF-EDBC-426A-B5A2-E218AB7FB446}"/>
              </a:ext>
              <a:ext uri="{C183D7F6-B498-43B3-948B-1728B52AA6E4}">
                <adec:decorative xmlns:adec="http://schemas.microsoft.com/office/drawing/2017/decorative" val="1"/>
              </a:ext>
            </a:extLst>
          </p:cNvPr>
          <p:cNvGrpSpPr/>
          <p:nvPr/>
        </p:nvGrpSpPr>
        <p:grpSpPr>
          <a:xfrm>
            <a:off x="3259691" y="6070405"/>
            <a:ext cx="171923" cy="141584"/>
            <a:chOff x="1738313" y="3563937"/>
            <a:chExt cx="512762" cy="422272"/>
          </a:xfrm>
          <a:solidFill>
            <a:schemeClr val="bg2">
              <a:lumMod val="25000"/>
            </a:schemeClr>
          </a:solidFill>
        </p:grpSpPr>
        <p:sp>
          <p:nvSpPr>
            <p:cNvPr id="186" name="Freeform 131">
              <a:extLst>
                <a:ext uri="{FF2B5EF4-FFF2-40B4-BE49-F238E27FC236}">
                  <a16:creationId xmlns:a16="http://schemas.microsoft.com/office/drawing/2014/main" id="{68F6E1F8-CE0D-4D44-AFF8-59EDADA58B01}"/>
                </a:ext>
              </a:extLst>
            </p:cNvPr>
            <p:cNvSpPr>
              <a:spLocks noChangeArrowheads="1"/>
            </p:cNvSpPr>
            <p:nvPr/>
          </p:nvSpPr>
          <p:spPr bwMode="auto">
            <a:xfrm>
              <a:off x="1738313" y="3790946"/>
              <a:ext cx="512762" cy="195263"/>
            </a:xfrm>
            <a:custGeom>
              <a:avLst/>
              <a:gdLst>
                <a:gd name="T0" fmla="*/ 708 w 1426"/>
                <a:gd name="T1" fmla="*/ 542 h 543"/>
                <a:gd name="T2" fmla="*/ 31 w 1426"/>
                <a:gd name="T3" fmla="*/ 184 h 543"/>
                <a:gd name="T4" fmla="*/ 53 w 1426"/>
                <a:gd name="T5" fmla="*/ 51 h 543"/>
                <a:gd name="T6" fmla="*/ 186 w 1426"/>
                <a:gd name="T7" fmla="*/ 74 h 543"/>
                <a:gd name="T8" fmla="*/ 705 w 1426"/>
                <a:gd name="T9" fmla="*/ 350 h 543"/>
                <a:gd name="T10" fmla="*/ 1236 w 1426"/>
                <a:gd name="T11" fmla="*/ 57 h 543"/>
                <a:gd name="T12" fmla="*/ 1368 w 1426"/>
                <a:gd name="T13" fmla="*/ 29 h 543"/>
                <a:gd name="T14" fmla="*/ 1396 w 1426"/>
                <a:gd name="T15" fmla="*/ 161 h 543"/>
                <a:gd name="T16" fmla="*/ 708 w 1426"/>
                <a:gd name="T17" fmla="*/ 54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6" h="543">
                  <a:moveTo>
                    <a:pt x="708" y="542"/>
                  </a:moveTo>
                  <a:cubicBezTo>
                    <a:pt x="440" y="542"/>
                    <a:pt x="186" y="407"/>
                    <a:pt x="31" y="184"/>
                  </a:cubicBezTo>
                  <a:cubicBezTo>
                    <a:pt x="0" y="141"/>
                    <a:pt x="11" y="79"/>
                    <a:pt x="53" y="51"/>
                  </a:cubicBezTo>
                  <a:cubicBezTo>
                    <a:pt x="96" y="20"/>
                    <a:pt x="158" y="31"/>
                    <a:pt x="186" y="74"/>
                  </a:cubicBezTo>
                  <a:cubicBezTo>
                    <a:pt x="307" y="246"/>
                    <a:pt x="502" y="350"/>
                    <a:pt x="705" y="350"/>
                  </a:cubicBezTo>
                  <a:cubicBezTo>
                    <a:pt x="917" y="350"/>
                    <a:pt x="1117" y="240"/>
                    <a:pt x="1236" y="57"/>
                  </a:cubicBezTo>
                  <a:cubicBezTo>
                    <a:pt x="1264" y="12"/>
                    <a:pt x="1323" y="0"/>
                    <a:pt x="1368" y="29"/>
                  </a:cubicBezTo>
                  <a:cubicBezTo>
                    <a:pt x="1413" y="57"/>
                    <a:pt x="1425" y="116"/>
                    <a:pt x="1396" y="161"/>
                  </a:cubicBezTo>
                  <a:cubicBezTo>
                    <a:pt x="1244" y="398"/>
                    <a:pt x="984" y="542"/>
                    <a:pt x="708" y="542"/>
                  </a:cubicBezTo>
                </a:path>
              </a:pathLst>
            </a:custGeom>
            <a:solidFill>
              <a:schemeClr val="bg1"/>
            </a:solidFill>
            <a:ln>
              <a:noFill/>
            </a:ln>
            <a:effectLst/>
          </p:spPr>
          <p:txBody>
            <a:bodyPr wrap="none" anchor="ctr"/>
            <a:lstStyle/>
            <a:p>
              <a:pPr algn="ctr" defTabSz="895354">
                <a:defRPr/>
              </a:pPr>
              <a:endParaRPr lang="en-US" sz="1764" kern="0">
                <a:solidFill>
                  <a:schemeClr val="bg1"/>
                </a:solidFill>
                <a:latin typeface="+mj-lt"/>
              </a:endParaRPr>
            </a:p>
          </p:txBody>
        </p:sp>
        <p:sp>
          <p:nvSpPr>
            <p:cNvPr id="187" name="Freeform 132">
              <a:extLst>
                <a:ext uri="{FF2B5EF4-FFF2-40B4-BE49-F238E27FC236}">
                  <a16:creationId xmlns:a16="http://schemas.microsoft.com/office/drawing/2014/main" id="{24AC56A4-1711-433A-8008-E349ADEE0DAC}"/>
                </a:ext>
              </a:extLst>
            </p:cNvPr>
            <p:cNvSpPr>
              <a:spLocks noChangeArrowheads="1"/>
            </p:cNvSpPr>
            <p:nvPr/>
          </p:nvSpPr>
          <p:spPr bwMode="auto">
            <a:xfrm>
              <a:off x="1798639" y="3563940"/>
              <a:ext cx="128586" cy="128588"/>
            </a:xfrm>
            <a:custGeom>
              <a:avLst/>
              <a:gdLst>
                <a:gd name="T0" fmla="*/ 356 w 357"/>
                <a:gd name="T1" fmla="*/ 178 h 357"/>
                <a:gd name="T2" fmla="*/ 332 w 357"/>
                <a:gd name="T3" fmla="*/ 267 h 357"/>
                <a:gd name="T4" fmla="*/ 267 w 357"/>
                <a:gd name="T5" fmla="*/ 332 h 357"/>
                <a:gd name="T6" fmla="*/ 178 w 357"/>
                <a:gd name="T7" fmla="*/ 356 h 357"/>
                <a:gd name="T8" fmla="*/ 89 w 357"/>
                <a:gd name="T9" fmla="*/ 332 h 357"/>
                <a:gd name="T10" fmla="*/ 24 w 357"/>
                <a:gd name="T11" fmla="*/ 267 h 357"/>
                <a:gd name="T12" fmla="*/ 0 w 357"/>
                <a:gd name="T13" fmla="*/ 178 h 357"/>
                <a:gd name="T14" fmla="*/ 24 w 357"/>
                <a:gd name="T15" fmla="*/ 89 h 357"/>
                <a:gd name="T16" fmla="*/ 89 w 357"/>
                <a:gd name="T17" fmla="*/ 24 h 357"/>
                <a:gd name="T18" fmla="*/ 178 w 357"/>
                <a:gd name="T19" fmla="*/ 0 h 357"/>
                <a:gd name="T20" fmla="*/ 267 w 357"/>
                <a:gd name="T21" fmla="*/ 24 h 357"/>
                <a:gd name="T22" fmla="*/ 332 w 357"/>
                <a:gd name="T23" fmla="*/ 89 h 357"/>
                <a:gd name="T24" fmla="*/ 356 w 357"/>
                <a:gd name="T25" fmla="*/ 178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7">
                  <a:moveTo>
                    <a:pt x="356" y="178"/>
                  </a:moveTo>
                  <a:cubicBezTo>
                    <a:pt x="356" y="211"/>
                    <a:pt x="348" y="239"/>
                    <a:pt x="332" y="267"/>
                  </a:cubicBezTo>
                  <a:cubicBezTo>
                    <a:pt x="315" y="295"/>
                    <a:pt x="295" y="316"/>
                    <a:pt x="267" y="332"/>
                  </a:cubicBezTo>
                  <a:cubicBezTo>
                    <a:pt x="238" y="348"/>
                    <a:pt x="211" y="356"/>
                    <a:pt x="178" y="356"/>
                  </a:cubicBezTo>
                  <a:cubicBezTo>
                    <a:pt x="145" y="356"/>
                    <a:pt x="117" y="348"/>
                    <a:pt x="89" y="332"/>
                  </a:cubicBezTo>
                  <a:cubicBezTo>
                    <a:pt x="61" y="316"/>
                    <a:pt x="40" y="295"/>
                    <a:pt x="24" y="267"/>
                  </a:cubicBezTo>
                  <a:cubicBezTo>
                    <a:pt x="8" y="239"/>
                    <a:pt x="0" y="211"/>
                    <a:pt x="0" y="178"/>
                  </a:cubicBezTo>
                  <a:cubicBezTo>
                    <a:pt x="0" y="145"/>
                    <a:pt x="8" y="117"/>
                    <a:pt x="24" y="89"/>
                  </a:cubicBezTo>
                  <a:cubicBezTo>
                    <a:pt x="40" y="61"/>
                    <a:pt x="61" y="40"/>
                    <a:pt x="89" y="24"/>
                  </a:cubicBezTo>
                  <a:cubicBezTo>
                    <a:pt x="117" y="8"/>
                    <a:pt x="145" y="0"/>
                    <a:pt x="178" y="0"/>
                  </a:cubicBezTo>
                  <a:cubicBezTo>
                    <a:pt x="211" y="0"/>
                    <a:pt x="238" y="8"/>
                    <a:pt x="267" y="24"/>
                  </a:cubicBezTo>
                  <a:cubicBezTo>
                    <a:pt x="295" y="40"/>
                    <a:pt x="315" y="61"/>
                    <a:pt x="332" y="89"/>
                  </a:cubicBezTo>
                  <a:cubicBezTo>
                    <a:pt x="348" y="117"/>
                    <a:pt x="356" y="145"/>
                    <a:pt x="356" y="178"/>
                  </a:cubicBezTo>
                </a:path>
              </a:pathLst>
            </a:custGeom>
            <a:solidFill>
              <a:schemeClr val="bg1"/>
            </a:solidFill>
            <a:ln>
              <a:noFill/>
            </a:ln>
            <a:effectLst/>
          </p:spPr>
          <p:txBody>
            <a:bodyPr wrap="none" anchor="ctr"/>
            <a:lstStyle/>
            <a:p>
              <a:pPr algn="ctr" defTabSz="895354">
                <a:defRPr/>
              </a:pPr>
              <a:endParaRPr lang="en-US" sz="1764" kern="0">
                <a:solidFill>
                  <a:schemeClr val="bg1"/>
                </a:solidFill>
                <a:latin typeface="+mj-lt"/>
              </a:endParaRPr>
            </a:p>
          </p:txBody>
        </p:sp>
        <p:sp>
          <p:nvSpPr>
            <p:cNvPr id="188" name="Freeform 134">
              <a:extLst>
                <a:ext uri="{FF2B5EF4-FFF2-40B4-BE49-F238E27FC236}">
                  <a16:creationId xmlns:a16="http://schemas.microsoft.com/office/drawing/2014/main" id="{450AEAB0-FC21-486B-A638-261004ADDB03}"/>
                </a:ext>
              </a:extLst>
            </p:cNvPr>
            <p:cNvSpPr>
              <a:spLocks noChangeArrowheads="1"/>
            </p:cNvSpPr>
            <p:nvPr/>
          </p:nvSpPr>
          <p:spPr bwMode="auto">
            <a:xfrm>
              <a:off x="2065338" y="3563937"/>
              <a:ext cx="128586" cy="128588"/>
            </a:xfrm>
            <a:custGeom>
              <a:avLst/>
              <a:gdLst>
                <a:gd name="T0" fmla="*/ 356 w 357"/>
                <a:gd name="T1" fmla="*/ 178 h 357"/>
                <a:gd name="T2" fmla="*/ 332 w 357"/>
                <a:gd name="T3" fmla="*/ 267 h 357"/>
                <a:gd name="T4" fmla="*/ 267 w 357"/>
                <a:gd name="T5" fmla="*/ 332 h 357"/>
                <a:gd name="T6" fmla="*/ 178 w 357"/>
                <a:gd name="T7" fmla="*/ 356 h 357"/>
                <a:gd name="T8" fmla="*/ 89 w 357"/>
                <a:gd name="T9" fmla="*/ 332 h 357"/>
                <a:gd name="T10" fmla="*/ 24 w 357"/>
                <a:gd name="T11" fmla="*/ 267 h 357"/>
                <a:gd name="T12" fmla="*/ 0 w 357"/>
                <a:gd name="T13" fmla="*/ 178 h 357"/>
                <a:gd name="T14" fmla="*/ 24 w 357"/>
                <a:gd name="T15" fmla="*/ 89 h 357"/>
                <a:gd name="T16" fmla="*/ 89 w 357"/>
                <a:gd name="T17" fmla="*/ 24 h 357"/>
                <a:gd name="T18" fmla="*/ 178 w 357"/>
                <a:gd name="T19" fmla="*/ 0 h 357"/>
                <a:gd name="T20" fmla="*/ 267 w 357"/>
                <a:gd name="T21" fmla="*/ 24 h 357"/>
                <a:gd name="T22" fmla="*/ 332 w 357"/>
                <a:gd name="T23" fmla="*/ 89 h 357"/>
                <a:gd name="T24" fmla="*/ 356 w 357"/>
                <a:gd name="T25" fmla="*/ 178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7">
                  <a:moveTo>
                    <a:pt x="356" y="178"/>
                  </a:moveTo>
                  <a:cubicBezTo>
                    <a:pt x="356" y="211"/>
                    <a:pt x="348" y="239"/>
                    <a:pt x="332" y="267"/>
                  </a:cubicBezTo>
                  <a:cubicBezTo>
                    <a:pt x="315" y="295"/>
                    <a:pt x="295" y="316"/>
                    <a:pt x="267" y="332"/>
                  </a:cubicBezTo>
                  <a:cubicBezTo>
                    <a:pt x="239" y="348"/>
                    <a:pt x="210" y="356"/>
                    <a:pt x="178" y="356"/>
                  </a:cubicBezTo>
                  <a:cubicBezTo>
                    <a:pt x="145" y="356"/>
                    <a:pt x="117" y="348"/>
                    <a:pt x="89" y="332"/>
                  </a:cubicBezTo>
                  <a:cubicBezTo>
                    <a:pt x="60" y="316"/>
                    <a:pt x="40" y="295"/>
                    <a:pt x="24" y="267"/>
                  </a:cubicBezTo>
                  <a:cubicBezTo>
                    <a:pt x="7" y="239"/>
                    <a:pt x="0" y="211"/>
                    <a:pt x="0" y="178"/>
                  </a:cubicBezTo>
                  <a:cubicBezTo>
                    <a:pt x="0" y="145"/>
                    <a:pt x="7" y="117"/>
                    <a:pt x="24" y="89"/>
                  </a:cubicBezTo>
                  <a:cubicBezTo>
                    <a:pt x="40" y="61"/>
                    <a:pt x="60" y="40"/>
                    <a:pt x="89" y="24"/>
                  </a:cubicBezTo>
                  <a:cubicBezTo>
                    <a:pt x="117" y="8"/>
                    <a:pt x="146" y="0"/>
                    <a:pt x="178" y="0"/>
                  </a:cubicBezTo>
                  <a:cubicBezTo>
                    <a:pt x="211" y="0"/>
                    <a:pt x="239" y="8"/>
                    <a:pt x="267" y="24"/>
                  </a:cubicBezTo>
                  <a:cubicBezTo>
                    <a:pt x="295" y="40"/>
                    <a:pt x="315" y="61"/>
                    <a:pt x="332" y="89"/>
                  </a:cubicBezTo>
                  <a:cubicBezTo>
                    <a:pt x="348" y="117"/>
                    <a:pt x="356" y="145"/>
                    <a:pt x="356" y="178"/>
                  </a:cubicBezTo>
                </a:path>
              </a:pathLst>
            </a:custGeom>
            <a:solidFill>
              <a:schemeClr val="bg1"/>
            </a:solidFill>
            <a:ln>
              <a:noFill/>
            </a:ln>
            <a:effectLst/>
          </p:spPr>
          <p:txBody>
            <a:bodyPr wrap="none" anchor="ctr"/>
            <a:lstStyle/>
            <a:p>
              <a:pPr algn="ctr" defTabSz="895354">
                <a:defRPr/>
              </a:pPr>
              <a:endParaRPr lang="en-US" sz="1764" kern="0">
                <a:solidFill>
                  <a:schemeClr val="bg1"/>
                </a:solidFill>
                <a:latin typeface="+mj-lt"/>
              </a:endParaRPr>
            </a:p>
          </p:txBody>
        </p:sp>
      </p:grpSp>
      <p:sp>
        <p:nvSpPr>
          <p:cNvPr id="189" name="signal_7">
            <a:extLst>
              <a:ext uri="{FF2B5EF4-FFF2-40B4-BE49-F238E27FC236}">
                <a16:creationId xmlns:a16="http://schemas.microsoft.com/office/drawing/2014/main" id="{1182D09E-BC95-4C68-AE14-1A79FF32543D}"/>
              </a:ext>
              <a:ext uri="{C183D7F6-B498-43B3-948B-1728B52AA6E4}">
                <adec:decorative xmlns:adec="http://schemas.microsoft.com/office/drawing/2017/decorative" val="1"/>
              </a:ext>
            </a:extLst>
          </p:cNvPr>
          <p:cNvSpPr>
            <a:spLocks noChangeAspect="1" noEditPoints="1"/>
          </p:cNvSpPr>
          <p:nvPr/>
        </p:nvSpPr>
        <p:spPr bwMode="auto">
          <a:xfrm>
            <a:off x="9951382" y="6054176"/>
            <a:ext cx="161276" cy="174044"/>
          </a:xfrm>
          <a:custGeom>
            <a:avLst/>
            <a:gdLst>
              <a:gd name="T0" fmla="*/ 0 w 240"/>
              <a:gd name="T1" fmla="*/ 207 h 259"/>
              <a:gd name="T2" fmla="*/ 0 w 240"/>
              <a:gd name="T3" fmla="*/ 259 h 259"/>
              <a:gd name="T4" fmla="*/ 60 w 240"/>
              <a:gd name="T5" fmla="*/ 155 h 259"/>
              <a:gd name="T6" fmla="*/ 60 w 240"/>
              <a:gd name="T7" fmla="*/ 259 h 259"/>
              <a:gd name="T8" fmla="*/ 120 w 240"/>
              <a:gd name="T9" fmla="*/ 102 h 259"/>
              <a:gd name="T10" fmla="*/ 120 w 240"/>
              <a:gd name="T11" fmla="*/ 259 h 259"/>
              <a:gd name="T12" fmla="*/ 179 w 240"/>
              <a:gd name="T13" fmla="*/ 51 h 259"/>
              <a:gd name="T14" fmla="*/ 179 w 240"/>
              <a:gd name="T15" fmla="*/ 259 h 259"/>
              <a:gd name="T16" fmla="*/ 240 w 240"/>
              <a:gd name="T17" fmla="*/ 0 h 259"/>
              <a:gd name="T18" fmla="*/ 240 w 240"/>
              <a:gd name="T19" fmla="*/ 25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59">
                <a:moveTo>
                  <a:pt x="0" y="207"/>
                </a:moveTo>
                <a:lnTo>
                  <a:pt x="0" y="259"/>
                </a:lnTo>
                <a:moveTo>
                  <a:pt x="60" y="155"/>
                </a:moveTo>
                <a:lnTo>
                  <a:pt x="60" y="259"/>
                </a:lnTo>
                <a:moveTo>
                  <a:pt x="120" y="102"/>
                </a:moveTo>
                <a:lnTo>
                  <a:pt x="120" y="259"/>
                </a:lnTo>
                <a:moveTo>
                  <a:pt x="179" y="51"/>
                </a:moveTo>
                <a:lnTo>
                  <a:pt x="179" y="259"/>
                </a:lnTo>
                <a:moveTo>
                  <a:pt x="240" y="0"/>
                </a:moveTo>
                <a:lnTo>
                  <a:pt x="240" y="259"/>
                </a:lnTo>
              </a:path>
            </a:pathLst>
          </a:custGeom>
          <a:noFill/>
          <a:ln w="24384" cap="flat">
            <a:solidFill>
              <a:schemeClr val="bg1"/>
            </a:solidFill>
            <a:prstDash val="solid"/>
            <a:miter/>
          </a:ln>
        </p:spPr>
        <p:txBody>
          <a:bodyPr vert="horz" wrap="square" lIns="89629" tIns="44815" rIns="89629" bIns="44815" numCol="1" anchor="t" anchorCtr="0" compatLnSpc="1">
            <a:prstTxWarp prst="textNoShape">
              <a:avLst/>
            </a:prstTxWarp>
          </a:bodyPr>
          <a:lstStyle/>
          <a:p>
            <a:endParaRPr lang="en-US" sz="1764"/>
          </a:p>
        </p:txBody>
      </p:sp>
      <p:pic>
        <p:nvPicPr>
          <p:cNvPr id="193" name="Graphic 192">
            <a:extLst>
              <a:ext uri="{FF2B5EF4-FFF2-40B4-BE49-F238E27FC236}">
                <a16:creationId xmlns:a16="http://schemas.microsoft.com/office/drawing/2014/main" id="{E9EAAC40-1646-4706-B9A1-27E2CB6D224B}"/>
              </a:ext>
              <a:ext uri="{C183D7F6-B498-43B3-948B-1728B52AA6E4}">
                <adec:decorative xmlns:adec="http://schemas.microsoft.com/office/drawing/2017/decorative" val="1"/>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flipH="1">
            <a:off x="10917778" y="6051002"/>
            <a:ext cx="69384" cy="180393"/>
          </a:xfrm>
          <a:prstGeom prst="rect">
            <a:avLst/>
          </a:prstGeom>
        </p:spPr>
      </p:pic>
      <p:grpSp>
        <p:nvGrpSpPr>
          <p:cNvPr id="194" name="Group 193">
            <a:extLst>
              <a:ext uri="{FF2B5EF4-FFF2-40B4-BE49-F238E27FC236}">
                <a16:creationId xmlns:a16="http://schemas.microsoft.com/office/drawing/2014/main" id="{0501395C-BDA8-436F-B00A-C8B5EE9F02C0}"/>
              </a:ext>
              <a:ext uri="{C183D7F6-B498-43B3-948B-1728B52AA6E4}">
                <adec:decorative xmlns:adec="http://schemas.microsoft.com/office/drawing/2017/decorative" val="1"/>
              </a:ext>
            </a:extLst>
          </p:cNvPr>
          <p:cNvGrpSpPr/>
          <p:nvPr/>
        </p:nvGrpSpPr>
        <p:grpSpPr>
          <a:xfrm>
            <a:off x="11852072" y="6051568"/>
            <a:ext cx="179261" cy="179260"/>
            <a:chOff x="3347478" y="3484575"/>
            <a:chExt cx="590076" cy="571502"/>
          </a:xfrm>
          <a:solidFill>
            <a:schemeClr val="tx1"/>
          </a:solidFill>
        </p:grpSpPr>
        <p:sp>
          <p:nvSpPr>
            <p:cNvPr id="195" name="Freeform 127">
              <a:extLst>
                <a:ext uri="{FF2B5EF4-FFF2-40B4-BE49-F238E27FC236}">
                  <a16:creationId xmlns:a16="http://schemas.microsoft.com/office/drawing/2014/main" id="{FBDFAA97-9B2E-41FB-B3DB-02798219FCAB}"/>
                </a:ext>
              </a:extLst>
            </p:cNvPr>
            <p:cNvSpPr>
              <a:spLocks noChangeArrowheads="1"/>
            </p:cNvSpPr>
            <p:nvPr/>
          </p:nvSpPr>
          <p:spPr bwMode="auto">
            <a:xfrm>
              <a:off x="3554410" y="3484575"/>
              <a:ext cx="298450" cy="571502"/>
            </a:xfrm>
            <a:custGeom>
              <a:avLst/>
              <a:gdLst>
                <a:gd name="T0" fmla="*/ 257 w 828"/>
                <a:gd name="T1" fmla="*/ 1396 h 1586"/>
                <a:gd name="T2" fmla="*/ 263 w 828"/>
                <a:gd name="T3" fmla="*/ 1388 h 1586"/>
                <a:gd name="T4" fmla="*/ 791 w 828"/>
                <a:gd name="T5" fmla="*/ 251 h 1586"/>
                <a:gd name="T6" fmla="*/ 793 w 828"/>
                <a:gd name="T7" fmla="*/ 192 h 1586"/>
                <a:gd name="T8" fmla="*/ 799 w 828"/>
                <a:gd name="T9" fmla="*/ 178 h 1586"/>
                <a:gd name="T10" fmla="*/ 743 w 828"/>
                <a:gd name="T11" fmla="*/ 26 h 1586"/>
                <a:gd name="T12" fmla="*/ 590 w 828"/>
                <a:gd name="T13" fmla="*/ 79 h 1586"/>
                <a:gd name="T14" fmla="*/ 435 w 828"/>
                <a:gd name="T15" fmla="*/ 139 h 1586"/>
                <a:gd name="T16" fmla="*/ 235 w 828"/>
                <a:gd name="T17" fmla="*/ 567 h 1586"/>
                <a:gd name="T18" fmla="*/ 249 w 828"/>
                <a:gd name="T19" fmla="*/ 604 h 1586"/>
                <a:gd name="T20" fmla="*/ 285 w 828"/>
                <a:gd name="T21" fmla="*/ 590 h 1586"/>
                <a:gd name="T22" fmla="*/ 486 w 828"/>
                <a:gd name="T23" fmla="*/ 161 h 1586"/>
                <a:gd name="T24" fmla="*/ 545 w 828"/>
                <a:gd name="T25" fmla="*/ 124 h 1586"/>
                <a:gd name="T26" fmla="*/ 539 w 828"/>
                <a:gd name="T27" fmla="*/ 136 h 1586"/>
                <a:gd name="T28" fmla="*/ 12 w 828"/>
                <a:gd name="T29" fmla="*/ 1269 h 1586"/>
                <a:gd name="T30" fmla="*/ 6 w 828"/>
                <a:gd name="T31" fmla="*/ 1314 h 1586"/>
                <a:gd name="T32" fmla="*/ 0 w 828"/>
                <a:gd name="T33" fmla="*/ 1548 h 1586"/>
                <a:gd name="T34" fmla="*/ 20 w 828"/>
                <a:gd name="T35" fmla="*/ 1579 h 1586"/>
                <a:gd name="T36" fmla="*/ 57 w 828"/>
                <a:gd name="T37" fmla="*/ 1574 h 1586"/>
                <a:gd name="T38" fmla="*/ 246 w 828"/>
                <a:gd name="T39" fmla="*/ 1410 h 1586"/>
                <a:gd name="T40" fmla="*/ 257 w 828"/>
                <a:gd name="T41" fmla="*/ 1396 h 1586"/>
                <a:gd name="T42" fmla="*/ 74 w 828"/>
                <a:gd name="T43" fmla="*/ 1306 h 1586"/>
                <a:gd name="T44" fmla="*/ 74 w 828"/>
                <a:gd name="T45" fmla="*/ 1300 h 1586"/>
                <a:gd name="T46" fmla="*/ 74 w 828"/>
                <a:gd name="T47" fmla="*/ 1297 h 1586"/>
                <a:gd name="T48" fmla="*/ 601 w 828"/>
                <a:gd name="T49" fmla="*/ 167 h 1586"/>
                <a:gd name="T50" fmla="*/ 610 w 828"/>
                <a:gd name="T51" fmla="*/ 164 h 1586"/>
                <a:gd name="T52" fmla="*/ 723 w 828"/>
                <a:gd name="T53" fmla="*/ 215 h 1586"/>
                <a:gd name="T54" fmla="*/ 726 w 828"/>
                <a:gd name="T55" fmla="*/ 223 h 1586"/>
                <a:gd name="T56" fmla="*/ 198 w 828"/>
                <a:gd name="T57" fmla="*/ 1357 h 1586"/>
                <a:gd name="T58" fmla="*/ 189 w 828"/>
                <a:gd name="T59" fmla="*/ 1359 h 1586"/>
                <a:gd name="T60" fmla="*/ 74 w 828"/>
                <a:gd name="T61" fmla="*/ 1306 h 1586"/>
                <a:gd name="T62" fmla="*/ 720 w 828"/>
                <a:gd name="T63" fmla="*/ 76 h 1586"/>
                <a:gd name="T64" fmla="*/ 751 w 828"/>
                <a:gd name="T65" fmla="*/ 150 h 1586"/>
                <a:gd name="T66" fmla="*/ 644 w 828"/>
                <a:gd name="T67" fmla="*/ 99 h 1586"/>
                <a:gd name="T68" fmla="*/ 720 w 828"/>
                <a:gd name="T69" fmla="*/ 76 h 1586"/>
                <a:gd name="T70" fmla="*/ 71 w 828"/>
                <a:gd name="T71" fmla="*/ 1472 h 1586"/>
                <a:gd name="T72" fmla="*/ 74 w 828"/>
                <a:gd name="T73" fmla="*/ 1385 h 1586"/>
                <a:gd name="T74" fmla="*/ 139 w 828"/>
                <a:gd name="T75" fmla="*/ 1416 h 1586"/>
                <a:gd name="T76" fmla="*/ 71 w 828"/>
                <a:gd name="T77" fmla="*/ 1472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28" h="1586">
                  <a:moveTo>
                    <a:pt x="257" y="1396"/>
                  </a:moveTo>
                  <a:cubicBezTo>
                    <a:pt x="260" y="1393"/>
                    <a:pt x="260" y="1390"/>
                    <a:pt x="263" y="1388"/>
                  </a:cubicBezTo>
                  <a:lnTo>
                    <a:pt x="791" y="251"/>
                  </a:lnTo>
                  <a:cubicBezTo>
                    <a:pt x="799" y="232"/>
                    <a:pt x="799" y="212"/>
                    <a:pt x="793" y="192"/>
                  </a:cubicBezTo>
                  <a:lnTo>
                    <a:pt x="799" y="178"/>
                  </a:lnTo>
                  <a:cubicBezTo>
                    <a:pt x="827" y="122"/>
                    <a:pt x="802" y="51"/>
                    <a:pt x="743" y="26"/>
                  </a:cubicBezTo>
                  <a:cubicBezTo>
                    <a:pt x="686" y="0"/>
                    <a:pt x="618" y="23"/>
                    <a:pt x="590" y="79"/>
                  </a:cubicBezTo>
                  <a:cubicBezTo>
                    <a:pt x="531" y="54"/>
                    <a:pt x="460" y="79"/>
                    <a:pt x="435" y="139"/>
                  </a:cubicBezTo>
                  <a:lnTo>
                    <a:pt x="235" y="567"/>
                  </a:lnTo>
                  <a:cubicBezTo>
                    <a:pt x="229" y="582"/>
                    <a:pt x="235" y="598"/>
                    <a:pt x="249" y="604"/>
                  </a:cubicBezTo>
                  <a:cubicBezTo>
                    <a:pt x="263" y="609"/>
                    <a:pt x="280" y="604"/>
                    <a:pt x="285" y="590"/>
                  </a:cubicBezTo>
                  <a:lnTo>
                    <a:pt x="486" y="161"/>
                  </a:lnTo>
                  <a:cubicBezTo>
                    <a:pt x="497" y="139"/>
                    <a:pt x="522" y="124"/>
                    <a:pt x="545" y="124"/>
                  </a:cubicBezTo>
                  <a:cubicBezTo>
                    <a:pt x="542" y="127"/>
                    <a:pt x="539" y="130"/>
                    <a:pt x="539" y="136"/>
                  </a:cubicBezTo>
                  <a:lnTo>
                    <a:pt x="12" y="1269"/>
                  </a:lnTo>
                  <a:cubicBezTo>
                    <a:pt x="6" y="1283"/>
                    <a:pt x="3" y="1300"/>
                    <a:pt x="6" y="1314"/>
                  </a:cubicBezTo>
                  <a:lnTo>
                    <a:pt x="0" y="1548"/>
                  </a:lnTo>
                  <a:cubicBezTo>
                    <a:pt x="0" y="1563"/>
                    <a:pt x="9" y="1574"/>
                    <a:pt x="20" y="1579"/>
                  </a:cubicBezTo>
                  <a:cubicBezTo>
                    <a:pt x="31" y="1585"/>
                    <a:pt x="48" y="1582"/>
                    <a:pt x="57" y="1574"/>
                  </a:cubicBezTo>
                  <a:lnTo>
                    <a:pt x="246" y="1410"/>
                  </a:lnTo>
                  <a:cubicBezTo>
                    <a:pt x="252" y="1407"/>
                    <a:pt x="254" y="1402"/>
                    <a:pt x="257" y="1396"/>
                  </a:cubicBezTo>
                  <a:close/>
                  <a:moveTo>
                    <a:pt x="74" y="1306"/>
                  </a:moveTo>
                  <a:lnTo>
                    <a:pt x="74" y="1300"/>
                  </a:lnTo>
                  <a:cubicBezTo>
                    <a:pt x="74" y="1300"/>
                    <a:pt x="74" y="1300"/>
                    <a:pt x="74" y="1297"/>
                  </a:cubicBezTo>
                  <a:lnTo>
                    <a:pt x="601" y="167"/>
                  </a:lnTo>
                  <a:cubicBezTo>
                    <a:pt x="604" y="164"/>
                    <a:pt x="607" y="161"/>
                    <a:pt x="610" y="164"/>
                  </a:cubicBezTo>
                  <a:lnTo>
                    <a:pt x="723" y="215"/>
                  </a:lnTo>
                  <a:cubicBezTo>
                    <a:pt x="726" y="218"/>
                    <a:pt x="728" y="220"/>
                    <a:pt x="726" y="223"/>
                  </a:cubicBezTo>
                  <a:lnTo>
                    <a:pt x="198" y="1357"/>
                  </a:lnTo>
                  <a:cubicBezTo>
                    <a:pt x="195" y="1359"/>
                    <a:pt x="192" y="1362"/>
                    <a:pt x="189" y="1359"/>
                  </a:cubicBezTo>
                  <a:lnTo>
                    <a:pt x="74" y="1306"/>
                  </a:lnTo>
                  <a:close/>
                  <a:moveTo>
                    <a:pt x="720" y="76"/>
                  </a:moveTo>
                  <a:cubicBezTo>
                    <a:pt x="748" y="91"/>
                    <a:pt x="760" y="122"/>
                    <a:pt x="751" y="150"/>
                  </a:cubicBezTo>
                  <a:lnTo>
                    <a:pt x="644" y="99"/>
                  </a:lnTo>
                  <a:cubicBezTo>
                    <a:pt x="658" y="74"/>
                    <a:pt x="692" y="65"/>
                    <a:pt x="720" y="76"/>
                  </a:cubicBezTo>
                  <a:close/>
                  <a:moveTo>
                    <a:pt x="71" y="1472"/>
                  </a:moveTo>
                  <a:lnTo>
                    <a:pt x="74" y="1385"/>
                  </a:lnTo>
                  <a:lnTo>
                    <a:pt x="139" y="1416"/>
                  </a:lnTo>
                  <a:lnTo>
                    <a:pt x="71" y="1472"/>
                  </a:lnTo>
                  <a:close/>
                </a:path>
              </a:pathLst>
            </a:custGeom>
            <a:solidFill>
              <a:schemeClr val="bg1"/>
            </a:solidFill>
            <a:ln w="3175">
              <a:noFill/>
            </a:ln>
            <a:effectLst/>
          </p:spPr>
          <p:txBody>
            <a:bodyPr wrap="none" anchor="ctr"/>
            <a:lstStyle/>
            <a:p>
              <a:pPr algn="ctr" defTabSz="895526">
                <a:defRPr/>
              </a:pPr>
              <a:endParaRPr lang="en-US" sz="1764" u="sng" kern="0">
                <a:solidFill>
                  <a:schemeClr val="bg1"/>
                </a:solidFill>
                <a:latin typeface="+mj-lt"/>
              </a:endParaRPr>
            </a:p>
          </p:txBody>
        </p:sp>
        <p:sp>
          <p:nvSpPr>
            <p:cNvPr id="196" name="Freeform 128">
              <a:extLst>
                <a:ext uri="{FF2B5EF4-FFF2-40B4-BE49-F238E27FC236}">
                  <a16:creationId xmlns:a16="http://schemas.microsoft.com/office/drawing/2014/main" id="{68742730-A978-4063-AA5E-B53CC14AD537}"/>
                </a:ext>
              </a:extLst>
            </p:cNvPr>
            <p:cNvSpPr>
              <a:spLocks noChangeArrowheads="1"/>
            </p:cNvSpPr>
            <p:nvPr/>
          </p:nvSpPr>
          <p:spPr bwMode="auto">
            <a:xfrm>
              <a:off x="3347478" y="3795730"/>
              <a:ext cx="257176" cy="258763"/>
            </a:xfrm>
            <a:custGeom>
              <a:avLst/>
              <a:gdLst>
                <a:gd name="T0" fmla="*/ 432 w 715"/>
                <a:gd name="T1" fmla="*/ 643 h 720"/>
                <a:gd name="T2" fmla="*/ 288 w 715"/>
                <a:gd name="T3" fmla="*/ 618 h 720"/>
                <a:gd name="T4" fmla="*/ 149 w 715"/>
                <a:gd name="T5" fmla="*/ 239 h 720"/>
                <a:gd name="T6" fmla="*/ 327 w 715"/>
                <a:gd name="T7" fmla="*/ 87 h 720"/>
                <a:gd name="T8" fmla="*/ 657 w 715"/>
                <a:gd name="T9" fmla="*/ 76 h 720"/>
                <a:gd name="T10" fmla="*/ 683 w 715"/>
                <a:gd name="T11" fmla="*/ 76 h 720"/>
                <a:gd name="T12" fmla="*/ 714 w 715"/>
                <a:gd name="T13" fmla="*/ 8 h 720"/>
                <a:gd name="T14" fmla="*/ 657 w 715"/>
                <a:gd name="T15" fmla="*/ 5 h 720"/>
                <a:gd name="T16" fmla="*/ 305 w 715"/>
                <a:gd name="T17" fmla="*/ 19 h 720"/>
                <a:gd name="T18" fmla="*/ 82 w 715"/>
                <a:gd name="T19" fmla="*/ 211 h 720"/>
                <a:gd name="T20" fmla="*/ 254 w 715"/>
                <a:gd name="T21" fmla="*/ 682 h 720"/>
                <a:gd name="T22" fmla="*/ 434 w 715"/>
                <a:gd name="T23" fmla="*/ 713 h 720"/>
                <a:gd name="T24" fmla="*/ 465 w 715"/>
                <a:gd name="T25" fmla="*/ 677 h 720"/>
                <a:gd name="T26" fmla="*/ 432 w 715"/>
                <a:gd name="T27" fmla="*/ 643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5" h="720">
                  <a:moveTo>
                    <a:pt x="432" y="643"/>
                  </a:moveTo>
                  <a:cubicBezTo>
                    <a:pt x="384" y="646"/>
                    <a:pt x="333" y="637"/>
                    <a:pt x="288" y="618"/>
                  </a:cubicBezTo>
                  <a:cubicBezTo>
                    <a:pt x="147" y="550"/>
                    <a:pt x="84" y="381"/>
                    <a:pt x="149" y="239"/>
                  </a:cubicBezTo>
                  <a:cubicBezTo>
                    <a:pt x="183" y="166"/>
                    <a:pt x="248" y="110"/>
                    <a:pt x="327" y="87"/>
                  </a:cubicBezTo>
                  <a:cubicBezTo>
                    <a:pt x="353" y="79"/>
                    <a:pt x="429" y="73"/>
                    <a:pt x="657" y="76"/>
                  </a:cubicBezTo>
                  <a:lnTo>
                    <a:pt x="683" y="76"/>
                  </a:lnTo>
                  <a:lnTo>
                    <a:pt x="714" y="8"/>
                  </a:lnTo>
                  <a:lnTo>
                    <a:pt x="657" y="5"/>
                  </a:lnTo>
                  <a:cubicBezTo>
                    <a:pt x="398" y="0"/>
                    <a:pt x="333" y="11"/>
                    <a:pt x="305" y="19"/>
                  </a:cubicBezTo>
                  <a:cubicBezTo>
                    <a:pt x="206" y="48"/>
                    <a:pt x="127" y="118"/>
                    <a:pt x="82" y="211"/>
                  </a:cubicBezTo>
                  <a:cubicBezTo>
                    <a:pt x="0" y="389"/>
                    <a:pt x="76" y="601"/>
                    <a:pt x="254" y="682"/>
                  </a:cubicBezTo>
                  <a:cubicBezTo>
                    <a:pt x="310" y="708"/>
                    <a:pt x="372" y="719"/>
                    <a:pt x="434" y="713"/>
                  </a:cubicBezTo>
                  <a:cubicBezTo>
                    <a:pt x="454" y="711"/>
                    <a:pt x="468" y="694"/>
                    <a:pt x="465" y="677"/>
                  </a:cubicBezTo>
                  <a:cubicBezTo>
                    <a:pt x="468" y="654"/>
                    <a:pt x="451" y="640"/>
                    <a:pt x="432" y="643"/>
                  </a:cubicBezTo>
                </a:path>
              </a:pathLst>
            </a:custGeom>
            <a:solidFill>
              <a:schemeClr val="bg1"/>
            </a:solidFill>
            <a:ln w="3175">
              <a:solidFill>
                <a:schemeClr val="bg1"/>
              </a:solidFill>
            </a:ln>
            <a:effectLst/>
          </p:spPr>
          <p:txBody>
            <a:bodyPr wrap="none" anchor="ctr"/>
            <a:lstStyle/>
            <a:p>
              <a:pPr algn="ctr" defTabSz="895526">
                <a:defRPr/>
              </a:pPr>
              <a:endParaRPr lang="en-US" sz="1764" u="sng" kern="0">
                <a:solidFill>
                  <a:schemeClr val="bg1"/>
                </a:solidFill>
                <a:latin typeface="+mj-lt"/>
              </a:endParaRPr>
            </a:p>
          </p:txBody>
        </p:sp>
        <p:sp>
          <p:nvSpPr>
            <p:cNvPr id="197" name="Freeform 129">
              <a:extLst>
                <a:ext uri="{FF2B5EF4-FFF2-40B4-BE49-F238E27FC236}">
                  <a16:creationId xmlns:a16="http://schemas.microsoft.com/office/drawing/2014/main" id="{50A0F3EB-970F-467F-8DED-160D31278D48}"/>
                </a:ext>
              </a:extLst>
            </p:cNvPr>
            <p:cNvSpPr>
              <a:spLocks noChangeArrowheads="1"/>
            </p:cNvSpPr>
            <p:nvPr/>
          </p:nvSpPr>
          <p:spPr bwMode="auto">
            <a:xfrm>
              <a:off x="3740705" y="3670301"/>
              <a:ext cx="196849" cy="160338"/>
            </a:xfrm>
            <a:custGeom>
              <a:avLst/>
              <a:gdLst>
                <a:gd name="T0" fmla="*/ 398 w 548"/>
                <a:gd name="T1" fmla="*/ 37 h 444"/>
                <a:gd name="T2" fmla="*/ 166 w 548"/>
                <a:gd name="T3" fmla="*/ 74 h 444"/>
                <a:gd name="T4" fmla="*/ 144 w 548"/>
                <a:gd name="T5" fmla="*/ 119 h 444"/>
                <a:gd name="T6" fmla="*/ 155 w 548"/>
                <a:gd name="T7" fmla="*/ 136 h 444"/>
                <a:gd name="T8" fmla="*/ 203 w 548"/>
                <a:gd name="T9" fmla="*/ 133 h 444"/>
                <a:gd name="T10" fmla="*/ 367 w 548"/>
                <a:gd name="T11" fmla="*/ 99 h 444"/>
                <a:gd name="T12" fmla="*/ 434 w 548"/>
                <a:gd name="T13" fmla="*/ 285 h 444"/>
                <a:gd name="T14" fmla="*/ 234 w 548"/>
                <a:gd name="T15" fmla="*/ 369 h 444"/>
                <a:gd name="T16" fmla="*/ 50 w 548"/>
                <a:gd name="T17" fmla="*/ 364 h 444"/>
                <a:gd name="T18" fmla="*/ 31 w 548"/>
                <a:gd name="T19" fmla="*/ 364 h 444"/>
                <a:gd name="T20" fmla="*/ 0 w 548"/>
                <a:gd name="T21" fmla="*/ 431 h 444"/>
                <a:gd name="T22" fmla="*/ 50 w 548"/>
                <a:gd name="T23" fmla="*/ 434 h 444"/>
                <a:gd name="T24" fmla="*/ 237 w 548"/>
                <a:gd name="T25" fmla="*/ 440 h 444"/>
                <a:gd name="T26" fmla="*/ 502 w 548"/>
                <a:gd name="T27" fmla="*/ 317 h 444"/>
                <a:gd name="T28" fmla="*/ 398 w 548"/>
                <a:gd name="T29" fmla="*/ 3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8" h="444">
                  <a:moveTo>
                    <a:pt x="398" y="37"/>
                  </a:moveTo>
                  <a:cubicBezTo>
                    <a:pt x="321" y="0"/>
                    <a:pt x="228" y="17"/>
                    <a:pt x="166" y="74"/>
                  </a:cubicBezTo>
                  <a:lnTo>
                    <a:pt x="144" y="119"/>
                  </a:lnTo>
                  <a:cubicBezTo>
                    <a:pt x="146" y="125"/>
                    <a:pt x="149" y="130"/>
                    <a:pt x="155" y="136"/>
                  </a:cubicBezTo>
                  <a:cubicBezTo>
                    <a:pt x="169" y="150"/>
                    <a:pt x="192" y="147"/>
                    <a:pt x="203" y="133"/>
                  </a:cubicBezTo>
                  <a:cubicBezTo>
                    <a:pt x="242" y="88"/>
                    <a:pt x="310" y="74"/>
                    <a:pt x="367" y="99"/>
                  </a:cubicBezTo>
                  <a:cubicBezTo>
                    <a:pt x="437" y="133"/>
                    <a:pt x="468" y="215"/>
                    <a:pt x="434" y="285"/>
                  </a:cubicBezTo>
                  <a:cubicBezTo>
                    <a:pt x="400" y="358"/>
                    <a:pt x="307" y="369"/>
                    <a:pt x="234" y="369"/>
                  </a:cubicBezTo>
                  <a:cubicBezTo>
                    <a:pt x="189" y="369"/>
                    <a:pt x="127" y="366"/>
                    <a:pt x="50" y="364"/>
                  </a:cubicBezTo>
                  <a:lnTo>
                    <a:pt x="31" y="364"/>
                  </a:lnTo>
                  <a:lnTo>
                    <a:pt x="0" y="431"/>
                  </a:lnTo>
                  <a:lnTo>
                    <a:pt x="50" y="434"/>
                  </a:lnTo>
                  <a:cubicBezTo>
                    <a:pt x="127" y="437"/>
                    <a:pt x="192" y="440"/>
                    <a:pt x="237" y="440"/>
                  </a:cubicBezTo>
                  <a:cubicBezTo>
                    <a:pt x="369" y="443"/>
                    <a:pt x="463" y="400"/>
                    <a:pt x="502" y="317"/>
                  </a:cubicBezTo>
                  <a:cubicBezTo>
                    <a:pt x="547" y="212"/>
                    <a:pt x="502" y="88"/>
                    <a:pt x="398" y="37"/>
                  </a:cubicBezTo>
                </a:path>
              </a:pathLst>
            </a:custGeom>
            <a:solidFill>
              <a:schemeClr val="bg1"/>
            </a:solidFill>
            <a:ln w="3175">
              <a:solidFill>
                <a:schemeClr val="bg1"/>
              </a:solidFill>
            </a:ln>
            <a:effectLst/>
          </p:spPr>
          <p:txBody>
            <a:bodyPr wrap="none" anchor="ctr"/>
            <a:lstStyle/>
            <a:p>
              <a:pPr algn="ctr" defTabSz="895526">
                <a:defRPr/>
              </a:pPr>
              <a:endParaRPr lang="en-US" sz="1764" u="sng" kern="0">
                <a:solidFill>
                  <a:schemeClr val="bg1"/>
                </a:solidFill>
                <a:latin typeface="+mj-lt"/>
              </a:endParaRPr>
            </a:p>
          </p:txBody>
        </p:sp>
      </p:grpSp>
      <p:sp>
        <p:nvSpPr>
          <p:cNvPr id="201" name="TextBox 200">
            <a:extLst>
              <a:ext uri="{FF2B5EF4-FFF2-40B4-BE49-F238E27FC236}">
                <a16:creationId xmlns:a16="http://schemas.microsoft.com/office/drawing/2014/main" id="{C6E5C758-7453-442B-98E9-8CC4EAA58BAA}"/>
              </a:ext>
              <a:ext uri="{C183D7F6-B498-43B3-948B-1728B52AA6E4}">
                <adec:decorative xmlns:adec="http://schemas.microsoft.com/office/drawing/2017/decorative" val="1"/>
              </a:ext>
            </a:extLst>
          </p:cNvPr>
          <p:cNvSpPr txBox="1"/>
          <p:nvPr/>
        </p:nvSpPr>
        <p:spPr>
          <a:xfrm>
            <a:off x="216151" y="6721747"/>
            <a:ext cx="7937895" cy="251123"/>
          </a:xfrm>
          <a:prstGeom prst="rect">
            <a:avLst/>
          </a:prstGeom>
          <a:noFill/>
        </p:spPr>
        <p:txBody>
          <a:bodyPr wrap="square" lIns="0" tIns="0" rIns="0" bIns="0" rtlCol="0">
            <a:spAutoFit/>
          </a:bodyPr>
          <a:lstStyle/>
          <a:p>
            <a:r>
              <a:rPr lang="en-US" sz="800">
                <a:solidFill>
                  <a:schemeClr val="bg1"/>
                </a:solidFill>
              </a:rPr>
              <a:t>All specifications are subject to change without notice. Please check with each distributor for exact offers. Products may not be available in all markets.</a:t>
            </a:r>
            <a:br>
              <a:rPr lang="en-US" sz="800">
                <a:solidFill>
                  <a:schemeClr val="bg1"/>
                </a:solidFill>
              </a:rPr>
            </a:br>
            <a:r>
              <a:rPr lang="en-US" sz="800">
                <a:solidFill>
                  <a:schemeClr val="bg1"/>
                </a:solidFill>
              </a:rPr>
              <a:t>Displayed prices are current lowest prices offered by stated distributors and are subject to change. Prices are not offered by Microsoft unless stated.</a:t>
            </a:r>
            <a:endParaRPr lang="en-US" sz="300">
              <a:solidFill>
                <a:schemeClr val="bg1"/>
              </a:solidFill>
            </a:endParaRPr>
          </a:p>
        </p:txBody>
      </p:sp>
      <p:pic>
        <p:nvPicPr>
          <p:cNvPr id="202" name="Graphic 201">
            <a:extLst>
              <a:ext uri="{FF2B5EF4-FFF2-40B4-BE49-F238E27FC236}">
                <a16:creationId xmlns:a16="http://schemas.microsoft.com/office/drawing/2014/main" id="{4170EB97-893B-458E-BAE8-B6EC126F5299}"/>
              </a:ext>
              <a:ext uri="{C183D7F6-B498-43B3-948B-1728B52AA6E4}">
                <adec:decorative xmlns:adec="http://schemas.microsoft.com/office/drawing/2017/decorative" val="1"/>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flipH="1">
            <a:off x="5591280" y="2948854"/>
            <a:ext cx="59661" cy="155114"/>
          </a:xfrm>
          <a:prstGeom prst="rect">
            <a:avLst/>
          </a:prstGeom>
        </p:spPr>
      </p:pic>
      <p:grpSp>
        <p:nvGrpSpPr>
          <p:cNvPr id="203" name="Group 202">
            <a:extLst>
              <a:ext uri="{FF2B5EF4-FFF2-40B4-BE49-F238E27FC236}">
                <a16:creationId xmlns:a16="http://schemas.microsoft.com/office/drawing/2014/main" id="{66BD5022-AC9A-4F68-9ECC-D9DB6B309679}"/>
              </a:ext>
              <a:ext uri="{C183D7F6-B498-43B3-948B-1728B52AA6E4}">
                <adec:decorative xmlns:adec="http://schemas.microsoft.com/office/drawing/2017/decorative" val="1"/>
              </a:ext>
            </a:extLst>
          </p:cNvPr>
          <p:cNvGrpSpPr/>
          <p:nvPr/>
        </p:nvGrpSpPr>
        <p:grpSpPr>
          <a:xfrm>
            <a:off x="5709679" y="2948855"/>
            <a:ext cx="155822" cy="155818"/>
            <a:chOff x="3398698" y="3484566"/>
            <a:chExt cx="590092" cy="571501"/>
          </a:xfrm>
          <a:solidFill>
            <a:srgbClr val="0078D7"/>
          </a:solidFill>
        </p:grpSpPr>
        <p:sp>
          <p:nvSpPr>
            <p:cNvPr id="204" name="Freeform 127">
              <a:extLst>
                <a:ext uri="{FF2B5EF4-FFF2-40B4-BE49-F238E27FC236}">
                  <a16:creationId xmlns:a16="http://schemas.microsoft.com/office/drawing/2014/main" id="{245451C4-73CE-4028-8C9F-F8660DAE7D4F}"/>
                </a:ext>
              </a:extLst>
            </p:cNvPr>
            <p:cNvSpPr>
              <a:spLocks noChangeArrowheads="1"/>
            </p:cNvSpPr>
            <p:nvPr/>
          </p:nvSpPr>
          <p:spPr bwMode="auto">
            <a:xfrm>
              <a:off x="3605636" y="3484566"/>
              <a:ext cx="298450" cy="571501"/>
            </a:xfrm>
            <a:custGeom>
              <a:avLst/>
              <a:gdLst>
                <a:gd name="T0" fmla="*/ 257 w 828"/>
                <a:gd name="T1" fmla="*/ 1396 h 1586"/>
                <a:gd name="T2" fmla="*/ 263 w 828"/>
                <a:gd name="T3" fmla="*/ 1388 h 1586"/>
                <a:gd name="T4" fmla="*/ 791 w 828"/>
                <a:gd name="T5" fmla="*/ 251 h 1586"/>
                <a:gd name="T6" fmla="*/ 793 w 828"/>
                <a:gd name="T7" fmla="*/ 192 h 1586"/>
                <a:gd name="T8" fmla="*/ 799 w 828"/>
                <a:gd name="T9" fmla="*/ 178 h 1586"/>
                <a:gd name="T10" fmla="*/ 743 w 828"/>
                <a:gd name="T11" fmla="*/ 26 h 1586"/>
                <a:gd name="T12" fmla="*/ 590 w 828"/>
                <a:gd name="T13" fmla="*/ 79 h 1586"/>
                <a:gd name="T14" fmla="*/ 435 w 828"/>
                <a:gd name="T15" fmla="*/ 139 h 1586"/>
                <a:gd name="T16" fmla="*/ 235 w 828"/>
                <a:gd name="T17" fmla="*/ 567 h 1586"/>
                <a:gd name="T18" fmla="*/ 249 w 828"/>
                <a:gd name="T19" fmla="*/ 604 h 1586"/>
                <a:gd name="T20" fmla="*/ 285 w 828"/>
                <a:gd name="T21" fmla="*/ 590 h 1586"/>
                <a:gd name="T22" fmla="*/ 486 w 828"/>
                <a:gd name="T23" fmla="*/ 161 h 1586"/>
                <a:gd name="T24" fmla="*/ 545 w 828"/>
                <a:gd name="T25" fmla="*/ 124 h 1586"/>
                <a:gd name="T26" fmla="*/ 539 w 828"/>
                <a:gd name="T27" fmla="*/ 136 h 1586"/>
                <a:gd name="T28" fmla="*/ 12 w 828"/>
                <a:gd name="T29" fmla="*/ 1269 h 1586"/>
                <a:gd name="T30" fmla="*/ 6 w 828"/>
                <a:gd name="T31" fmla="*/ 1314 h 1586"/>
                <a:gd name="T32" fmla="*/ 0 w 828"/>
                <a:gd name="T33" fmla="*/ 1548 h 1586"/>
                <a:gd name="T34" fmla="*/ 20 w 828"/>
                <a:gd name="T35" fmla="*/ 1579 h 1586"/>
                <a:gd name="T36" fmla="*/ 57 w 828"/>
                <a:gd name="T37" fmla="*/ 1574 h 1586"/>
                <a:gd name="T38" fmla="*/ 246 w 828"/>
                <a:gd name="T39" fmla="*/ 1410 h 1586"/>
                <a:gd name="T40" fmla="*/ 257 w 828"/>
                <a:gd name="T41" fmla="*/ 1396 h 1586"/>
                <a:gd name="T42" fmla="*/ 74 w 828"/>
                <a:gd name="T43" fmla="*/ 1306 h 1586"/>
                <a:gd name="T44" fmla="*/ 74 w 828"/>
                <a:gd name="T45" fmla="*/ 1300 h 1586"/>
                <a:gd name="T46" fmla="*/ 74 w 828"/>
                <a:gd name="T47" fmla="*/ 1297 h 1586"/>
                <a:gd name="T48" fmla="*/ 601 w 828"/>
                <a:gd name="T49" fmla="*/ 167 h 1586"/>
                <a:gd name="T50" fmla="*/ 610 w 828"/>
                <a:gd name="T51" fmla="*/ 164 h 1586"/>
                <a:gd name="T52" fmla="*/ 723 w 828"/>
                <a:gd name="T53" fmla="*/ 215 h 1586"/>
                <a:gd name="T54" fmla="*/ 726 w 828"/>
                <a:gd name="T55" fmla="*/ 223 h 1586"/>
                <a:gd name="T56" fmla="*/ 198 w 828"/>
                <a:gd name="T57" fmla="*/ 1357 h 1586"/>
                <a:gd name="T58" fmla="*/ 189 w 828"/>
                <a:gd name="T59" fmla="*/ 1359 h 1586"/>
                <a:gd name="T60" fmla="*/ 74 w 828"/>
                <a:gd name="T61" fmla="*/ 1306 h 1586"/>
                <a:gd name="T62" fmla="*/ 720 w 828"/>
                <a:gd name="T63" fmla="*/ 76 h 1586"/>
                <a:gd name="T64" fmla="*/ 751 w 828"/>
                <a:gd name="T65" fmla="*/ 150 h 1586"/>
                <a:gd name="T66" fmla="*/ 644 w 828"/>
                <a:gd name="T67" fmla="*/ 99 h 1586"/>
                <a:gd name="T68" fmla="*/ 720 w 828"/>
                <a:gd name="T69" fmla="*/ 76 h 1586"/>
                <a:gd name="T70" fmla="*/ 71 w 828"/>
                <a:gd name="T71" fmla="*/ 1472 h 1586"/>
                <a:gd name="T72" fmla="*/ 74 w 828"/>
                <a:gd name="T73" fmla="*/ 1385 h 1586"/>
                <a:gd name="T74" fmla="*/ 139 w 828"/>
                <a:gd name="T75" fmla="*/ 1416 h 1586"/>
                <a:gd name="T76" fmla="*/ 71 w 828"/>
                <a:gd name="T77" fmla="*/ 1472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28" h="1586">
                  <a:moveTo>
                    <a:pt x="257" y="1396"/>
                  </a:moveTo>
                  <a:cubicBezTo>
                    <a:pt x="260" y="1393"/>
                    <a:pt x="260" y="1390"/>
                    <a:pt x="263" y="1388"/>
                  </a:cubicBezTo>
                  <a:lnTo>
                    <a:pt x="791" y="251"/>
                  </a:lnTo>
                  <a:cubicBezTo>
                    <a:pt x="799" y="232"/>
                    <a:pt x="799" y="212"/>
                    <a:pt x="793" y="192"/>
                  </a:cubicBezTo>
                  <a:lnTo>
                    <a:pt x="799" y="178"/>
                  </a:lnTo>
                  <a:cubicBezTo>
                    <a:pt x="827" y="122"/>
                    <a:pt x="802" y="51"/>
                    <a:pt x="743" y="26"/>
                  </a:cubicBezTo>
                  <a:cubicBezTo>
                    <a:pt x="686" y="0"/>
                    <a:pt x="618" y="23"/>
                    <a:pt x="590" y="79"/>
                  </a:cubicBezTo>
                  <a:cubicBezTo>
                    <a:pt x="531" y="54"/>
                    <a:pt x="460" y="79"/>
                    <a:pt x="435" y="139"/>
                  </a:cubicBezTo>
                  <a:lnTo>
                    <a:pt x="235" y="567"/>
                  </a:lnTo>
                  <a:cubicBezTo>
                    <a:pt x="229" y="582"/>
                    <a:pt x="235" y="598"/>
                    <a:pt x="249" y="604"/>
                  </a:cubicBezTo>
                  <a:cubicBezTo>
                    <a:pt x="263" y="609"/>
                    <a:pt x="280" y="604"/>
                    <a:pt x="285" y="590"/>
                  </a:cubicBezTo>
                  <a:lnTo>
                    <a:pt x="486" y="161"/>
                  </a:lnTo>
                  <a:cubicBezTo>
                    <a:pt x="497" y="139"/>
                    <a:pt x="522" y="124"/>
                    <a:pt x="545" y="124"/>
                  </a:cubicBezTo>
                  <a:cubicBezTo>
                    <a:pt x="542" y="127"/>
                    <a:pt x="539" y="130"/>
                    <a:pt x="539" y="136"/>
                  </a:cubicBezTo>
                  <a:lnTo>
                    <a:pt x="12" y="1269"/>
                  </a:lnTo>
                  <a:cubicBezTo>
                    <a:pt x="6" y="1283"/>
                    <a:pt x="3" y="1300"/>
                    <a:pt x="6" y="1314"/>
                  </a:cubicBezTo>
                  <a:lnTo>
                    <a:pt x="0" y="1548"/>
                  </a:lnTo>
                  <a:cubicBezTo>
                    <a:pt x="0" y="1563"/>
                    <a:pt x="9" y="1574"/>
                    <a:pt x="20" y="1579"/>
                  </a:cubicBezTo>
                  <a:cubicBezTo>
                    <a:pt x="31" y="1585"/>
                    <a:pt x="48" y="1582"/>
                    <a:pt x="57" y="1574"/>
                  </a:cubicBezTo>
                  <a:lnTo>
                    <a:pt x="246" y="1410"/>
                  </a:lnTo>
                  <a:cubicBezTo>
                    <a:pt x="252" y="1407"/>
                    <a:pt x="254" y="1402"/>
                    <a:pt x="257" y="1396"/>
                  </a:cubicBezTo>
                  <a:close/>
                  <a:moveTo>
                    <a:pt x="74" y="1306"/>
                  </a:moveTo>
                  <a:lnTo>
                    <a:pt x="74" y="1300"/>
                  </a:lnTo>
                  <a:cubicBezTo>
                    <a:pt x="74" y="1300"/>
                    <a:pt x="74" y="1300"/>
                    <a:pt x="74" y="1297"/>
                  </a:cubicBezTo>
                  <a:lnTo>
                    <a:pt x="601" y="167"/>
                  </a:lnTo>
                  <a:cubicBezTo>
                    <a:pt x="604" y="164"/>
                    <a:pt x="607" y="161"/>
                    <a:pt x="610" y="164"/>
                  </a:cubicBezTo>
                  <a:lnTo>
                    <a:pt x="723" y="215"/>
                  </a:lnTo>
                  <a:cubicBezTo>
                    <a:pt x="726" y="218"/>
                    <a:pt x="728" y="220"/>
                    <a:pt x="726" y="223"/>
                  </a:cubicBezTo>
                  <a:lnTo>
                    <a:pt x="198" y="1357"/>
                  </a:lnTo>
                  <a:cubicBezTo>
                    <a:pt x="195" y="1359"/>
                    <a:pt x="192" y="1362"/>
                    <a:pt x="189" y="1359"/>
                  </a:cubicBezTo>
                  <a:lnTo>
                    <a:pt x="74" y="1306"/>
                  </a:lnTo>
                  <a:close/>
                  <a:moveTo>
                    <a:pt x="720" y="76"/>
                  </a:moveTo>
                  <a:cubicBezTo>
                    <a:pt x="748" y="91"/>
                    <a:pt x="760" y="122"/>
                    <a:pt x="751" y="150"/>
                  </a:cubicBezTo>
                  <a:lnTo>
                    <a:pt x="644" y="99"/>
                  </a:lnTo>
                  <a:cubicBezTo>
                    <a:pt x="658" y="74"/>
                    <a:pt x="692" y="65"/>
                    <a:pt x="720" y="76"/>
                  </a:cubicBezTo>
                  <a:close/>
                  <a:moveTo>
                    <a:pt x="71" y="1472"/>
                  </a:moveTo>
                  <a:lnTo>
                    <a:pt x="74" y="1385"/>
                  </a:lnTo>
                  <a:lnTo>
                    <a:pt x="139" y="1416"/>
                  </a:lnTo>
                  <a:lnTo>
                    <a:pt x="71" y="1472"/>
                  </a:lnTo>
                  <a:close/>
                </a:path>
              </a:pathLst>
            </a:custGeom>
            <a:solidFill>
              <a:srgbClr val="0078D7"/>
            </a:solidFill>
            <a:ln w="3175">
              <a:noFill/>
            </a:ln>
            <a:effectLst/>
          </p:spPr>
          <p:txBody>
            <a:bodyPr wrap="none" anchor="ctr"/>
            <a:lstStyle/>
            <a:p>
              <a:pPr algn="ctr" defTabSz="895526">
                <a:defRPr/>
              </a:pPr>
              <a:endParaRPr lang="en-US" sz="2353" u="sng" kern="0">
                <a:latin typeface="+mj-lt"/>
              </a:endParaRPr>
            </a:p>
          </p:txBody>
        </p:sp>
        <p:sp>
          <p:nvSpPr>
            <p:cNvPr id="205" name="Freeform 128">
              <a:extLst>
                <a:ext uri="{FF2B5EF4-FFF2-40B4-BE49-F238E27FC236}">
                  <a16:creationId xmlns:a16="http://schemas.microsoft.com/office/drawing/2014/main" id="{F2ECD109-D8F1-4285-86B7-F54E103C8145}"/>
                </a:ext>
              </a:extLst>
            </p:cNvPr>
            <p:cNvSpPr>
              <a:spLocks noChangeArrowheads="1"/>
            </p:cNvSpPr>
            <p:nvPr/>
          </p:nvSpPr>
          <p:spPr bwMode="auto">
            <a:xfrm>
              <a:off x="3398698" y="3795726"/>
              <a:ext cx="257176" cy="258763"/>
            </a:xfrm>
            <a:custGeom>
              <a:avLst/>
              <a:gdLst>
                <a:gd name="T0" fmla="*/ 432 w 715"/>
                <a:gd name="T1" fmla="*/ 643 h 720"/>
                <a:gd name="T2" fmla="*/ 288 w 715"/>
                <a:gd name="T3" fmla="*/ 618 h 720"/>
                <a:gd name="T4" fmla="*/ 149 w 715"/>
                <a:gd name="T5" fmla="*/ 239 h 720"/>
                <a:gd name="T6" fmla="*/ 327 w 715"/>
                <a:gd name="T7" fmla="*/ 87 h 720"/>
                <a:gd name="T8" fmla="*/ 657 w 715"/>
                <a:gd name="T9" fmla="*/ 76 h 720"/>
                <a:gd name="T10" fmla="*/ 683 w 715"/>
                <a:gd name="T11" fmla="*/ 76 h 720"/>
                <a:gd name="T12" fmla="*/ 714 w 715"/>
                <a:gd name="T13" fmla="*/ 8 h 720"/>
                <a:gd name="T14" fmla="*/ 657 w 715"/>
                <a:gd name="T15" fmla="*/ 5 h 720"/>
                <a:gd name="T16" fmla="*/ 305 w 715"/>
                <a:gd name="T17" fmla="*/ 19 h 720"/>
                <a:gd name="T18" fmla="*/ 82 w 715"/>
                <a:gd name="T19" fmla="*/ 211 h 720"/>
                <a:gd name="T20" fmla="*/ 254 w 715"/>
                <a:gd name="T21" fmla="*/ 682 h 720"/>
                <a:gd name="T22" fmla="*/ 434 w 715"/>
                <a:gd name="T23" fmla="*/ 713 h 720"/>
                <a:gd name="T24" fmla="*/ 465 w 715"/>
                <a:gd name="T25" fmla="*/ 677 h 720"/>
                <a:gd name="T26" fmla="*/ 432 w 715"/>
                <a:gd name="T27" fmla="*/ 643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5" h="720">
                  <a:moveTo>
                    <a:pt x="432" y="643"/>
                  </a:moveTo>
                  <a:cubicBezTo>
                    <a:pt x="384" y="646"/>
                    <a:pt x="333" y="637"/>
                    <a:pt x="288" y="618"/>
                  </a:cubicBezTo>
                  <a:cubicBezTo>
                    <a:pt x="147" y="550"/>
                    <a:pt x="84" y="381"/>
                    <a:pt x="149" y="239"/>
                  </a:cubicBezTo>
                  <a:cubicBezTo>
                    <a:pt x="183" y="166"/>
                    <a:pt x="248" y="110"/>
                    <a:pt x="327" y="87"/>
                  </a:cubicBezTo>
                  <a:cubicBezTo>
                    <a:pt x="353" y="79"/>
                    <a:pt x="429" y="73"/>
                    <a:pt x="657" y="76"/>
                  </a:cubicBezTo>
                  <a:lnTo>
                    <a:pt x="683" y="76"/>
                  </a:lnTo>
                  <a:lnTo>
                    <a:pt x="714" y="8"/>
                  </a:lnTo>
                  <a:lnTo>
                    <a:pt x="657" y="5"/>
                  </a:lnTo>
                  <a:cubicBezTo>
                    <a:pt x="398" y="0"/>
                    <a:pt x="333" y="11"/>
                    <a:pt x="305" y="19"/>
                  </a:cubicBezTo>
                  <a:cubicBezTo>
                    <a:pt x="206" y="48"/>
                    <a:pt x="127" y="118"/>
                    <a:pt x="82" y="211"/>
                  </a:cubicBezTo>
                  <a:cubicBezTo>
                    <a:pt x="0" y="389"/>
                    <a:pt x="76" y="601"/>
                    <a:pt x="254" y="682"/>
                  </a:cubicBezTo>
                  <a:cubicBezTo>
                    <a:pt x="310" y="708"/>
                    <a:pt x="372" y="719"/>
                    <a:pt x="434" y="713"/>
                  </a:cubicBezTo>
                  <a:cubicBezTo>
                    <a:pt x="454" y="711"/>
                    <a:pt x="468" y="694"/>
                    <a:pt x="465" y="677"/>
                  </a:cubicBezTo>
                  <a:cubicBezTo>
                    <a:pt x="468" y="654"/>
                    <a:pt x="451" y="640"/>
                    <a:pt x="432" y="643"/>
                  </a:cubicBezTo>
                </a:path>
              </a:pathLst>
            </a:custGeom>
            <a:grpFill/>
            <a:ln w="0">
              <a:solidFill>
                <a:schemeClr val="bg1"/>
              </a:solidFill>
            </a:ln>
            <a:effectLst/>
          </p:spPr>
          <p:txBody>
            <a:bodyPr wrap="none" anchor="ctr"/>
            <a:lstStyle/>
            <a:p>
              <a:pPr algn="ctr" defTabSz="895526">
                <a:defRPr/>
              </a:pPr>
              <a:endParaRPr lang="en-US" sz="2353" u="sng" kern="0">
                <a:latin typeface="+mj-lt"/>
              </a:endParaRPr>
            </a:p>
          </p:txBody>
        </p:sp>
        <p:sp>
          <p:nvSpPr>
            <p:cNvPr id="206" name="Freeform 129">
              <a:extLst>
                <a:ext uri="{FF2B5EF4-FFF2-40B4-BE49-F238E27FC236}">
                  <a16:creationId xmlns:a16="http://schemas.microsoft.com/office/drawing/2014/main" id="{F6A79599-433A-42A1-B6ED-F31D6D1F2EEE}"/>
                </a:ext>
              </a:extLst>
            </p:cNvPr>
            <p:cNvSpPr>
              <a:spLocks noChangeArrowheads="1"/>
            </p:cNvSpPr>
            <p:nvPr/>
          </p:nvSpPr>
          <p:spPr bwMode="auto">
            <a:xfrm>
              <a:off x="3791941" y="3670301"/>
              <a:ext cx="196849" cy="160338"/>
            </a:xfrm>
            <a:custGeom>
              <a:avLst/>
              <a:gdLst>
                <a:gd name="T0" fmla="*/ 398 w 548"/>
                <a:gd name="T1" fmla="*/ 37 h 444"/>
                <a:gd name="T2" fmla="*/ 166 w 548"/>
                <a:gd name="T3" fmla="*/ 74 h 444"/>
                <a:gd name="T4" fmla="*/ 144 w 548"/>
                <a:gd name="T5" fmla="*/ 119 h 444"/>
                <a:gd name="T6" fmla="*/ 155 w 548"/>
                <a:gd name="T7" fmla="*/ 136 h 444"/>
                <a:gd name="T8" fmla="*/ 203 w 548"/>
                <a:gd name="T9" fmla="*/ 133 h 444"/>
                <a:gd name="T10" fmla="*/ 367 w 548"/>
                <a:gd name="T11" fmla="*/ 99 h 444"/>
                <a:gd name="T12" fmla="*/ 434 w 548"/>
                <a:gd name="T13" fmla="*/ 285 h 444"/>
                <a:gd name="T14" fmla="*/ 234 w 548"/>
                <a:gd name="T15" fmla="*/ 369 h 444"/>
                <a:gd name="T16" fmla="*/ 50 w 548"/>
                <a:gd name="T17" fmla="*/ 364 h 444"/>
                <a:gd name="T18" fmla="*/ 31 w 548"/>
                <a:gd name="T19" fmla="*/ 364 h 444"/>
                <a:gd name="T20" fmla="*/ 0 w 548"/>
                <a:gd name="T21" fmla="*/ 431 h 444"/>
                <a:gd name="T22" fmla="*/ 50 w 548"/>
                <a:gd name="T23" fmla="*/ 434 h 444"/>
                <a:gd name="T24" fmla="*/ 237 w 548"/>
                <a:gd name="T25" fmla="*/ 440 h 444"/>
                <a:gd name="T26" fmla="*/ 502 w 548"/>
                <a:gd name="T27" fmla="*/ 317 h 444"/>
                <a:gd name="T28" fmla="*/ 398 w 548"/>
                <a:gd name="T29" fmla="*/ 3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8" h="444">
                  <a:moveTo>
                    <a:pt x="398" y="37"/>
                  </a:moveTo>
                  <a:cubicBezTo>
                    <a:pt x="321" y="0"/>
                    <a:pt x="228" y="17"/>
                    <a:pt x="166" y="74"/>
                  </a:cubicBezTo>
                  <a:lnTo>
                    <a:pt x="144" y="119"/>
                  </a:lnTo>
                  <a:cubicBezTo>
                    <a:pt x="146" y="125"/>
                    <a:pt x="149" y="130"/>
                    <a:pt x="155" y="136"/>
                  </a:cubicBezTo>
                  <a:cubicBezTo>
                    <a:pt x="169" y="150"/>
                    <a:pt x="192" y="147"/>
                    <a:pt x="203" y="133"/>
                  </a:cubicBezTo>
                  <a:cubicBezTo>
                    <a:pt x="242" y="88"/>
                    <a:pt x="310" y="74"/>
                    <a:pt x="367" y="99"/>
                  </a:cubicBezTo>
                  <a:cubicBezTo>
                    <a:pt x="437" y="133"/>
                    <a:pt x="468" y="215"/>
                    <a:pt x="434" y="285"/>
                  </a:cubicBezTo>
                  <a:cubicBezTo>
                    <a:pt x="400" y="358"/>
                    <a:pt x="307" y="369"/>
                    <a:pt x="234" y="369"/>
                  </a:cubicBezTo>
                  <a:cubicBezTo>
                    <a:pt x="189" y="369"/>
                    <a:pt x="127" y="366"/>
                    <a:pt x="50" y="364"/>
                  </a:cubicBezTo>
                  <a:lnTo>
                    <a:pt x="31" y="364"/>
                  </a:lnTo>
                  <a:lnTo>
                    <a:pt x="0" y="431"/>
                  </a:lnTo>
                  <a:lnTo>
                    <a:pt x="50" y="434"/>
                  </a:lnTo>
                  <a:cubicBezTo>
                    <a:pt x="127" y="437"/>
                    <a:pt x="192" y="440"/>
                    <a:pt x="237" y="440"/>
                  </a:cubicBezTo>
                  <a:cubicBezTo>
                    <a:pt x="369" y="443"/>
                    <a:pt x="463" y="400"/>
                    <a:pt x="502" y="317"/>
                  </a:cubicBezTo>
                  <a:cubicBezTo>
                    <a:pt x="547" y="212"/>
                    <a:pt x="502" y="88"/>
                    <a:pt x="398" y="37"/>
                  </a:cubicBezTo>
                </a:path>
              </a:pathLst>
            </a:custGeom>
            <a:grpFill/>
            <a:ln w="0">
              <a:solidFill>
                <a:schemeClr val="bg1"/>
              </a:solidFill>
            </a:ln>
            <a:effectLst/>
          </p:spPr>
          <p:txBody>
            <a:bodyPr wrap="none" anchor="ctr"/>
            <a:lstStyle/>
            <a:p>
              <a:pPr algn="ctr" defTabSz="895526">
                <a:defRPr/>
              </a:pPr>
              <a:endParaRPr lang="en-US" sz="2353" u="sng" kern="0">
                <a:latin typeface="+mj-lt"/>
              </a:endParaRPr>
            </a:p>
          </p:txBody>
        </p:sp>
      </p:grpSp>
      <p:pic>
        <p:nvPicPr>
          <p:cNvPr id="207" name="Graphic 206">
            <a:extLst>
              <a:ext uri="{FF2B5EF4-FFF2-40B4-BE49-F238E27FC236}">
                <a16:creationId xmlns:a16="http://schemas.microsoft.com/office/drawing/2014/main" id="{5F880758-05C6-4433-A134-8EB8778888A3}"/>
              </a:ext>
              <a:ext uri="{C183D7F6-B498-43B3-948B-1728B52AA6E4}">
                <adec:decorative xmlns:adec="http://schemas.microsoft.com/office/drawing/2017/decorative" val="1"/>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4755743" y="2920916"/>
            <a:ext cx="130118" cy="190839"/>
          </a:xfrm>
          <a:prstGeom prst="rect">
            <a:avLst/>
          </a:prstGeom>
        </p:spPr>
      </p:pic>
      <p:grpSp>
        <p:nvGrpSpPr>
          <p:cNvPr id="208" name="Group 207">
            <a:extLst>
              <a:ext uri="{FF2B5EF4-FFF2-40B4-BE49-F238E27FC236}">
                <a16:creationId xmlns:a16="http://schemas.microsoft.com/office/drawing/2014/main" id="{025CAFA0-ADD5-43B6-8CE6-EC1A94422520}"/>
              </a:ext>
              <a:ext uri="{C183D7F6-B498-43B3-948B-1728B52AA6E4}">
                <adec:decorative xmlns:adec="http://schemas.microsoft.com/office/drawing/2017/decorative" val="1"/>
              </a:ext>
            </a:extLst>
          </p:cNvPr>
          <p:cNvGrpSpPr/>
          <p:nvPr/>
        </p:nvGrpSpPr>
        <p:grpSpPr>
          <a:xfrm flipV="1">
            <a:off x="5404642" y="2943839"/>
            <a:ext cx="124030" cy="150885"/>
            <a:chOff x="4097631" y="3947487"/>
            <a:chExt cx="213407" cy="91440"/>
          </a:xfrm>
          <a:solidFill>
            <a:srgbClr val="0078D7"/>
          </a:solidFill>
        </p:grpSpPr>
        <p:sp>
          <p:nvSpPr>
            <p:cNvPr id="209" name="Rectangle 208">
              <a:extLst>
                <a:ext uri="{FF2B5EF4-FFF2-40B4-BE49-F238E27FC236}">
                  <a16:creationId xmlns:a16="http://schemas.microsoft.com/office/drawing/2014/main" id="{483606B8-5610-4F87-BA5F-18436E1AA4AC}"/>
                </a:ext>
              </a:extLst>
            </p:cNvPr>
            <p:cNvSpPr/>
            <p:nvPr/>
          </p:nvSpPr>
          <p:spPr bwMode="auto">
            <a:xfrm>
              <a:off x="4097631" y="3947498"/>
              <a:ext cx="45719" cy="2852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0" name="Rectangle 209">
              <a:extLst>
                <a:ext uri="{FF2B5EF4-FFF2-40B4-BE49-F238E27FC236}">
                  <a16:creationId xmlns:a16="http://schemas.microsoft.com/office/drawing/2014/main" id="{17F94529-8B53-41D4-B4CC-17F7ECAEB562}"/>
                </a:ext>
              </a:extLst>
            </p:cNvPr>
            <p:cNvSpPr/>
            <p:nvPr/>
          </p:nvSpPr>
          <p:spPr bwMode="auto">
            <a:xfrm>
              <a:off x="4153527" y="3947490"/>
              <a:ext cx="45719" cy="484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1" name="Rectangle 210">
              <a:extLst>
                <a:ext uri="{FF2B5EF4-FFF2-40B4-BE49-F238E27FC236}">
                  <a16:creationId xmlns:a16="http://schemas.microsoft.com/office/drawing/2014/main" id="{36287B68-045B-4D73-84ED-EDA6A2C6EF22}"/>
                </a:ext>
              </a:extLst>
            </p:cNvPr>
            <p:cNvSpPr/>
            <p:nvPr/>
          </p:nvSpPr>
          <p:spPr bwMode="auto">
            <a:xfrm>
              <a:off x="4209547" y="3947487"/>
              <a:ext cx="45719" cy="6867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a:extLst>
                <a:ext uri="{FF2B5EF4-FFF2-40B4-BE49-F238E27FC236}">
                  <a16:creationId xmlns:a16="http://schemas.microsoft.com/office/drawing/2014/main" id="{FF5BBCE9-6524-4D77-860B-4D42589EBC0D}"/>
                </a:ext>
              </a:extLst>
            </p:cNvPr>
            <p:cNvSpPr/>
            <p:nvPr/>
          </p:nvSpPr>
          <p:spPr bwMode="auto">
            <a:xfrm>
              <a:off x="4265319" y="3947487"/>
              <a:ext cx="45719" cy="914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3" name="Graphic 305">
            <a:extLst>
              <a:ext uri="{FF2B5EF4-FFF2-40B4-BE49-F238E27FC236}">
                <a16:creationId xmlns:a16="http://schemas.microsoft.com/office/drawing/2014/main" id="{649D3B44-EE31-4806-A50C-0D63C718AFE7}"/>
              </a:ext>
              <a:ext uri="{C183D7F6-B498-43B3-948B-1728B52AA6E4}">
                <adec:decorative xmlns:adec="http://schemas.microsoft.com/office/drawing/2017/decorative" val="1"/>
              </a:ext>
            </a:extLst>
          </p:cNvPr>
          <p:cNvGrpSpPr/>
          <p:nvPr/>
        </p:nvGrpSpPr>
        <p:grpSpPr>
          <a:xfrm>
            <a:off x="4361905" y="2996926"/>
            <a:ext cx="142852" cy="47312"/>
            <a:chOff x="3845953" y="3735365"/>
            <a:chExt cx="142873" cy="47319"/>
          </a:xfrm>
          <a:solidFill>
            <a:srgbClr val="0078D7"/>
          </a:solidFill>
        </p:grpSpPr>
        <p:sp>
          <p:nvSpPr>
            <p:cNvPr id="214" name="Freeform: Shape 213">
              <a:extLst>
                <a:ext uri="{FF2B5EF4-FFF2-40B4-BE49-F238E27FC236}">
                  <a16:creationId xmlns:a16="http://schemas.microsoft.com/office/drawing/2014/main" id="{D8FB37D5-4E4D-4009-AC1B-3F1B2650CC6E}"/>
                </a:ext>
              </a:extLst>
            </p:cNvPr>
            <p:cNvSpPr/>
            <p:nvPr/>
          </p:nvSpPr>
          <p:spPr>
            <a:xfrm>
              <a:off x="3864127" y="3750853"/>
              <a:ext cx="106583" cy="16287"/>
            </a:xfrm>
            <a:custGeom>
              <a:avLst/>
              <a:gdLst>
                <a:gd name="connsiteX0" fmla="*/ 103783 w 106583"/>
                <a:gd name="connsiteY0" fmla="*/ 0 h 16287"/>
                <a:gd name="connsiteX1" fmla="*/ 106583 w 106583"/>
                <a:gd name="connsiteY1" fmla="*/ 0 h 16287"/>
                <a:gd name="connsiteX2" fmla="*/ 106583 w 106583"/>
                <a:gd name="connsiteY2" fmla="*/ 16287 h 16287"/>
                <a:gd name="connsiteX3" fmla="*/ 103783 w 106583"/>
                <a:gd name="connsiteY3" fmla="*/ 16287 h 16287"/>
                <a:gd name="connsiteX4" fmla="*/ 2800 w 106583"/>
                <a:gd name="connsiteY4" fmla="*/ 16287 h 16287"/>
                <a:gd name="connsiteX5" fmla="*/ 2800 w 106583"/>
                <a:gd name="connsiteY5" fmla="*/ 0 h 16287"/>
                <a:gd name="connsiteX6" fmla="*/ 0 w 106583"/>
                <a:gd name="connsiteY6" fmla="*/ 0 h 16287"/>
                <a:gd name="connsiteX7" fmla="*/ 2800 w 106583"/>
                <a:gd name="connsiteY7" fmla="*/ 0 h 1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583" h="16287">
                  <a:moveTo>
                    <a:pt x="103783" y="0"/>
                  </a:moveTo>
                  <a:cubicBezTo>
                    <a:pt x="105330" y="0"/>
                    <a:pt x="106583" y="0"/>
                    <a:pt x="106583" y="0"/>
                  </a:cubicBezTo>
                  <a:lnTo>
                    <a:pt x="106583" y="16287"/>
                  </a:lnTo>
                  <a:cubicBezTo>
                    <a:pt x="106583" y="16287"/>
                    <a:pt x="105330" y="16287"/>
                    <a:pt x="103783" y="16287"/>
                  </a:cubicBezTo>
                  <a:lnTo>
                    <a:pt x="2800" y="16287"/>
                  </a:lnTo>
                  <a:lnTo>
                    <a:pt x="2800" y="0"/>
                  </a:lnTo>
                  <a:cubicBezTo>
                    <a:pt x="1254" y="0"/>
                    <a:pt x="0" y="0"/>
                    <a:pt x="0" y="0"/>
                  </a:cubicBezTo>
                  <a:cubicBezTo>
                    <a:pt x="0" y="0"/>
                    <a:pt x="1254" y="0"/>
                    <a:pt x="2800" y="0"/>
                  </a:cubicBezTo>
                  <a:close/>
                </a:path>
              </a:pathLst>
            </a:custGeom>
            <a:solidFill>
              <a:srgbClr val="0078D7"/>
            </a:solidFill>
            <a:ln w="5334" cap="flat">
              <a:noFill/>
              <a:prstDash val="solid"/>
              <a:miter/>
            </a:ln>
          </p:spPr>
          <p:txBody>
            <a:bodyPr rtlCol="0" anchor="ctr"/>
            <a:lstStyle/>
            <a:p>
              <a:endParaRPr lang="en-US"/>
            </a:p>
          </p:txBody>
        </p:sp>
        <p:sp>
          <p:nvSpPr>
            <p:cNvPr id="215" name="Freeform: Shape 214">
              <a:extLst>
                <a:ext uri="{FF2B5EF4-FFF2-40B4-BE49-F238E27FC236}">
                  <a16:creationId xmlns:a16="http://schemas.microsoft.com/office/drawing/2014/main" id="{03695AF3-2520-4881-8084-AA5E7376BB1F}"/>
                </a:ext>
              </a:extLst>
            </p:cNvPr>
            <p:cNvSpPr/>
            <p:nvPr/>
          </p:nvSpPr>
          <p:spPr>
            <a:xfrm>
              <a:off x="3845953" y="3735365"/>
              <a:ext cx="142873" cy="47319"/>
            </a:xfrm>
            <a:custGeom>
              <a:avLst/>
              <a:gdLst>
                <a:gd name="connsiteX0" fmla="*/ 119213 w 142873"/>
                <a:gd name="connsiteY0" fmla="*/ 0 h 47319"/>
                <a:gd name="connsiteX1" fmla="*/ 23660 w 142873"/>
                <a:gd name="connsiteY1" fmla="*/ 0 h 47319"/>
                <a:gd name="connsiteX2" fmla="*/ 0 w 142873"/>
                <a:gd name="connsiteY2" fmla="*/ 23660 h 47319"/>
                <a:gd name="connsiteX3" fmla="*/ 23660 w 142873"/>
                <a:gd name="connsiteY3" fmla="*/ 47319 h 47319"/>
                <a:gd name="connsiteX4" fmla="*/ 119213 w 142873"/>
                <a:gd name="connsiteY4" fmla="*/ 47319 h 47319"/>
                <a:gd name="connsiteX5" fmla="*/ 142873 w 142873"/>
                <a:gd name="connsiteY5" fmla="*/ 23660 h 47319"/>
                <a:gd name="connsiteX6" fmla="*/ 119213 w 142873"/>
                <a:gd name="connsiteY6" fmla="*/ 0 h 47319"/>
                <a:gd name="connsiteX7" fmla="*/ 133272 w 142873"/>
                <a:gd name="connsiteY7" fmla="*/ 28974 h 47319"/>
                <a:gd name="connsiteX8" fmla="*/ 121842 w 142873"/>
                <a:gd name="connsiteY8" fmla="*/ 40404 h 47319"/>
                <a:gd name="connsiteX9" fmla="*/ 20917 w 142873"/>
                <a:gd name="connsiteY9" fmla="*/ 40404 h 47319"/>
                <a:gd name="connsiteX10" fmla="*/ 9487 w 142873"/>
                <a:gd name="connsiteY10" fmla="*/ 28974 h 47319"/>
                <a:gd name="connsiteX11" fmla="*/ 9487 w 142873"/>
                <a:gd name="connsiteY11" fmla="*/ 18288 h 47319"/>
                <a:gd name="connsiteX12" fmla="*/ 20917 w 142873"/>
                <a:gd name="connsiteY12" fmla="*/ 6858 h 47319"/>
                <a:gd name="connsiteX13" fmla="*/ 121899 w 142873"/>
                <a:gd name="connsiteY13" fmla="*/ 6858 h 47319"/>
                <a:gd name="connsiteX14" fmla="*/ 133329 w 142873"/>
                <a:gd name="connsiteY14" fmla="*/ 18288 h 47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873" h="47319">
                  <a:moveTo>
                    <a:pt x="119213" y="0"/>
                  </a:moveTo>
                  <a:lnTo>
                    <a:pt x="23660" y="0"/>
                  </a:lnTo>
                  <a:cubicBezTo>
                    <a:pt x="10593" y="0"/>
                    <a:pt x="0" y="10593"/>
                    <a:pt x="0" y="23660"/>
                  </a:cubicBezTo>
                  <a:cubicBezTo>
                    <a:pt x="0" y="36726"/>
                    <a:pt x="10593" y="47319"/>
                    <a:pt x="23660" y="47319"/>
                  </a:cubicBezTo>
                  <a:lnTo>
                    <a:pt x="119213" y="47319"/>
                  </a:lnTo>
                  <a:cubicBezTo>
                    <a:pt x="132280" y="47319"/>
                    <a:pt x="142873" y="36726"/>
                    <a:pt x="142873" y="23660"/>
                  </a:cubicBezTo>
                  <a:cubicBezTo>
                    <a:pt x="142873" y="10593"/>
                    <a:pt x="132280" y="0"/>
                    <a:pt x="119213" y="0"/>
                  </a:cubicBezTo>
                  <a:close/>
                  <a:moveTo>
                    <a:pt x="133272" y="28974"/>
                  </a:moveTo>
                  <a:cubicBezTo>
                    <a:pt x="133272" y="35287"/>
                    <a:pt x="128155" y="40404"/>
                    <a:pt x="121842" y="40404"/>
                  </a:cubicBezTo>
                  <a:lnTo>
                    <a:pt x="20917" y="40404"/>
                  </a:lnTo>
                  <a:cubicBezTo>
                    <a:pt x="14604" y="40404"/>
                    <a:pt x="9487" y="35287"/>
                    <a:pt x="9487" y="28974"/>
                  </a:cubicBezTo>
                  <a:lnTo>
                    <a:pt x="9487" y="18288"/>
                  </a:lnTo>
                  <a:cubicBezTo>
                    <a:pt x="9487" y="11975"/>
                    <a:pt x="14604" y="6858"/>
                    <a:pt x="20917" y="6858"/>
                  </a:cubicBezTo>
                  <a:lnTo>
                    <a:pt x="121899" y="6858"/>
                  </a:lnTo>
                  <a:cubicBezTo>
                    <a:pt x="128212" y="6858"/>
                    <a:pt x="133329" y="11975"/>
                    <a:pt x="133329" y="18288"/>
                  </a:cubicBezTo>
                  <a:close/>
                </a:path>
              </a:pathLst>
            </a:custGeom>
            <a:solidFill>
              <a:srgbClr val="0078D7"/>
            </a:solidFill>
            <a:ln w="5334" cap="flat">
              <a:noFill/>
              <a:prstDash val="solid"/>
              <a:miter/>
            </a:ln>
          </p:spPr>
          <p:txBody>
            <a:bodyPr rtlCol="0" anchor="ctr"/>
            <a:lstStyle/>
            <a:p>
              <a:endParaRPr lang="en-US"/>
            </a:p>
          </p:txBody>
        </p:sp>
      </p:grpSp>
      <p:sp>
        <p:nvSpPr>
          <p:cNvPr id="216" name="Graphic 7">
            <a:extLst>
              <a:ext uri="{FF2B5EF4-FFF2-40B4-BE49-F238E27FC236}">
                <a16:creationId xmlns:a16="http://schemas.microsoft.com/office/drawing/2014/main" id="{0B80E3C6-B2D6-443E-93CF-DFA3ED342F06}"/>
              </a:ext>
              <a:ext uri="{C183D7F6-B498-43B3-948B-1728B52AA6E4}">
                <adec:decorative xmlns:adec="http://schemas.microsoft.com/office/drawing/2017/decorative" val="1"/>
              </a:ext>
            </a:extLst>
          </p:cNvPr>
          <p:cNvSpPr/>
          <p:nvPr/>
        </p:nvSpPr>
        <p:spPr>
          <a:xfrm>
            <a:off x="4548890" y="2934592"/>
            <a:ext cx="158790" cy="169376"/>
          </a:xfrm>
          <a:custGeom>
            <a:avLst/>
            <a:gdLst>
              <a:gd name="connsiteX0" fmla="*/ 109728 w 205740"/>
              <a:gd name="connsiteY0" fmla="*/ 27432 h 219456"/>
              <a:gd name="connsiteX1" fmla="*/ 96012 w 205740"/>
              <a:gd name="connsiteY1" fmla="*/ 27432 h 219456"/>
              <a:gd name="connsiteX2" fmla="*/ 96012 w 205740"/>
              <a:gd name="connsiteY2" fmla="*/ 0 h 219456"/>
              <a:gd name="connsiteX3" fmla="*/ 109728 w 205740"/>
              <a:gd name="connsiteY3" fmla="*/ 0 h 219456"/>
              <a:gd name="connsiteX4" fmla="*/ 44714 w 205740"/>
              <a:gd name="connsiteY4" fmla="*/ 54315 h 219456"/>
              <a:gd name="connsiteX5" fmla="*/ 25306 w 205740"/>
              <a:gd name="connsiteY5" fmla="*/ 34907 h 219456"/>
              <a:gd name="connsiteX6" fmla="*/ 34907 w 205740"/>
              <a:gd name="connsiteY6" fmla="*/ 25306 h 219456"/>
              <a:gd name="connsiteX7" fmla="*/ 54315 w 205740"/>
              <a:gd name="connsiteY7" fmla="*/ 44714 h 219456"/>
              <a:gd name="connsiteX8" fmla="*/ 0 w 205740"/>
              <a:gd name="connsiteY8" fmla="*/ 96012 h 219456"/>
              <a:gd name="connsiteX9" fmla="*/ 27432 w 205740"/>
              <a:gd name="connsiteY9" fmla="*/ 96012 h 219456"/>
              <a:gd name="connsiteX10" fmla="*/ 27432 w 205740"/>
              <a:gd name="connsiteY10" fmla="*/ 109728 h 219456"/>
              <a:gd name="connsiteX11" fmla="*/ 0 w 205740"/>
              <a:gd name="connsiteY11" fmla="*/ 109728 h 219456"/>
              <a:gd name="connsiteX12" fmla="*/ 205740 w 205740"/>
              <a:gd name="connsiteY12" fmla="*/ 96012 h 219456"/>
              <a:gd name="connsiteX13" fmla="*/ 205740 w 205740"/>
              <a:gd name="connsiteY13" fmla="*/ 109728 h 219456"/>
              <a:gd name="connsiteX14" fmla="*/ 178308 w 205740"/>
              <a:gd name="connsiteY14" fmla="*/ 109728 h 219456"/>
              <a:gd name="connsiteX15" fmla="*/ 178308 w 205740"/>
              <a:gd name="connsiteY15" fmla="*/ 96012 h 219456"/>
              <a:gd name="connsiteX16" fmla="*/ 161026 w 205740"/>
              <a:gd name="connsiteY16" fmla="*/ 54315 h 219456"/>
              <a:gd name="connsiteX17" fmla="*/ 151425 w 205740"/>
              <a:gd name="connsiteY17" fmla="*/ 44714 h 219456"/>
              <a:gd name="connsiteX18" fmla="*/ 170833 w 205740"/>
              <a:gd name="connsiteY18" fmla="*/ 25306 h 219456"/>
              <a:gd name="connsiteX19" fmla="*/ 180434 w 205740"/>
              <a:gd name="connsiteY19" fmla="*/ 34907 h 219456"/>
              <a:gd name="connsiteX20" fmla="*/ 102870 w 205740"/>
              <a:gd name="connsiteY20" fmla="*/ 54864 h 219456"/>
              <a:gd name="connsiteX21" fmla="*/ 121524 w 205740"/>
              <a:gd name="connsiteY21" fmla="*/ 58636 h 219456"/>
              <a:gd name="connsiteX22" fmla="*/ 136749 w 205740"/>
              <a:gd name="connsiteY22" fmla="*/ 68923 h 219456"/>
              <a:gd name="connsiteX23" fmla="*/ 147036 w 205740"/>
              <a:gd name="connsiteY23" fmla="*/ 84148 h 219456"/>
              <a:gd name="connsiteX24" fmla="*/ 150876 w 205740"/>
              <a:gd name="connsiteY24" fmla="*/ 102870 h 219456"/>
              <a:gd name="connsiteX25" fmla="*/ 150876 w 205740"/>
              <a:gd name="connsiteY25" fmla="*/ 178308 h 219456"/>
              <a:gd name="connsiteX26" fmla="*/ 164592 w 205740"/>
              <a:gd name="connsiteY26" fmla="*/ 178308 h 219456"/>
              <a:gd name="connsiteX27" fmla="*/ 164592 w 205740"/>
              <a:gd name="connsiteY27" fmla="*/ 192024 h 219456"/>
              <a:gd name="connsiteX28" fmla="*/ 137160 w 205740"/>
              <a:gd name="connsiteY28" fmla="*/ 192024 h 219456"/>
              <a:gd name="connsiteX29" fmla="*/ 137160 w 205740"/>
              <a:gd name="connsiteY29" fmla="*/ 219456 h 219456"/>
              <a:gd name="connsiteX30" fmla="*/ 123444 w 205740"/>
              <a:gd name="connsiteY30" fmla="*/ 219456 h 219456"/>
              <a:gd name="connsiteX31" fmla="*/ 123444 w 205740"/>
              <a:gd name="connsiteY31" fmla="*/ 192024 h 219456"/>
              <a:gd name="connsiteX32" fmla="*/ 82296 w 205740"/>
              <a:gd name="connsiteY32" fmla="*/ 192024 h 219456"/>
              <a:gd name="connsiteX33" fmla="*/ 82296 w 205740"/>
              <a:gd name="connsiteY33" fmla="*/ 219456 h 219456"/>
              <a:gd name="connsiteX34" fmla="*/ 68580 w 205740"/>
              <a:gd name="connsiteY34" fmla="*/ 219456 h 219456"/>
              <a:gd name="connsiteX35" fmla="*/ 68580 w 205740"/>
              <a:gd name="connsiteY35" fmla="*/ 192024 h 219456"/>
              <a:gd name="connsiteX36" fmla="*/ 41148 w 205740"/>
              <a:gd name="connsiteY36" fmla="*/ 192024 h 219456"/>
              <a:gd name="connsiteX37" fmla="*/ 41148 w 205740"/>
              <a:gd name="connsiteY37" fmla="*/ 178308 h 219456"/>
              <a:gd name="connsiteX38" fmla="*/ 54864 w 205740"/>
              <a:gd name="connsiteY38" fmla="*/ 178308 h 219456"/>
              <a:gd name="connsiteX39" fmla="*/ 54864 w 205740"/>
              <a:gd name="connsiteY39" fmla="*/ 102870 h 219456"/>
              <a:gd name="connsiteX40" fmla="*/ 58636 w 205740"/>
              <a:gd name="connsiteY40" fmla="*/ 84216 h 219456"/>
              <a:gd name="connsiteX41" fmla="*/ 68923 w 205740"/>
              <a:gd name="connsiteY41" fmla="*/ 68991 h 219456"/>
              <a:gd name="connsiteX42" fmla="*/ 84148 w 205740"/>
              <a:gd name="connsiteY42" fmla="*/ 58704 h 219456"/>
              <a:gd name="connsiteX43" fmla="*/ 102870 w 205740"/>
              <a:gd name="connsiteY43" fmla="*/ 54864 h 219456"/>
              <a:gd name="connsiteX44" fmla="*/ 137160 w 205740"/>
              <a:gd name="connsiteY44" fmla="*/ 178308 h 219456"/>
              <a:gd name="connsiteX45" fmla="*/ 137160 w 205740"/>
              <a:gd name="connsiteY45" fmla="*/ 102870 h 219456"/>
              <a:gd name="connsiteX46" fmla="*/ 134485 w 205740"/>
              <a:gd name="connsiteY46" fmla="*/ 89565 h 219456"/>
              <a:gd name="connsiteX47" fmla="*/ 127079 w 205740"/>
              <a:gd name="connsiteY47" fmla="*/ 78730 h 219456"/>
              <a:gd name="connsiteX48" fmla="*/ 116175 w 205740"/>
              <a:gd name="connsiteY48" fmla="*/ 71392 h 219456"/>
              <a:gd name="connsiteX49" fmla="*/ 102870 w 205740"/>
              <a:gd name="connsiteY49" fmla="*/ 68580 h 219456"/>
              <a:gd name="connsiteX50" fmla="*/ 89565 w 205740"/>
              <a:gd name="connsiteY50" fmla="*/ 71255 h 219456"/>
              <a:gd name="connsiteX51" fmla="*/ 78730 w 205740"/>
              <a:gd name="connsiteY51" fmla="*/ 78661 h 219456"/>
              <a:gd name="connsiteX52" fmla="*/ 71392 w 205740"/>
              <a:gd name="connsiteY52" fmla="*/ 89565 h 219456"/>
              <a:gd name="connsiteX53" fmla="*/ 68580 w 205740"/>
              <a:gd name="connsiteY53" fmla="*/ 102870 h 219456"/>
              <a:gd name="connsiteX54" fmla="*/ 68580 w 205740"/>
              <a:gd name="connsiteY54" fmla="*/ 178308 h 21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05740" h="219456">
                <a:moveTo>
                  <a:pt x="109728" y="27432"/>
                </a:moveTo>
                <a:lnTo>
                  <a:pt x="96012" y="27432"/>
                </a:lnTo>
                <a:lnTo>
                  <a:pt x="96012" y="0"/>
                </a:lnTo>
                <a:lnTo>
                  <a:pt x="109728" y="0"/>
                </a:lnTo>
                <a:close/>
                <a:moveTo>
                  <a:pt x="44714" y="54315"/>
                </a:moveTo>
                <a:lnTo>
                  <a:pt x="25306" y="34907"/>
                </a:lnTo>
                <a:lnTo>
                  <a:pt x="34907" y="25306"/>
                </a:lnTo>
                <a:lnTo>
                  <a:pt x="54315" y="44714"/>
                </a:lnTo>
                <a:close/>
                <a:moveTo>
                  <a:pt x="0" y="96012"/>
                </a:moveTo>
                <a:lnTo>
                  <a:pt x="27432" y="96012"/>
                </a:lnTo>
                <a:lnTo>
                  <a:pt x="27432" y="109728"/>
                </a:lnTo>
                <a:lnTo>
                  <a:pt x="0" y="109728"/>
                </a:lnTo>
                <a:close/>
                <a:moveTo>
                  <a:pt x="205740" y="96012"/>
                </a:moveTo>
                <a:lnTo>
                  <a:pt x="205740" y="109728"/>
                </a:lnTo>
                <a:lnTo>
                  <a:pt x="178308" y="109728"/>
                </a:lnTo>
                <a:lnTo>
                  <a:pt x="178308" y="96012"/>
                </a:lnTo>
                <a:close/>
                <a:moveTo>
                  <a:pt x="161026" y="54315"/>
                </a:moveTo>
                <a:lnTo>
                  <a:pt x="151425" y="44714"/>
                </a:lnTo>
                <a:lnTo>
                  <a:pt x="170833" y="25306"/>
                </a:lnTo>
                <a:lnTo>
                  <a:pt x="180434" y="34907"/>
                </a:lnTo>
                <a:close/>
                <a:moveTo>
                  <a:pt x="102870" y="54864"/>
                </a:moveTo>
                <a:cubicBezTo>
                  <a:pt x="109284" y="54802"/>
                  <a:pt x="115638" y="56087"/>
                  <a:pt x="121524" y="58636"/>
                </a:cubicBezTo>
                <a:cubicBezTo>
                  <a:pt x="127214" y="61053"/>
                  <a:pt x="132383" y="64546"/>
                  <a:pt x="136749" y="68923"/>
                </a:cubicBezTo>
                <a:cubicBezTo>
                  <a:pt x="141109" y="73302"/>
                  <a:pt x="144600" y="78469"/>
                  <a:pt x="147036" y="84148"/>
                </a:cubicBezTo>
                <a:cubicBezTo>
                  <a:pt x="149558" y="90068"/>
                  <a:pt x="150864" y="96435"/>
                  <a:pt x="150876" y="102870"/>
                </a:cubicBezTo>
                <a:lnTo>
                  <a:pt x="150876" y="178308"/>
                </a:lnTo>
                <a:lnTo>
                  <a:pt x="164592" y="178308"/>
                </a:lnTo>
                <a:lnTo>
                  <a:pt x="164592" y="192024"/>
                </a:lnTo>
                <a:lnTo>
                  <a:pt x="137160" y="192024"/>
                </a:lnTo>
                <a:lnTo>
                  <a:pt x="137160" y="219456"/>
                </a:lnTo>
                <a:lnTo>
                  <a:pt x="123444" y="219456"/>
                </a:lnTo>
                <a:lnTo>
                  <a:pt x="123444" y="192024"/>
                </a:lnTo>
                <a:lnTo>
                  <a:pt x="82296" y="192024"/>
                </a:lnTo>
                <a:lnTo>
                  <a:pt x="82296" y="219456"/>
                </a:lnTo>
                <a:lnTo>
                  <a:pt x="68580" y="219456"/>
                </a:lnTo>
                <a:lnTo>
                  <a:pt x="68580" y="192024"/>
                </a:lnTo>
                <a:lnTo>
                  <a:pt x="41148" y="192024"/>
                </a:lnTo>
                <a:lnTo>
                  <a:pt x="41148" y="178308"/>
                </a:lnTo>
                <a:lnTo>
                  <a:pt x="54864" y="178308"/>
                </a:lnTo>
                <a:lnTo>
                  <a:pt x="54864" y="102870"/>
                </a:lnTo>
                <a:cubicBezTo>
                  <a:pt x="54808" y="96457"/>
                  <a:pt x="56093" y="90103"/>
                  <a:pt x="58636" y="84216"/>
                </a:cubicBezTo>
                <a:cubicBezTo>
                  <a:pt x="61053" y="78526"/>
                  <a:pt x="64546" y="73357"/>
                  <a:pt x="68923" y="68991"/>
                </a:cubicBezTo>
                <a:cubicBezTo>
                  <a:pt x="73302" y="64631"/>
                  <a:pt x="78469" y="61141"/>
                  <a:pt x="84148" y="58704"/>
                </a:cubicBezTo>
                <a:cubicBezTo>
                  <a:pt x="90068" y="56182"/>
                  <a:pt x="96435" y="54876"/>
                  <a:pt x="102870" y="54864"/>
                </a:cubicBezTo>
                <a:close/>
                <a:moveTo>
                  <a:pt x="137160" y="178308"/>
                </a:moveTo>
                <a:lnTo>
                  <a:pt x="137160" y="102870"/>
                </a:lnTo>
                <a:cubicBezTo>
                  <a:pt x="137188" y="98299"/>
                  <a:pt x="136278" y="93771"/>
                  <a:pt x="134485" y="89565"/>
                </a:cubicBezTo>
                <a:cubicBezTo>
                  <a:pt x="132746" y="85506"/>
                  <a:pt x="130231" y="81824"/>
                  <a:pt x="127079" y="78730"/>
                </a:cubicBezTo>
                <a:cubicBezTo>
                  <a:pt x="123890" y="75679"/>
                  <a:pt x="120202" y="73197"/>
                  <a:pt x="116175" y="71392"/>
                </a:cubicBezTo>
                <a:cubicBezTo>
                  <a:pt x="111989" y="69523"/>
                  <a:pt x="107454" y="68565"/>
                  <a:pt x="102870" y="68580"/>
                </a:cubicBezTo>
                <a:cubicBezTo>
                  <a:pt x="98299" y="68552"/>
                  <a:pt x="93771" y="69462"/>
                  <a:pt x="89565" y="71255"/>
                </a:cubicBezTo>
                <a:cubicBezTo>
                  <a:pt x="85506" y="72994"/>
                  <a:pt x="81824" y="75509"/>
                  <a:pt x="78730" y="78661"/>
                </a:cubicBezTo>
                <a:cubicBezTo>
                  <a:pt x="75679" y="81850"/>
                  <a:pt x="73197" y="85538"/>
                  <a:pt x="71392" y="89565"/>
                </a:cubicBezTo>
                <a:cubicBezTo>
                  <a:pt x="69523" y="93751"/>
                  <a:pt x="68565" y="98286"/>
                  <a:pt x="68580" y="102870"/>
                </a:cubicBezTo>
                <a:lnTo>
                  <a:pt x="68580" y="178308"/>
                </a:lnTo>
                <a:close/>
              </a:path>
            </a:pathLst>
          </a:custGeom>
          <a:solidFill>
            <a:srgbClr val="0078D7"/>
          </a:solidFill>
          <a:ln w="3175" cap="flat">
            <a:solidFill>
              <a:schemeClr val="bg1"/>
            </a:solidFill>
            <a:prstDash val="solid"/>
            <a:miter/>
          </a:ln>
        </p:spPr>
        <p:txBody>
          <a:bodyPr rtlCol="0" anchor="ctr"/>
          <a:lstStyle/>
          <a:p>
            <a:endParaRPr lang="en-US"/>
          </a:p>
        </p:txBody>
      </p:sp>
      <p:grpSp>
        <p:nvGrpSpPr>
          <p:cNvPr id="217" name="Group 216">
            <a:extLst>
              <a:ext uri="{FF2B5EF4-FFF2-40B4-BE49-F238E27FC236}">
                <a16:creationId xmlns:a16="http://schemas.microsoft.com/office/drawing/2014/main" id="{FB7A5481-49E3-4E88-9E0F-242BFB72E6A4}"/>
              </a:ext>
              <a:ext uri="{C183D7F6-B498-43B3-948B-1728B52AA6E4}">
                <adec:decorative xmlns:adec="http://schemas.microsoft.com/office/drawing/2017/decorative" val="1"/>
              </a:ext>
            </a:extLst>
          </p:cNvPr>
          <p:cNvGrpSpPr/>
          <p:nvPr/>
        </p:nvGrpSpPr>
        <p:grpSpPr>
          <a:xfrm>
            <a:off x="5125855" y="2972793"/>
            <a:ext cx="231162" cy="131704"/>
            <a:chOff x="1290799" y="6111564"/>
            <a:chExt cx="231195" cy="131722"/>
          </a:xfrm>
        </p:grpSpPr>
        <p:grpSp>
          <p:nvGrpSpPr>
            <p:cNvPr id="218" name="Graphic 54" descr="Camera">
              <a:extLst>
                <a:ext uri="{FF2B5EF4-FFF2-40B4-BE49-F238E27FC236}">
                  <a16:creationId xmlns:a16="http://schemas.microsoft.com/office/drawing/2014/main" id="{7FE034A7-412A-43A6-AEF2-16641B45F9B4}"/>
                </a:ext>
              </a:extLst>
            </p:cNvPr>
            <p:cNvGrpSpPr/>
            <p:nvPr/>
          </p:nvGrpSpPr>
          <p:grpSpPr>
            <a:xfrm>
              <a:off x="1290799" y="6111564"/>
              <a:ext cx="158841" cy="131722"/>
              <a:chOff x="1290799" y="6111564"/>
              <a:chExt cx="158841" cy="131722"/>
            </a:xfrm>
            <a:solidFill>
              <a:srgbClr val="0078D7"/>
            </a:solidFill>
          </p:grpSpPr>
          <p:sp>
            <p:nvSpPr>
              <p:cNvPr id="220" name="Freeform: Shape 219">
                <a:extLst>
                  <a:ext uri="{FF2B5EF4-FFF2-40B4-BE49-F238E27FC236}">
                    <a16:creationId xmlns:a16="http://schemas.microsoft.com/office/drawing/2014/main" id="{E52E448F-2480-4867-BABB-52B4EB00598C}"/>
                  </a:ext>
                </a:extLst>
              </p:cNvPr>
              <p:cNvSpPr/>
              <p:nvPr/>
            </p:nvSpPr>
            <p:spPr>
              <a:xfrm>
                <a:off x="1290799" y="6111564"/>
                <a:ext cx="158841" cy="131722"/>
              </a:xfrm>
              <a:custGeom>
                <a:avLst/>
                <a:gdLst>
                  <a:gd name="connsiteX0" fmla="*/ 149156 w 158841"/>
                  <a:gd name="connsiteY0" fmla="*/ 19371 h 131722"/>
                  <a:gd name="connsiteX1" fmla="*/ 111511 w 158841"/>
                  <a:gd name="connsiteY1" fmla="*/ 19371 h 131722"/>
                  <a:gd name="connsiteX2" fmla="*/ 99888 w 158841"/>
                  <a:gd name="connsiteY2" fmla="*/ 0 h 131722"/>
                  <a:gd name="connsiteX3" fmla="*/ 58954 w 158841"/>
                  <a:gd name="connsiteY3" fmla="*/ 0 h 131722"/>
                  <a:gd name="connsiteX4" fmla="*/ 47331 w 158841"/>
                  <a:gd name="connsiteY4" fmla="*/ 19371 h 131722"/>
                  <a:gd name="connsiteX5" fmla="*/ 9685 w 158841"/>
                  <a:gd name="connsiteY5" fmla="*/ 19371 h 131722"/>
                  <a:gd name="connsiteX6" fmla="*/ 0 w 158841"/>
                  <a:gd name="connsiteY6" fmla="*/ 29056 h 131722"/>
                  <a:gd name="connsiteX7" fmla="*/ 0 w 158841"/>
                  <a:gd name="connsiteY7" fmla="*/ 122037 h 131722"/>
                  <a:gd name="connsiteX8" fmla="*/ 9685 w 158841"/>
                  <a:gd name="connsiteY8" fmla="*/ 131722 h 131722"/>
                  <a:gd name="connsiteX9" fmla="*/ 149156 w 158841"/>
                  <a:gd name="connsiteY9" fmla="*/ 131722 h 131722"/>
                  <a:gd name="connsiteX10" fmla="*/ 158842 w 158841"/>
                  <a:gd name="connsiteY10" fmla="*/ 122037 h 131722"/>
                  <a:gd name="connsiteX11" fmla="*/ 158842 w 158841"/>
                  <a:gd name="connsiteY11" fmla="*/ 29056 h 131722"/>
                  <a:gd name="connsiteX12" fmla="*/ 149156 w 158841"/>
                  <a:gd name="connsiteY12" fmla="*/ 19371 h 131722"/>
                  <a:gd name="connsiteX13" fmla="*/ 61146 w 158841"/>
                  <a:gd name="connsiteY13" fmla="*/ 3874 h 131722"/>
                  <a:gd name="connsiteX14" fmla="*/ 97695 w 158841"/>
                  <a:gd name="connsiteY14" fmla="*/ 3874 h 131722"/>
                  <a:gd name="connsiteX15" fmla="*/ 106993 w 158841"/>
                  <a:gd name="connsiteY15" fmla="*/ 19371 h 131722"/>
                  <a:gd name="connsiteX16" fmla="*/ 51848 w 158841"/>
                  <a:gd name="connsiteY16" fmla="*/ 19371 h 131722"/>
                  <a:gd name="connsiteX17" fmla="*/ 149156 w 158841"/>
                  <a:gd name="connsiteY17" fmla="*/ 23245 h 131722"/>
                  <a:gd name="connsiteX18" fmla="*/ 154968 w 158841"/>
                  <a:gd name="connsiteY18" fmla="*/ 29056 h 131722"/>
                  <a:gd name="connsiteX19" fmla="*/ 154968 w 158841"/>
                  <a:gd name="connsiteY19" fmla="*/ 122037 h 131722"/>
                  <a:gd name="connsiteX20" fmla="*/ 149156 w 158841"/>
                  <a:gd name="connsiteY20" fmla="*/ 127848 h 131722"/>
                  <a:gd name="connsiteX21" fmla="*/ 9685 w 158841"/>
                  <a:gd name="connsiteY21" fmla="*/ 127848 h 131722"/>
                  <a:gd name="connsiteX22" fmla="*/ 3874 w 158841"/>
                  <a:gd name="connsiteY22" fmla="*/ 122037 h 131722"/>
                  <a:gd name="connsiteX23" fmla="*/ 3874 w 158841"/>
                  <a:gd name="connsiteY23" fmla="*/ 29056 h 131722"/>
                  <a:gd name="connsiteX24" fmla="*/ 9685 w 158841"/>
                  <a:gd name="connsiteY24" fmla="*/ 23245 h 13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841" h="131722">
                    <a:moveTo>
                      <a:pt x="149156" y="19371"/>
                    </a:moveTo>
                    <a:lnTo>
                      <a:pt x="111511" y="19371"/>
                    </a:lnTo>
                    <a:lnTo>
                      <a:pt x="99888" y="0"/>
                    </a:lnTo>
                    <a:lnTo>
                      <a:pt x="58954" y="0"/>
                    </a:lnTo>
                    <a:lnTo>
                      <a:pt x="47331" y="19371"/>
                    </a:lnTo>
                    <a:lnTo>
                      <a:pt x="9685" y="19371"/>
                    </a:lnTo>
                    <a:cubicBezTo>
                      <a:pt x="4339" y="19377"/>
                      <a:pt x="6" y="23710"/>
                      <a:pt x="0" y="29056"/>
                    </a:cubicBezTo>
                    <a:lnTo>
                      <a:pt x="0" y="122037"/>
                    </a:lnTo>
                    <a:cubicBezTo>
                      <a:pt x="6" y="127383"/>
                      <a:pt x="4339" y="131716"/>
                      <a:pt x="9685" y="131722"/>
                    </a:cubicBezTo>
                    <a:lnTo>
                      <a:pt x="149156" y="131722"/>
                    </a:lnTo>
                    <a:cubicBezTo>
                      <a:pt x="154503" y="131716"/>
                      <a:pt x="158835" y="127383"/>
                      <a:pt x="158842" y="122037"/>
                    </a:cubicBezTo>
                    <a:lnTo>
                      <a:pt x="158842" y="29056"/>
                    </a:lnTo>
                    <a:cubicBezTo>
                      <a:pt x="158835" y="23710"/>
                      <a:pt x="154503" y="19377"/>
                      <a:pt x="149156" y="19371"/>
                    </a:cubicBezTo>
                    <a:close/>
                    <a:moveTo>
                      <a:pt x="61146" y="3874"/>
                    </a:moveTo>
                    <a:lnTo>
                      <a:pt x="97695" y="3874"/>
                    </a:lnTo>
                    <a:lnTo>
                      <a:pt x="106993" y="19371"/>
                    </a:lnTo>
                    <a:lnTo>
                      <a:pt x="51848" y="19371"/>
                    </a:lnTo>
                    <a:close/>
                    <a:moveTo>
                      <a:pt x="149156" y="23245"/>
                    </a:moveTo>
                    <a:cubicBezTo>
                      <a:pt x="152366" y="23245"/>
                      <a:pt x="154968" y="25847"/>
                      <a:pt x="154968" y="29056"/>
                    </a:cubicBezTo>
                    <a:lnTo>
                      <a:pt x="154968" y="122037"/>
                    </a:lnTo>
                    <a:cubicBezTo>
                      <a:pt x="154968" y="125246"/>
                      <a:pt x="152366" y="127848"/>
                      <a:pt x="149156" y="127848"/>
                    </a:cubicBezTo>
                    <a:lnTo>
                      <a:pt x="9685" y="127848"/>
                    </a:lnTo>
                    <a:cubicBezTo>
                      <a:pt x="6476" y="127848"/>
                      <a:pt x="3874" y="125246"/>
                      <a:pt x="3874" y="122037"/>
                    </a:cubicBezTo>
                    <a:lnTo>
                      <a:pt x="3874" y="29056"/>
                    </a:lnTo>
                    <a:cubicBezTo>
                      <a:pt x="3874" y="25847"/>
                      <a:pt x="6476" y="23245"/>
                      <a:pt x="9685" y="23245"/>
                    </a:cubicBezTo>
                    <a:close/>
                  </a:path>
                </a:pathLst>
              </a:custGeom>
              <a:solidFill>
                <a:srgbClr val="0078D7"/>
              </a:solidFill>
              <a:ln w="1885" cap="flat">
                <a:solidFill>
                  <a:srgbClr val="0078D7"/>
                </a:solidFill>
                <a:prstDash val="solid"/>
                <a:miter/>
              </a:ln>
            </p:spPr>
            <p:txBody>
              <a:bodyPr rtlCol="0" anchor="ctr"/>
              <a:lstStyle/>
              <a:p>
                <a:endParaRPr lang="en-US"/>
              </a:p>
            </p:txBody>
          </p:sp>
          <p:sp>
            <p:nvSpPr>
              <p:cNvPr id="221" name="Freeform: Shape 220">
                <a:extLst>
                  <a:ext uri="{FF2B5EF4-FFF2-40B4-BE49-F238E27FC236}">
                    <a16:creationId xmlns:a16="http://schemas.microsoft.com/office/drawing/2014/main" id="{BB9E87C8-8A51-4F08-8E88-A6CA9E07F9AA}"/>
                  </a:ext>
                </a:extLst>
              </p:cNvPr>
              <p:cNvSpPr/>
              <p:nvPr/>
            </p:nvSpPr>
            <p:spPr>
              <a:xfrm>
                <a:off x="1306296" y="6146432"/>
                <a:ext cx="25182" cy="17433"/>
              </a:xfrm>
              <a:custGeom>
                <a:avLst/>
                <a:gdLst>
                  <a:gd name="connsiteX0" fmla="*/ 0 w 25182"/>
                  <a:gd name="connsiteY0" fmla="*/ 17434 h 17433"/>
                  <a:gd name="connsiteX1" fmla="*/ 25182 w 25182"/>
                  <a:gd name="connsiteY1" fmla="*/ 17434 h 17433"/>
                  <a:gd name="connsiteX2" fmla="*/ 25182 w 25182"/>
                  <a:gd name="connsiteY2" fmla="*/ 0 h 17433"/>
                  <a:gd name="connsiteX3" fmla="*/ 0 w 25182"/>
                  <a:gd name="connsiteY3" fmla="*/ 0 h 17433"/>
                  <a:gd name="connsiteX4" fmla="*/ 3874 w 25182"/>
                  <a:gd name="connsiteY4" fmla="*/ 3874 h 17433"/>
                  <a:gd name="connsiteX5" fmla="*/ 21308 w 25182"/>
                  <a:gd name="connsiteY5" fmla="*/ 3874 h 17433"/>
                  <a:gd name="connsiteX6" fmla="*/ 21308 w 25182"/>
                  <a:gd name="connsiteY6" fmla="*/ 13560 h 17433"/>
                  <a:gd name="connsiteX7" fmla="*/ 3874 w 25182"/>
                  <a:gd name="connsiteY7" fmla="*/ 13560 h 17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17433">
                    <a:moveTo>
                      <a:pt x="0" y="17434"/>
                    </a:moveTo>
                    <a:lnTo>
                      <a:pt x="25182" y="17434"/>
                    </a:lnTo>
                    <a:lnTo>
                      <a:pt x="25182" y="0"/>
                    </a:lnTo>
                    <a:lnTo>
                      <a:pt x="0" y="0"/>
                    </a:lnTo>
                    <a:close/>
                    <a:moveTo>
                      <a:pt x="3874" y="3874"/>
                    </a:moveTo>
                    <a:lnTo>
                      <a:pt x="21308" y="3874"/>
                    </a:lnTo>
                    <a:lnTo>
                      <a:pt x="21308" y="13560"/>
                    </a:lnTo>
                    <a:lnTo>
                      <a:pt x="3874" y="13560"/>
                    </a:lnTo>
                    <a:close/>
                  </a:path>
                </a:pathLst>
              </a:custGeom>
              <a:solidFill>
                <a:srgbClr val="0078D7"/>
              </a:solidFill>
              <a:ln w="1885" cap="flat">
                <a:solidFill>
                  <a:srgbClr val="0078D7"/>
                </a:solidFill>
                <a:prstDash val="solid"/>
                <a:miter/>
              </a:ln>
            </p:spPr>
            <p:txBody>
              <a:bodyPr rtlCol="0" anchor="ctr"/>
              <a:lstStyle/>
              <a:p>
                <a:endParaRPr lang="en-US"/>
              </a:p>
            </p:txBody>
          </p:sp>
          <p:sp>
            <p:nvSpPr>
              <p:cNvPr id="222" name="Freeform: Shape 221">
                <a:extLst>
                  <a:ext uri="{FF2B5EF4-FFF2-40B4-BE49-F238E27FC236}">
                    <a16:creationId xmlns:a16="http://schemas.microsoft.com/office/drawing/2014/main" id="{64CDCE1D-E9AF-4A39-B63C-571B0D842AEE}"/>
                  </a:ext>
                </a:extLst>
              </p:cNvPr>
              <p:cNvSpPr/>
              <p:nvPr/>
            </p:nvSpPr>
            <p:spPr>
              <a:xfrm>
                <a:off x="1335352" y="6156117"/>
                <a:ext cx="69735" cy="69735"/>
              </a:xfrm>
              <a:custGeom>
                <a:avLst/>
                <a:gdLst>
                  <a:gd name="connsiteX0" fmla="*/ 34868 w 69735"/>
                  <a:gd name="connsiteY0" fmla="*/ 0 h 69735"/>
                  <a:gd name="connsiteX1" fmla="*/ 0 w 69735"/>
                  <a:gd name="connsiteY1" fmla="*/ 34868 h 69735"/>
                  <a:gd name="connsiteX2" fmla="*/ 34868 w 69735"/>
                  <a:gd name="connsiteY2" fmla="*/ 69735 h 69735"/>
                  <a:gd name="connsiteX3" fmla="*/ 69735 w 69735"/>
                  <a:gd name="connsiteY3" fmla="*/ 34868 h 69735"/>
                  <a:gd name="connsiteX4" fmla="*/ 34868 w 69735"/>
                  <a:gd name="connsiteY4" fmla="*/ 0 h 69735"/>
                  <a:gd name="connsiteX5" fmla="*/ 34868 w 69735"/>
                  <a:gd name="connsiteY5" fmla="*/ 65861 h 69735"/>
                  <a:gd name="connsiteX6" fmla="*/ 3874 w 69735"/>
                  <a:gd name="connsiteY6" fmla="*/ 34868 h 69735"/>
                  <a:gd name="connsiteX7" fmla="*/ 34868 w 69735"/>
                  <a:gd name="connsiteY7" fmla="*/ 3874 h 69735"/>
                  <a:gd name="connsiteX8" fmla="*/ 65861 w 69735"/>
                  <a:gd name="connsiteY8" fmla="*/ 34868 h 69735"/>
                  <a:gd name="connsiteX9" fmla="*/ 34868 w 69735"/>
                  <a:gd name="connsiteY9" fmla="*/ 65861 h 69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735" h="69735">
                    <a:moveTo>
                      <a:pt x="34868" y="0"/>
                    </a:moveTo>
                    <a:cubicBezTo>
                      <a:pt x="15611" y="0"/>
                      <a:pt x="0" y="15611"/>
                      <a:pt x="0" y="34868"/>
                    </a:cubicBezTo>
                    <a:cubicBezTo>
                      <a:pt x="0" y="54125"/>
                      <a:pt x="15611" y="69735"/>
                      <a:pt x="34868" y="69735"/>
                    </a:cubicBezTo>
                    <a:cubicBezTo>
                      <a:pt x="54125" y="69735"/>
                      <a:pt x="69735" y="54125"/>
                      <a:pt x="69735" y="34868"/>
                    </a:cubicBezTo>
                    <a:cubicBezTo>
                      <a:pt x="69713" y="15620"/>
                      <a:pt x="54115" y="22"/>
                      <a:pt x="34868" y="0"/>
                    </a:cubicBezTo>
                    <a:close/>
                    <a:moveTo>
                      <a:pt x="34868" y="65861"/>
                    </a:moveTo>
                    <a:cubicBezTo>
                      <a:pt x="17750" y="65861"/>
                      <a:pt x="3874" y="51985"/>
                      <a:pt x="3874" y="34868"/>
                    </a:cubicBezTo>
                    <a:cubicBezTo>
                      <a:pt x="3874" y="17750"/>
                      <a:pt x="17750" y="3874"/>
                      <a:pt x="34868" y="3874"/>
                    </a:cubicBezTo>
                    <a:cubicBezTo>
                      <a:pt x="51985" y="3874"/>
                      <a:pt x="65861" y="17750"/>
                      <a:pt x="65861" y="34868"/>
                    </a:cubicBezTo>
                    <a:cubicBezTo>
                      <a:pt x="65841" y="51976"/>
                      <a:pt x="51976" y="65841"/>
                      <a:pt x="34868" y="65861"/>
                    </a:cubicBezTo>
                    <a:close/>
                  </a:path>
                </a:pathLst>
              </a:custGeom>
              <a:solidFill>
                <a:srgbClr val="0078D7"/>
              </a:solidFill>
              <a:ln w="1885" cap="flat">
                <a:solidFill>
                  <a:srgbClr val="0078D7"/>
                </a:solidFill>
                <a:prstDash val="solid"/>
                <a:miter/>
              </a:ln>
            </p:spPr>
            <p:txBody>
              <a:bodyPr rtlCol="0" anchor="ctr"/>
              <a:lstStyle/>
              <a:p>
                <a:endParaRPr lang="en-US"/>
              </a:p>
            </p:txBody>
          </p:sp>
        </p:grpSp>
        <p:sp>
          <p:nvSpPr>
            <p:cNvPr id="219" name="Rectangle 218">
              <a:extLst>
                <a:ext uri="{FF2B5EF4-FFF2-40B4-BE49-F238E27FC236}">
                  <a16:creationId xmlns:a16="http://schemas.microsoft.com/office/drawing/2014/main" id="{632047DA-DC45-497F-8016-443F8975D873}"/>
                </a:ext>
              </a:extLst>
            </p:cNvPr>
            <p:cNvSpPr/>
            <p:nvPr/>
          </p:nvSpPr>
          <p:spPr bwMode="auto">
            <a:xfrm>
              <a:off x="1422947" y="6157764"/>
              <a:ext cx="99047" cy="56180"/>
            </a:xfrm>
            <a:prstGeom prst="rect">
              <a:avLst/>
            </a:prstGeom>
            <a:solidFill>
              <a:schemeClr val="bg1"/>
            </a:solidFill>
            <a:ln w="63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400" b="1">
                  <a:solidFill>
                    <a:srgbClr val="0078D7"/>
                  </a:solidFill>
                  <a:latin typeface="Segoe UI Black" panose="020B0A02040204020203" pitchFamily="34" charset="0"/>
                  <a:ea typeface="Segoe UI Black" panose="020B0A02040204020203" pitchFamily="34" charset="0"/>
                  <a:cs typeface="Segoe UI" pitchFamily="34" charset="0"/>
                </a:rPr>
                <a:t>HD</a:t>
              </a:r>
            </a:p>
          </p:txBody>
        </p:sp>
      </p:grpSp>
      <p:sp>
        <p:nvSpPr>
          <p:cNvPr id="223" name="Microphone_E720">
            <a:extLst>
              <a:ext uri="{FF2B5EF4-FFF2-40B4-BE49-F238E27FC236}">
                <a16:creationId xmlns:a16="http://schemas.microsoft.com/office/drawing/2014/main" id="{0A9619A2-FA52-46ED-80C3-BF07910E08EB}"/>
              </a:ext>
              <a:ext uri="{C183D7F6-B498-43B3-948B-1728B52AA6E4}">
                <adec:decorative xmlns:adec="http://schemas.microsoft.com/office/drawing/2017/decorative" val="1"/>
              </a:ext>
            </a:extLst>
          </p:cNvPr>
          <p:cNvSpPr>
            <a:spLocks noChangeAspect="1" noEditPoints="1"/>
          </p:cNvSpPr>
          <p:nvPr/>
        </p:nvSpPr>
        <p:spPr bwMode="auto">
          <a:xfrm>
            <a:off x="4955520" y="2952440"/>
            <a:ext cx="99032" cy="148619"/>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6350" cap="flat">
            <a:solidFill>
              <a:srgbClr val="0078D7"/>
            </a:solidFill>
            <a:prstDash val="solid"/>
            <a:miter/>
          </a:ln>
        </p:spPr>
        <p:txBody>
          <a:bodyPr vert="horz" wrap="square" lIns="91427" tIns="45713" rIns="91427" bIns="45713" numCol="1" anchor="t" anchorCtr="0" compatLnSpc="1">
            <a:prstTxWarp prst="textNoShape">
              <a:avLst/>
            </a:prstTxWarp>
          </a:bodyPr>
          <a:lstStyle/>
          <a:p>
            <a:endParaRPr lang="en-US"/>
          </a:p>
        </p:txBody>
      </p:sp>
      <p:pic>
        <p:nvPicPr>
          <p:cNvPr id="224" name="Graphic 223">
            <a:extLst>
              <a:ext uri="{FF2B5EF4-FFF2-40B4-BE49-F238E27FC236}">
                <a16:creationId xmlns:a16="http://schemas.microsoft.com/office/drawing/2014/main" id="{93DA3C69-825A-47B1-9AF0-3A1660D25D6B}"/>
              </a:ext>
              <a:ext uri="{C183D7F6-B498-43B3-948B-1728B52AA6E4}">
                <adec:decorative xmlns:adec="http://schemas.microsoft.com/office/drawing/2017/decorative" val="1"/>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flipH="1">
            <a:off x="11696245" y="2946442"/>
            <a:ext cx="59661" cy="155114"/>
          </a:xfrm>
          <a:prstGeom prst="rect">
            <a:avLst/>
          </a:prstGeom>
        </p:spPr>
      </p:pic>
      <p:grpSp>
        <p:nvGrpSpPr>
          <p:cNvPr id="225" name="Group 224">
            <a:extLst>
              <a:ext uri="{FF2B5EF4-FFF2-40B4-BE49-F238E27FC236}">
                <a16:creationId xmlns:a16="http://schemas.microsoft.com/office/drawing/2014/main" id="{5200BF54-7815-4D90-A18E-8D557618B214}"/>
              </a:ext>
              <a:ext uri="{C183D7F6-B498-43B3-948B-1728B52AA6E4}">
                <adec:decorative xmlns:adec="http://schemas.microsoft.com/office/drawing/2017/decorative" val="1"/>
              </a:ext>
            </a:extLst>
          </p:cNvPr>
          <p:cNvGrpSpPr/>
          <p:nvPr/>
        </p:nvGrpSpPr>
        <p:grpSpPr>
          <a:xfrm>
            <a:off x="11814643" y="2946443"/>
            <a:ext cx="155822" cy="155818"/>
            <a:chOff x="3398698" y="3484566"/>
            <a:chExt cx="590092" cy="571501"/>
          </a:xfrm>
          <a:solidFill>
            <a:srgbClr val="0078D7"/>
          </a:solidFill>
        </p:grpSpPr>
        <p:sp>
          <p:nvSpPr>
            <p:cNvPr id="226" name="Freeform 127">
              <a:extLst>
                <a:ext uri="{FF2B5EF4-FFF2-40B4-BE49-F238E27FC236}">
                  <a16:creationId xmlns:a16="http://schemas.microsoft.com/office/drawing/2014/main" id="{2A6E41FC-ED25-44C7-81FE-01618E9A54D1}"/>
                </a:ext>
              </a:extLst>
            </p:cNvPr>
            <p:cNvSpPr>
              <a:spLocks noChangeArrowheads="1"/>
            </p:cNvSpPr>
            <p:nvPr/>
          </p:nvSpPr>
          <p:spPr bwMode="auto">
            <a:xfrm>
              <a:off x="3605636" y="3484566"/>
              <a:ext cx="298450" cy="571501"/>
            </a:xfrm>
            <a:custGeom>
              <a:avLst/>
              <a:gdLst>
                <a:gd name="T0" fmla="*/ 257 w 828"/>
                <a:gd name="T1" fmla="*/ 1396 h 1586"/>
                <a:gd name="T2" fmla="*/ 263 w 828"/>
                <a:gd name="T3" fmla="*/ 1388 h 1586"/>
                <a:gd name="T4" fmla="*/ 791 w 828"/>
                <a:gd name="T5" fmla="*/ 251 h 1586"/>
                <a:gd name="T6" fmla="*/ 793 w 828"/>
                <a:gd name="T7" fmla="*/ 192 h 1586"/>
                <a:gd name="T8" fmla="*/ 799 w 828"/>
                <a:gd name="T9" fmla="*/ 178 h 1586"/>
                <a:gd name="T10" fmla="*/ 743 w 828"/>
                <a:gd name="T11" fmla="*/ 26 h 1586"/>
                <a:gd name="T12" fmla="*/ 590 w 828"/>
                <a:gd name="T13" fmla="*/ 79 h 1586"/>
                <a:gd name="T14" fmla="*/ 435 w 828"/>
                <a:gd name="T15" fmla="*/ 139 h 1586"/>
                <a:gd name="T16" fmla="*/ 235 w 828"/>
                <a:gd name="T17" fmla="*/ 567 h 1586"/>
                <a:gd name="T18" fmla="*/ 249 w 828"/>
                <a:gd name="T19" fmla="*/ 604 h 1586"/>
                <a:gd name="T20" fmla="*/ 285 w 828"/>
                <a:gd name="T21" fmla="*/ 590 h 1586"/>
                <a:gd name="T22" fmla="*/ 486 w 828"/>
                <a:gd name="T23" fmla="*/ 161 h 1586"/>
                <a:gd name="T24" fmla="*/ 545 w 828"/>
                <a:gd name="T25" fmla="*/ 124 h 1586"/>
                <a:gd name="T26" fmla="*/ 539 w 828"/>
                <a:gd name="T27" fmla="*/ 136 h 1586"/>
                <a:gd name="T28" fmla="*/ 12 w 828"/>
                <a:gd name="T29" fmla="*/ 1269 h 1586"/>
                <a:gd name="T30" fmla="*/ 6 w 828"/>
                <a:gd name="T31" fmla="*/ 1314 h 1586"/>
                <a:gd name="T32" fmla="*/ 0 w 828"/>
                <a:gd name="T33" fmla="*/ 1548 h 1586"/>
                <a:gd name="T34" fmla="*/ 20 w 828"/>
                <a:gd name="T35" fmla="*/ 1579 h 1586"/>
                <a:gd name="T36" fmla="*/ 57 w 828"/>
                <a:gd name="T37" fmla="*/ 1574 h 1586"/>
                <a:gd name="T38" fmla="*/ 246 w 828"/>
                <a:gd name="T39" fmla="*/ 1410 h 1586"/>
                <a:gd name="T40" fmla="*/ 257 w 828"/>
                <a:gd name="T41" fmla="*/ 1396 h 1586"/>
                <a:gd name="T42" fmla="*/ 74 w 828"/>
                <a:gd name="T43" fmla="*/ 1306 h 1586"/>
                <a:gd name="T44" fmla="*/ 74 w 828"/>
                <a:gd name="T45" fmla="*/ 1300 h 1586"/>
                <a:gd name="T46" fmla="*/ 74 w 828"/>
                <a:gd name="T47" fmla="*/ 1297 h 1586"/>
                <a:gd name="T48" fmla="*/ 601 w 828"/>
                <a:gd name="T49" fmla="*/ 167 h 1586"/>
                <a:gd name="T50" fmla="*/ 610 w 828"/>
                <a:gd name="T51" fmla="*/ 164 h 1586"/>
                <a:gd name="T52" fmla="*/ 723 w 828"/>
                <a:gd name="T53" fmla="*/ 215 h 1586"/>
                <a:gd name="T54" fmla="*/ 726 w 828"/>
                <a:gd name="T55" fmla="*/ 223 h 1586"/>
                <a:gd name="T56" fmla="*/ 198 w 828"/>
                <a:gd name="T57" fmla="*/ 1357 h 1586"/>
                <a:gd name="T58" fmla="*/ 189 w 828"/>
                <a:gd name="T59" fmla="*/ 1359 h 1586"/>
                <a:gd name="T60" fmla="*/ 74 w 828"/>
                <a:gd name="T61" fmla="*/ 1306 h 1586"/>
                <a:gd name="T62" fmla="*/ 720 w 828"/>
                <a:gd name="T63" fmla="*/ 76 h 1586"/>
                <a:gd name="T64" fmla="*/ 751 w 828"/>
                <a:gd name="T65" fmla="*/ 150 h 1586"/>
                <a:gd name="T66" fmla="*/ 644 w 828"/>
                <a:gd name="T67" fmla="*/ 99 h 1586"/>
                <a:gd name="T68" fmla="*/ 720 w 828"/>
                <a:gd name="T69" fmla="*/ 76 h 1586"/>
                <a:gd name="T70" fmla="*/ 71 w 828"/>
                <a:gd name="T71" fmla="*/ 1472 h 1586"/>
                <a:gd name="T72" fmla="*/ 74 w 828"/>
                <a:gd name="T73" fmla="*/ 1385 h 1586"/>
                <a:gd name="T74" fmla="*/ 139 w 828"/>
                <a:gd name="T75" fmla="*/ 1416 h 1586"/>
                <a:gd name="T76" fmla="*/ 71 w 828"/>
                <a:gd name="T77" fmla="*/ 1472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28" h="1586">
                  <a:moveTo>
                    <a:pt x="257" y="1396"/>
                  </a:moveTo>
                  <a:cubicBezTo>
                    <a:pt x="260" y="1393"/>
                    <a:pt x="260" y="1390"/>
                    <a:pt x="263" y="1388"/>
                  </a:cubicBezTo>
                  <a:lnTo>
                    <a:pt x="791" y="251"/>
                  </a:lnTo>
                  <a:cubicBezTo>
                    <a:pt x="799" y="232"/>
                    <a:pt x="799" y="212"/>
                    <a:pt x="793" y="192"/>
                  </a:cubicBezTo>
                  <a:lnTo>
                    <a:pt x="799" y="178"/>
                  </a:lnTo>
                  <a:cubicBezTo>
                    <a:pt x="827" y="122"/>
                    <a:pt x="802" y="51"/>
                    <a:pt x="743" y="26"/>
                  </a:cubicBezTo>
                  <a:cubicBezTo>
                    <a:pt x="686" y="0"/>
                    <a:pt x="618" y="23"/>
                    <a:pt x="590" y="79"/>
                  </a:cubicBezTo>
                  <a:cubicBezTo>
                    <a:pt x="531" y="54"/>
                    <a:pt x="460" y="79"/>
                    <a:pt x="435" y="139"/>
                  </a:cubicBezTo>
                  <a:lnTo>
                    <a:pt x="235" y="567"/>
                  </a:lnTo>
                  <a:cubicBezTo>
                    <a:pt x="229" y="582"/>
                    <a:pt x="235" y="598"/>
                    <a:pt x="249" y="604"/>
                  </a:cubicBezTo>
                  <a:cubicBezTo>
                    <a:pt x="263" y="609"/>
                    <a:pt x="280" y="604"/>
                    <a:pt x="285" y="590"/>
                  </a:cubicBezTo>
                  <a:lnTo>
                    <a:pt x="486" y="161"/>
                  </a:lnTo>
                  <a:cubicBezTo>
                    <a:pt x="497" y="139"/>
                    <a:pt x="522" y="124"/>
                    <a:pt x="545" y="124"/>
                  </a:cubicBezTo>
                  <a:cubicBezTo>
                    <a:pt x="542" y="127"/>
                    <a:pt x="539" y="130"/>
                    <a:pt x="539" y="136"/>
                  </a:cubicBezTo>
                  <a:lnTo>
                    <a:pt x="12" y="1269"/>
                  </a:lnTo>
                  <a:cubicBezTo>
                    <a:pt x="6" y="1283"/>
                    <a:pt x="3" y="1300"/>
                    <a:pt x="6" y="1314"/>
                  </a:cubicBezTo>
                  <a:lnTo>
                    <a:pt x="0" y="1548"/>
                  </a:lnTo>
                  <a:cubicBezTo>
                    <a:pt x="0" y="1563"/>
                    <a:pt x="9" y="1574"/>
                    <a:pt x="20" y="1579"/>
                  </a:cubicBezTo>
                  <a:cubicBezTo>
                    <a:pt x="31" y="1585"/>
                    <a:pt x="48" y="1582"/>
                    <a:pt x="57" y="1574"/>
                  </a:cubicBezTo>
                  <a:lnTo>
                    <a:pt x="246" y="1410"/>
                  </a:lnTo>
                  <a:cubicBezTo>
                    <a:pt x="252" y="1407"/>
                    <a:pt x="254" y="1402"/>
                    <a:pt x="257" y="1396"/>
                  </a:cubicBezTo>
                  <a:close/>
                  <a:moveTo>
                    <a:pt x="74" y="1306"/>
                  </a:moveTo>
                  <a:lnTo>
                    <a:pt x="74" y="1300"/>
                  </a:lnTo>
                  <a:cubicBezTo>
                    <a:pt x="74" y="1300"/>
                    <a:pt x="74" y="1300"/>
                    <a:pt x="74" y="1297"/>
                  </a:cubicBezTo>
                  <a:lnTo>
                    <a:pt x="601" y="167"/>
                  </a:lnTo>
                  <a:cubicBezTo>
                    <a:pt x="604" y="164"/>
                    <a:pt x="607" y="161"/>
                    <a:pt x="610" y="164"/>
                  </a:cubicBezTo>
                  <a:lnTo>
                    <a:pt x="723" y="215"/>
                  </a:lnTo>
                  <a:cubicBezTo>
                    <a:pt x="726" y="218"/>
                    <a:pt x="728" y="220"/>
                    <a:pt x="726" y="223"/>
                  </a:cubicBezTo>
                  <a:lnTo>
                    <a:pt x="198" y="1357"/>
                  </a:lnTo>
                  <a:cubicBezTo>
                    <a:pt x="195" y="1359"/>
                    <a:pt x="192" y="1362"/>
                    <a:pt x="189" y="1359"/>
                  </a:cubicBezTo>
                  <a:lnTo>
                    <a:pt x="74" y="1306"/>
                  </a:lnTo>
                  <a:close/>
                  <a:moveTo>
                    <a:pt x="720" y="76"/>
                  </a:moveTo>
                  <a:cubicBezTo>
                    <a:pt x="748" y="91"/>
                    <a:pt x="760" y="122"/>
                    <a:pt x="751" y="150"/>
                  </a:cubicBezTo>
                  <a:lnTo>
                    <a:pt x="644" y="99"/>
                  </a:lnTo>
                  <a:cubicBezTo>
                    <a:pt x="658" y="74"/>
                    <a:pt x="692" y="65"/>
                    <a:pt x="720" y="76"/>
                  </a:cubicBezTo>
                  <a:close/>
                  <a:moveTo>
                    <a:pt x="71" y="1472"/>
                  </a:moveTo>
                  <a:lnTo>
                    <a:pt x="74" y="1385"/>
                  </a:lnTo>
                  <a:lnTo>
                    <a:pt x="139" y="1416"/>
                  </a:lnTo>
                  <a:lnTo>
                    <a:pt x="71" y="1472"/>
                  </a:lnTo>
                  <a:close/>
                </a:path>
              </a:pathLst>
            </a:custGeom>
            <a:solidFill>
              <a:srgbClr val="0078D7"/>
            </a:solidFill>
            <a:ln w="3175">
              <a:noFill/>
            </a:ln>
            <a:effectLst/>
          </p:spPr>
          <p:txBody>
            <a:bodyPr wrap="none" anchor="ctr"/>
            <a:lstStyle/>
            <a:p>
              <a:pPr algn="ctr" defTabSz="895526">
                <a:defRPr/>
              </a:pPr>
              <a:endParaRPr lang="en-US" sz="2353" u="sng" kern="0">
                <a:latin typeface="+mj-lt"/>
              </a:endParaRPr>
            </a:p>
          </p:txBody>
        </p:sp>
        <p:sp>
          <p:nvSpPr>
            <p:cNvPr id="227" name="Freeform 128">
              <a:extLst>
                <a:ext uri="{FF2B5EF4-FFF2-40B4-BE49-F238E27FC236}">
                  <a16:creationId xmlns:a16="http://schemas.microsoft.com/office/drawing/2014/main" id="{05679E5B-7AB7-4469-BEA3-5F3169AA156B}"/>
                </a:ext>
              </a:extLst>
            </p:cNvPr>
            <p:cNvSpPr>
              <a:spLocks noChangeArrowheads="1"/>
            </p:cNvSpPr>
            <p:nvPr/>
          </p:nvSpPr>
          <p:spPr bwMode="auto">
            <a:xfrm>
              <a:off x="3398698" y="3795726"/>
              <a:ext cx="257176" cy="258763"/>
            </a:xfrm>
            <a:custGeom>
              <a:avLst/>
              <a:gdLst>
                <a:gd name="T0" fmla="*/ 432 w 715"/>
                <a:gd name="T1" fmla="*/ 643 h 720"/>
                <a:gd name="T2" fmla="*/ 288 w 715"/>
                <a:gd name="T3" fmla="*/ 618 h 720"/>
                <a:gd name="T4" fmla="*/ 149 w 715"/>
                <a:gd name="T5" fmla="*/ 239 h 720"/>
                <a:gd name="T6" fmla="*/ 327 w 715"/>
                <a:gd name="T7" fmla="*/ 87 h 720"/>
                <a:gd name="T8" fmla="*/ 657 w 715"/>
                <a:gd name="T9" fmla="*/ 76 h 720"/>
                <a:gd name="T10" fmla="*/ 683 w 715"/>
                <a:gd name="T11" fmla="*/ 76 h 720"/>
                <a:gd name="T12" fmla="*/ 714 w 715"/>
                <a:gd name="T13" fmla="*/ 8 h 720"/>
                <a:gd name="T14" fmla="*/ 657 w 715"/>
                <a:gd name="T15" fmla="*/ 5 h 720"/>
                <a:gd name="T16" fmla="*/ 305 w 715"/>
                <a:gd name="T17" fmla="*/ 19 h 720"/>
                <a:gd name="T18" fmla="*/ 82 w 715"/>
                <a:gd name="T19" fmla="*/ 211 h 720"/>
                <a:gd name="T20" fmla="*/ 254 w 715"/>
                <a:gd name="T21" fmla="*/ 682 h 720"/>
                <a:gd name="T22" fmla="*/ 434 w 715"/>
                <a:gd name="T23" fmla="*/ 713 h 720"/>
                <a:gd name="T24" fmla="*/ 465 w 715"/>
                <a:gd name="T25" fmla="*/ 677 h 720"/>
                <a:gd name="T26" fmla="*/ 432 w 715"/>
                <a:gd name="T27" fmla="*/ 643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5" h="720">
                  <a:moveTo>
                    <a:pt x="432" y="643"/>
                  </a:moveTo>
                  <a:cubicBezTo>
                    <a:pt x="384" y="646"/>
                    <a:pt x="333" y="637"/>
                    <a:pt x="288" y="618"/>
                  </a:cubicBezTo>
                  <a:cubicBezTo>
                    <a:pt x="147" y="550"/>
                    <a:pt x="84" y="381"/>
                    <a:pt x="149" y="239"/>
                  </a:cubicBezTo>
                  <a:cubicBezTo>
                    <a:pt x="183" y="166"/>
                    <a:pt x="248" y="110"/>
                    <a:pt x="327" y="87"/>
                  </a:cubicBezTo>
                  <a:cubicBezTo>
                    <a:pt x="353" y="79"/>
                    <a:pt x="429" y="73"/>
                    <a:pt x="657" y="76"/>
                  </a:cubicBezTo>
                  <a:lnTo>
                    <a:pt x="683" y="76"/>
                  </a:lnTo>
                  <a:lnTo>
                    <a:pt x="714" y="8"/>
                  </a:lnTo>
                  <a:lnTo>
                    <a:pt x="657" y="5"/>
                  </a:lnTo>
                  <a:cubicBezTo>
                    <a:pt x="398" y="0"/>
                    <a:pt x="333" y="11"/>
                    <a:pt x="305" y="19"/>
                  </a:cubicBezTo>
                  <a:cubicBezTo>
                    <a:pt x="206" y="48"/>
                    <a:pt x="127" y="118"/>
                    <a:pt x="82" y="211"/>
                  </a:cubicBezTo>
                  <a:cubicBezTo>
                    <a:pt x="0" y="389"/>
                    <a:pt x="76" y="601"/>
                    <a:pt x="254" y="682"/>
                  </a:cubicBezTo>
                  <a:cubicBezTo>
                    <a:pt x="310" y="708"/>
                    <a:pt x="372" y="719"/>
                    <a:pt x="434" y="713"/>
                  </a:cubicBezTo>
                  <a:cubicBezTo>
                    <a:pt x="454" y="711"/>
                    <a:pt x="468" y="694"/>
                    <a:pt x="465" y="677"/>
                  </a:cubicBezTo>
                  <a:cubicBezTo>
                    <a:pt x="468" y="654"/>
                    <a:pt x="451" y="640"/>
                    <a:pt x="432" y="643"/>
                  </a:cubicBezTo>
                </a:path>
              </a:pathLst>
            </a:custGeom>
            <a:grpFill/>
            <a:ln w="0">
              <a:solidFill>
                <a:schemeClr val="bg1"/>
              </a:solidFill>
            </a:ln>
            <a:effectLst/>
          </p:spPr>
          <p:txBody>
            <a:bodyPr wrap="none" anchor="ctr"/>
            <a:lstStyle/>
            <a:p>
              <a:pPr algn="ctr" defTabSz="895526">
                <a:defRPr/>
              </a:pPr>
              <a:endParaRPr lang="en-US" sz="2353" u="sng" kern="0">
                <a:latin typeface="+mj-lt"/>
              </a:endParaRPr>
            </a:p>
          </p:txBody>
        </p:sp>
        <p:sp>
          <p:nvSpPr>
            <p:cNvPr id="228" name="Freeform 129">
              <a:extLst>
                <a:ext uri="{FF2B5EF4-FFF2-40B4-BE49-F238E27FC236}">
                  <a16:creationId xmlns:a16="http://schemas.microsoft.com/office/drawing/2014/main" id="{996F90E5-AB1B-4498-A258-ED2CA3A751C9}"/>
                </a:ext>
              </a:extLst>
            </p:cNvPr>
            <p:cNvSpPr>
              <a:spLocks noChangeArrowheads="1"/>
            </p:cNvSpPr>
            <p:nvPr/>
          </p:nvSpPr>
          <p:spPr bwMode="auto">
            <a:xfrm>
              <a:off x="3791941" y="3670301"/>
              <a:ext cx="196849" cy="160338"/>
            </a:xfrm>
            <a:custGeom>
              <a:avLst/>
              <a:gdLst>
                <a:gd name="T0" fmla="*/ 398 w 548"/>
                <a:gd name="T1" fmla="*/ 37 h 444"/>
                <a:gd name="T2" fmla="*/ 166 w 548"/>
                <a:gd name="T3" fmla="*/ 74 h 444"/>
                <a:gd name="T4" fmla="*/ 144 w 548"/>
                <a:gd name="T5" fmla="*/ 119 h 444"/>
                <a:gd name="T6" fmla="*/ 155 w 548"/>
                <a:gd name="T7" fmla="*/ 136 h 444"/>
                <a:gd name="T8" fmla="*/ 203 w 548"/>
                <a:gd name="T9" fmla="*/ 133 h 444"/>
                <a:gd name="T10" fmla="*/ 367 w 548"/>
                <a:gd name="T11" fmla="*/ 99 h 444"/>
                <a:gd name="T12" fmla="*/ 434 w 548"/>
                <a:gd name="T13" fmla="*/ 285 h 444"/>
                <a:gd name="T14" fmla="*/ 234 w 548"/>
                <a:gd name="T15" fmla="*/ 369 h 444"/>
                <a:gd name="T16" fmla="*/ 50 w 548"/>
                <a:gd name="T17" fmla="*/ 364 h 444"/>
                <a:gd name="T18" fmla="*/ 31 w 548"/>
                <a:gd name="T19" fmla="*/ 364 h 444"/>
                <a:gd name="T20" fmla="*/ 0 w 548"/>
                <a:gd name="T21" fmla="*/ 431 h 444"/>
                <a:gd name="T22" fmla="*/ 50 w 548"/>
                <a:gd name="T23" fmla="*/ 434 h 444"/>
                <a:gd name="T24" fmla="*/ 237 w 548"/>
                <a:gd name="T25" fmla="*/ 440 h 444"/>
                <a:gd name="T26" fmla="*/ 502 w 548"/>
                <a:gd name="T27" fmla="*/ 317 h 444"/>
                <a:gd name="T28" fmla="*/ 398 w 548"/>
                <a:gd name="T29" fmla="*/ 3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8" h="444">
                  <a:moveTo>
                    <a:pt x="398" y="37"/>
                  </a:moveTo>
                  <a:cubicBezTo>
                    <a:pt x="321" y="0"/>
                    <a:pt x="228" y="17"/>
                    <a:pt x="166" y="74"/>
                  </a:cubicBezTo>
                  <a:lnTo>
                    <a:pt x="144" y="119"/>
                  </a:lnTo>
                  <a:cubicBezTo>
                    <a:pt x="146" y="125"/>
                    <a:pt x="149" y="130"/>
                    <a:pt x="155" y="136"/>
                  </a:cubicBezTo>
                  <a:cubicBezTo>
                    <a:pt x="169" y="150"/>
                    <a:pt x="192" y="147"/>
                    <a:pt x="203" y="133"/>
                  </a:cubicBezTo>
                  <a:cubicBezTo>
                    <a:pt x="242" y="88"/>
                    <a:pt x="310" y="74"/>
                    <a:pt x="367" y="99"/>
                  </a:cubicBezTo>
                  <a:cubicBezTo>
                    <a:pt x="437" y="133"/>
                    <a:pt x="468" y="215"/>
                    <a:pt x="434" y="285"/>
                  </a:cubicBezTo>
                  <a:cubicBezTo>
                    <a:pt x="400" y="358"/>
                    <a:pt x="307" y="369"/>
                    <a:pt x="234" y="369"/>
                  </a:cubicBezTo>
                  <a:cubicBezTo>
                    <a:pt x="189" y="369"/>
                    <a:pt x="127" y="366"/>
                    <a:pt x="50" y="364"/>
                  </a:cubicBezTo>
                  <a:lnTo>
                    <a:pt x="31" y="364"/>
                  </a:lnTo>
                  <a:lnTo>
                    <a:pt x="0" y="431"/>
                  </a:lnTo>
                  <a:lnTo>
                    <a:pt x="50" y="434"/>
                  </a:lnTo>
                  <a:cubicBezTo>
                    <a:pt x="127" y="437"/>
                    <a:pt x="192" y="440"/>
                    <a:pt x="237" y="440"/>
                  </a:cubicBezTo>
                  <a:cubicBezTo>
                    <a:pt x="369" y="443"/>
                    <a:pt x="463" y="400"/>
                    <a:pt x="502" y="317"/>
                  </a:cubicBezTo>
                  <a:cubicBezTo>
                    <a:pt x="547" y="212"/>
                    <a:pt x="502" y="88"/>
                    <a:pt x="398" y="37"/>
                  </a:cubicBezTo>
                </a:path>
              </a:pathLst>
            </a:custGeom>
            <a:grpFill/>
            <a:ln w="0">
              <a:solidFill>
                <a:schemeClr val="bg1"/>
              </a:solidFill>
            </a:ln>
            <a:effectLst/>
          </p:spPr>
          <p:txBody>
            <a:bodyPr wrap="none" anchor="ctr"/>
            <a:lstStyle/>
            <a:p>
              <a:pPr algn="ctr" defTabSz="895526">
                <a:defRPr/>
              </a:pPr>
              <a:endParaRPr lang="en-US" sz="2353" u="sng" kern="0">
                <a:latin typeface="+mj-lt"/>
              </a:endParaRPr>
            </a:p>
          </p:txBody>
        </p:sp>
      </p:grpSp>
      <p:pic>
        <p:nvPicPr>
          <p:cNvPr id="229" name="Graphic 228">
            <a:extLst>
              <a:ext uri="{FF2B5EF4-FFF2-40B4-BE49-F238E27FC236}">
                <a16:creationId xmlns:a16="http://schemas.microsoft.com/office/drawing/2014/main" id="{C323258C-89AB-458F-A53E-854B2173D7A6}"/>
              </a:ext>
              <a:ext uri="{C183D7F6-B498-43B3-948B-1728B52AA6E4}">
                <adec:decorative xmlns:adec="http://schemas.microsoft.com/office/drawing/2017/decorative" val="1"/>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860707" y="2918504"/>
            <a:ext cx="130118" cy="190839"/>
          </a:xfrm>
          <a:prstGeom prst="rect">
            <a:avLst/>
          </a:prstGeom>
        </p:spPr>
      </p:pic>
      <p:grpSp>
        <p:nvGrpSpPr>
          <p:cNvPr id="230" name="Group 229">
            <a:extLst>
              <a:ext uri="{FF2B5EF4-FFF2-40B4-BE49-F238E27FC236}">
                <a16:creationId xmlns:a16="http://schemas.microsoft.com/office/drawing/2014/main" id="{8223AE0F-1A9F-48A3-BF58-A0E4543E534D}"/>
              </a:ext>
              <a:ext uri="{C183D7F6-B498-43B3-948B-1728B52AA6E4}">
                <adec:decorative xmlns:adec="http://schemas.microsoft.com/office/drawing/2017/decorative" val="1"/>
              </a:ext>
            </a:extLst>
          </p:cNvPr>
          <p:cNvGrpSpPr/>
          <p:nvPr/>
        </p:nvGrpSpPr>
        <p:grpSpPr>
          <a:xfrm flipV="1">
            <a:off x="11509605" y="2941428"/>
            <a:ext cx="124030" cy="150885"/>
            <a:chOff x="4097631" y="3947487"/>
            <a:chExt cx="213407" cy="91440"/>
          </a:xfrm>
          <a:solidFill>
            <a:srgbClr val="0078D7"/>
          </a:solidFill>
        </p:grpSpPr>
        <p:sp>
          <p:nvSpPr>
            <p:cNvPr id="231" name="Rectangle 230">
              <a:extLst>
                <a:ext uri="{FF2B5EF4-FFF2-40B4-BE49-F238E27FC236}">
                  <a16:creationId xmlns:a16="http://schemas.microsoft.com/office/drawing/2014/main" id="{4C269F9B-2AC6-492E-8E43-AF957B7EEA8B}"/>
                </a:ext>
              </a:extLst>
            </p:cNvPr>
            <p:cNvSpPr/>
            <p:nvPr/>
          </p:nvSpPr>
          <p:spPr bwMode="auto">
            <a:xfrm>
              <a:off x="4097631" y="3947498"/>
              <a:ext cx="45719" cy="2852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2" name="Rectangle 231">
              <a:extLst>
                <a:ext uri="{FF2B5EF4-FFF2-40B4-BE49-F238E27FC236}">
                  <a16:creationId xmlns:a16="http://schemas.microsoft.com/office/drawing/2014/main" id="{307361BB-0428-4D6F-B96C-7710106AEDB5}"/>
                </a:ext>
              </a:extLst>
            </p:cNvPr>
            <p:cNvSpPr/>
            <p:nvPr/>
          </p:nvSpPr>
          <p:spPr bwMode="auto">
            <a:xfrm>
              <a:off x="4153527" y="3947490"/>
              <a:ext cx="45719" cy="484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3" name="Rectangle 232">
              <a:extLst>
                <a:ext uri="{FF2B5EF4-FFF2-40B4-BE49-F238E27FC236}">
                  <a16:creationId xmlns:a16="http://schemas.microsoft.com/office/drawing/2014/main" id="{CC3ADB80-C841-403B-B8B3-6C4045F690CF}"/>
                </a:ext>
              </a:extLst>
            </p:cNvPr>
            <p:cNvSpPr/>
            <p:nvPr/>
          </p:nvSpPr>
          <p:spPr bwMode="auto">
            <a:xfrm>
              <a:off x="4209547" y="3947487"/>
              <a:ext cx="45719" cy="6867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4" name="Rectangle 233">
              <a:extLst>
                <a:ext uri="{FF2B5EF4-FFF2-40B4-BE49-F238E27FC236}">
                  <a16:creationId xmlns:a16="http://schemas.microsoft.com/office/drawing/2014/main" id="{921A3668-AE50-452D-81B9-FD5EFEBF1569}"/>
                </a:ext>
              </a:extLst>
            </p:cNvPr>
            <p:cNvSpPr/>
            <p:nvPr/>
          </p:nvSpPr>
          <p:spPr bwMode="auto">
            <a:xfrm>
              <a:off x="4265319" y="3947487"/>
              <a:ext cx="45719" cy="914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5" name="Graphic 305">
            <a:extLst>
              <a:ext uri="{FF2B5EF4-FFF2-40B4-BE49-F238E27FC236}">
                <a16:creationId xmlns:a16="http://schemas.microsoft.com/office/drawing/2014/main" id="{8B2F33B2-2BC4-4C65-A6F9-0A10CDB932CF}"/>
              </a:ext>
              <a:ext uri="{C183D7F6-B498-43B3-948B-1728B52AA6E4}">
                <adec:decorative xmlns:adec="http://schemas.microsoft.com/office/drawing/2017/decorative" val="1"/>
              </a:ext>
            </a:extLst>
          </p:cNvPr>
          <p:cNvGrpSpPr/>
          <p:nvPr/>
        </p:nvGrpSpPr>
        <p:grpSpPr>
          <a:xfrm>
            <a:off x="10466869" y="2994513"/>
            <a:ext cx="142852" cy="47312"/>
            <a:chOff x="3845953" y="3735365"/>
            <a:chExt cx="142873" cy="47319"/>
          </a:xfrm>
          <a:solidFill>
            <a:srgbClr val="0078D7"/>
          </a:solidFill>
        </p:grpSpPr>
        <p:sp>
          <p:nvSpPr>
            <p:cNvPr id="236" name="Freeform: Shape 235">
              <a:extLst>
                <a:ext uri="{FF2B5EF4-FFF2-40B4-BE49-F238E27FC236}">
                  <a16:creationId xmlns:a16="http://schemas.microsoft.com/office/drawing/2014/main" id="{56F228D5-591F-4B0B-98FF-001DE8880055}"/>
                </a:ext>
              </a:extLst>
            </p:cNvPr>
            <p:cNvSpPr/>
            <p:nvPr/>
          </p:nvSpPr>
          <p:spPr>
            <a:xfrm>
              <a:off x="3864127" y="3750853"/>
              <a:ext cx="106583" cy="16287"/>
            </a:xfrm>
            <a:custGeom>
              <a:avLst/>
              <a:gdLst>
                <a:gd name="connsiteX0" fmla="*/ 103783 w 106583"/>
                <a:gd name="connsiteY0" fmla="*/ 0 h 16287"/>
                <a:gd name="connsiteX1" fmla="*/ 106583 w 106583"/>
                <a:gd name="connsiteY1" fmla="*/ 0 h 16287"/>
                <a:gd name="connsiteX2" fmla="*/ 106583 w 106583"/>
                <a:gd name="connsiteY2" fmla="*/ 16287 h 16287"/>
                <a:gd name="connsiteX3" fmla="*/ 103783 w 106583"/>
                <a:gd name="connsiteY3" fmla="*/ 16287 h 16287"/>
                <a:gd name="connsiteX4" fmla="*/ 2800 w 106583"/>
                <a:gd name="connsiteY4" fmla="*/ 16287 h 16287"/>
                <a:gd name="connsiteX5" fmla="*/ 2800 w 106583"/>
                <a:gd name="connsiteY5" fmla="*/ 0 h 16287"/>
                <a:gd name="connsiteX6" fmla="*/ 0 w 106583"/>
                <a:gd name="connsiteY6" fmla="*/ 0 h 16287"/>
                <a:gd name="connsiteX7" fmla="*/ 2800 w 106583"/>
                <a:gd name="connsiteY7" fmla="*/ 0 h 1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583" h="16287">
                  <a:moveTo>
                    <a:pt x="103783" y="0"/>
                  </a:moveTo>
                  <a:cubicBezTo>
                    <a:pt x="105330" y="0"/>
                    <a:pt x="106583" y="0"/>
                    <a:pt x="106583" y="0"/>
                  </a:cubicBezTo>
                  <a:lnTo>
                    <a:pt x="106583" y="16287"/>
                  </a:lnTo>
                  <a:cubicBezTo>
                    <a:pt x="106583" y="16287"/>
                    <a:pt x="105330" y="16287"/>
                    <a:pt x="103783" y="16287"/>
                  </a:cubicBezTo>
                  <a:lnTo>
                    <a:pt x="2800" y="16287"/>
                  </a:lnTo>
                  <a:lnTo>
                    <a:pt x="2800" y="0"/>
                  </a:lnTo>
                  <a:cubicBezTo>
                    <a:pt x="1254" y="0"/>
                    <a:pt x="0" y="0"/>
                    <a:pt x="0" y="0"/>
                  </a:cubicBezTo>
                  <a:cubicBezTo>
                    <a:pt x="0" y="0"/>
                    <a:pt x="1254" y="0"/>
                    <a:pt x="2800" y="0"/>
                  </a:cubicBezTo>
                  <a:close/>
                </a:path>
              </a:pathLst>
            </a:custGeom>
            <a:solidFill>
              <a:srgbClr val="0078D7"/>
            </a:solidFill>
            <a:ln w="5334" cap="flat">
              <a:noFill/>
              <a:prstDash val="solid"/>
              <a:miter/>
            </a:ln>
          </p:spPr>
          <p:txBody>
            <a:bodyPr rtlCol="0" anchor="ctr"/>
            <a:lstStyle/>
            <a:p>
              <a:endParaRPr lang="en-US"/>
            </a:p>
          </p:txBody>
        </p:sp>
        <p:sp>
          <p:nvSpPr>
            <p:cNvPr id="237" name="Freeform: Shape 236">
              <a:extLst>
                <a:ext uri="{FF2B5EF4-FFF2-40B4-BE49-F238E27FC236}">
                  <a16:creationId xmlns:a16="http://schemas.microsoft.com/office/drawing/2014/main" id="{77EA27BF-E55F-464C-8C0D-702A8B8C1658}"/>
                </a:ext>
              </a:extLst>
            </p:cNvPr>
            <p:cNvSpPr/>
            <p:nvPr/>
          </p:nvSpPr>
          <p:spPr>
            <a:xfrm>
              <a:off x="3845953" y="3735365"/>
              <a:ext cx="142873" cy="47319"/>
            </a:xfrm>
            <a:custGeom>
              <a:avLst/>
              <a:gdLst>
                <a:gd name="connsiteX0" fmla="*/ 119213 w 142873"/>
                <a:gd name="connsiteY0" fmla="*/ 0 h 47319"/>
                <a:gd name="connsiteX1" fmla="*/ 23660 w 142873"/>
                <a:gd name="connsiteY1" fmla="*/ 0 h 47319"/>
                <a:gd name="connsiteX2" fmla="*/ 0 w 142873"/>
                <a:gd name="connsiteY2" fmla="*/ 23660 h 47319"/>
                <a:gd name="connsiteX3" fmla="*/ 23660 w 142873"/>
                <a:gd name="connsiteY3" fmla="*/ 47319 h 47319"/>
                <a:gd name="connsiteX4" fmla="*/ 119213 w 142873"/>
                <a:gd name="connsiteY4" fmla="*/ 47319 h 47319"/>
                <a:gd name="connsiteX5" fmla="*/ 142873 w 142873"/>
                <a:gd name="connsiteY5" fmla="*/ 23660 h 47319"/>
                <a:gd name="connsiteX6" fmla="*/ 119213 w 142873"/>
                <a:gd name="connsiteY6" fmla="*/ 0 h 47319"/>
                <a:gd name="connsiteX7" fmla="*/ 133272 w 142873"/>
                <a:gd name="connsiteY7" fmla="*/ 28974 h 47319"/>
                <a:gd name="connsiteX8" fmla="*/ 121842 w 142873"/>
                <a:gd name="connsiteY8" fmla="*/ 40404 h 47319"/>
                <a:gd name="connsiteX9" fmla="*/ 20917 w 142873"/>
                <a:gd name="connsiteY9" fmla="*/ 40404 h 47319"/>
                <a:gd name="connsiteX10" fmla="*/ 9487 w 142873"/>
                <a:gd name="connsiteY10" fmla="*/ 28974 h 47319"/>
                <a:gd name="connsiteX11" fmla="*/ 9487 w 142873"/>
                <a:gd name="connsiteY11" fmla="*/ 18288 h 47319"/>
                <a:gd name="connsiteX12" fmla="*/ 20917 w 142873"/>
                <a:gd name="connsiteY12" fmla="*/ 6858 h 47319"/>
                <a:gd name="connsiteX13" fmla="*/ 121899 w 142873"/>
                <a:gd name="connsiteY13" fmla="*/ 6858 h 47319"/>
                <a:gd name="connsiteX14" fmla="*/ 133329 w 142873"/>
                <a:gd name="connsiteY14" fmla="*/ 18288 h 47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873" h="47319">
                  <a:moveTo>
                    <a:pt x="119213" y="0"/>
                  </a:moveTo>
                  <a:lnTo>
                    <a:pt x="23660" y="0"/>
                  </a:lnTo>
                  <a:cubicBezTo>
                    <a:pt x="10593" y="0"/>
                    <a:pt x="0" y="10593"/>
                    <a:pt x="0" y="23660"/>
                  </a:cubicBezTo>
                  <a:cubicBezTo>
                    <a:pt x="0" y="36726"/>
                    <a:pt x="10593" y="47319"/>
                    <a:pt x="23660" y="47319"/>
                  </a:cubicBezTo>
                  <a:lnTo>
                    <a:pt x="119213" y="47319"/>
                  </a:lnTo>
                  <a:cubicBezTo>
                    <a:pt x="132280" y="47319"/>
                    <a:pt x="142873" y="36726"/>
                    <a:pt x="142873" y="23660"/>
                  </a:cubicBezTo>
                  <a:cubicBezTo>
                    <a:pt x="142873" y="10593"/>
                    <a:pt x="132280" y="0"/>
                    <a:pt x="119213" y="0"/>
                  </a:cubicBezTo>
                  <a:close/>
                  <a:moveTo>
                    <a:pt x="133272" y="28974"/>
                  </a:moveTo>
                  <a:cubicBezTo>
                    <a:pt x="133272" y="35287"/>
                    <a:pt x="128155" y="40404"/>
                    <a:pt x="121842" y="40404"/>
                  </a:cubicBezTo>
                  <a:lnTo>
                    <a:pt x="20917" y="40404"/>
                  </a:lnTo>
                  <a:cubicBezTo>
                    <a:pt x="14604" y="40404"/>
                    <a:pt x="9487" y="35287"/>
                    <a:pt x="9487" y="28974"/>
                  </a:cubicBezTo>
                  <a:lnTo>
                    <a:pt x="9487" y="18288"/>
                  </a:lnTo>
                  <a:cubicBezTo>
                    <a:pt x="9487" y="11975"/>
                    <a:pt x="14604" y="6858"/>
                    <a:pt x="20917" y="6858"/>
                  </a:cubicBezTo>
                  <a:lnTo>
                    <a:pt x="121899" y="6858"/>
                  </a:lnTo>
                  <a:cubicBezTo>
                    <a:pt x="128212" y="6858"/>
                    <a:pt x="133329" y="11975"/>
                    <a:pt x="133329" y="18288"/>
                  </a:cubicBezTo>
                  <a:close/>
                </a:path>
              </a:pathLst>
            </a:custGeom>
            <a:solidFill>
              <a:srgbClr val="0078D7"/>
            </a:solidFill>
            <a:ln w="5334" cap="flat">
              <a:noFill/>
              <a:prstDash val="solid"/>
              <a:miter/>
            </a:ln>
          </p:spPr>
          <p:txBody>
            <a:bodyPr rtlCol="0" anchor="ctr"/>
            <a:lstStyle/>
            <a:p>
              <a:endParaRPr lang="en-US"/>
            </a:p>
          </p:txBody>
        </p:sp>
      </p:grpSp>
      <p:sp>
        <p:nvSpPr>
          <p:cNvPr id="238" name="Graphic 7">
            <a:extLst>
              <a:ext uri="{FF2B5EF4-FFF2-40B4-BE49-F238E27FC236}">
                <a16:creationId xmlns:a16="http://schemas.microsoft.com/office/drawing/2014/main" id="{C9E1899E-31CB-4F10-93C7-D7F8BD144373}"/>
              </a:ext>
              <a:ext uri="{C183D7F6-B498-43B3-948B-1728B52AA6E4}">
                <adec:decorative xmlns:adec="http://schemas.microsoft.com/office/drawing/2017/decorative" val="1"/>
              </a:ext>
            </a:extLst>
          </p:cNvPr>
          <p:cNvSpPr/>
          <p:nvPr/>
        </p:nvSpPr>
        <p:spPr>
          <a:xfrm>
            <a:off x="10653855" y="2932181"/>
            <a:ext cx="158790" cy="169376"/>
          </a:xfrm>
          <a:custGeom>
            <a:avLst/>
            <a:gdLst>
              <a:gd name="connsiteX0" fmla="*/ 109728 w 205740"/>
              <a:gd name="connsiteY0" fmla="*/ 27432 h 219456"/>
              <a:gd name="connsiteX1" fmla="*/ 96012 w 205740"/>
              <a:gd name="connsiteY1" fmla="*/ 27432 h 219456"/>
              <a:gd name="connsiteX2" fmla="*/ 96012 w 205740"/>
              <a:gd name="connsiteY2" fmla="*/ 0 h 219456"/>
              <a:gd name="connsiteX3" fmla="*/ 109728 w 205740"/>
              <a:gd name="connsiteY3" fmla="*/ 0 h 219456"/>
              <a:gd name="connsiteX4" fmla="*/ 44714 w 205740"/>
              <a:gd name="connsiteY4" fmla="*/ 54315 h 219456"/>
              <a:gd name="connsiteX5" fmla="*/ 25306 w 205740"/>
              <a:gd name="connsiteY5" fmla="*/ 34907 h 219456"/>
              <a:gd name="connsiteX6" fmla="*/ 34907 w 205740"/>
              <a:gd name="connsiteY6" fmla="*/ 25306 h 219456"/>
              <a:gd name="connsiteX7" fmla="*/ 54315 w 205740"/>
              <a:gd name="connsiteY7" fmla="*/ 44714 h 219456"/>
              <a:gd name="connsiteX8" fmla="*/ 0 w 205740"/>
              <a:gd name="connsiteY8" fmla="*/ 96012 h 219456"/>
              <a:gd name="connsiteX9" fmla="*/ 27432 w 205740"/>
              <a:gd name="connsiteY9" fmla="*/ 96012 h 219456"/>
              <a:gd name="connsiteX10" fmla="*/ 27432 w 205740"/>
              <a:gd name="connsiteY10" fmla="*/ 109728 h 219456"/>
              <a:gd name="connsiteX11" fmla="*/ 0 w 205740"/>
              <a:gd name="connsiteY11" fmla="*/ 109728 h 219456"/>
              <a:gd name="connsiteX12" fmla="*/ 205740 w 205740"/>
              <a:gd name="connsiteY12" fmla="*/ 96012 h 219456"/>
              <a:gd name="connsiteX13" fmla="*/ 205740 w 205740"/>
              <a:gd name="connsiteY13" fmla="*/ 109728 h 219456"/>
              <a:gd name="connsiteX14" fmla="*/ 178308 w 205740"/>
              <a:gd name="connsiteY14" fmla="*/ 109728 h 219456"/>
              <a:gd name="connsiteX15" fmla="*/ 178308 w 205740"/>
              <a:gd name="connsiteY15" fmla="*/ 96012 h 219456"/>
              <a:gd name="connsiteX16" fmla="*/ 161026 w 205740"/>
              <a:gd name="connsiteY16" fmla="*/ 54315 h 219456"/>
              <a:gd name="connsiteX17" fmla="*/ 151425 w 205740"/>
              <a:gd name="connsiteY17" fmla="*/ 44714 h 219456"/>
              <a:gd name="connsiteX18" fmla="*/ 170833 w 205740"/>
              <a:gd name="connsiteY18" fmla="*/ 25306 h 219456"/>
              <a:gd name="connsiteX19" fmla="*/ 180434 w 205740"/>
              <a:gd name="connsiteY19" fmla="*/ 34907 h 219456"/>
              <a:gd name="connsiteX20" fmla="*/ 102870 w 205740"/>
              <a:gd name="connsiteY20" fmla="*/ 54864 h 219456"/>
              <a:gd name="connsiteX21" fmla="*/ 121524 w 205740"/>
              <a:gd name="connsiteY21" fmla="*/ 58636 h 219456"/>
              <a:gd name="connsiteX22" fmla="*/ 136749 w 205740"/>
              <a:gd name="connsiteY22" fmla="*/ 68923 h 219456"/>
              <a:gd name="connsiteX23" fmla="*/ 147036 w 205740"/>
              <a:gd name="connsiteY23" fmla="*/ 84148 h 219456"/>
              <a:gd name="connsiteX24" fmla="*/ 150876 w 205740"/>
              <a:gd name="connsiteY24" fmla="*/ 102870 h 219456"/>
              <a:gd name="connsiteX25" fmla="*/ 150876 w 205740"/>
              <a:gd name="connsiteY25" fmla="*/ 178308 h 219456"/>
              <a:gd name="connsiteX26" fmla="*/ 164592 w 205740"/>
              <a:gd name="connsiteY26" fmla="*/ 178308 h 219456"/>
              <a:gd name="connsiteX27" fmla="*/ 164592 w 205740"/>
              <a:gd name="connsiteY27" fmla="*/ 192024 h 219456"/>
              <a:gd name="connsiteX28" fmla="*/ 137160 w 205740"/>
              <a:gd name="connsiteY28" fmla="*/ 192024 h 219456"/>
              <a:gd name="connsiteX29" fmla="*/ 137160 w 205740"/>
              <a:gd name="connsiteY29" fmla="*/ 219456 h 219456"/>
              <a:gd name="connsiteX30" fmla="*/ 123444 w 205740"/>
              <a:gd name="connsiteY30" fmla="*/ 219456 h 219456"/>
              <a:gd name="connsiteX31" fmla="*/ 123444 w 205740"/>
              <a:gd name="connsiteY31" fmla="*/ 192024 h 219456"/>
              <a:gd name="connsiteX32" fmla="*/ 82296 w 205740"/>
              <a:gd name="connsiteY32" fmla="*/ 192024 h 219456"/>
              <a:gd name="connsiteX33" fmla="*/ 82296 w 205740"/>
              <a:gd name="connsiteY33" fmla="*/ 219456 h 219456"/>
              <a:gd name="connsiteX34" fmla="*/ 68580 w 205740"/>
              <a:gd name="connsiteY34" fmla="*/ 219456 h 219456"/>
              <a:gd name="connsiteX35" fmla="*/ 68580 w 205740"/>
              <a:gd name="connsiteY35" fmla="*/ 192024 h 219456"/>
              <a:gd name="connsiteX36" fmla="*/ 41148 w 205740"/>
              <a:gd name="connsiteY36" fmla="*/ 192024 h 219456"/>
              <a:gd name="connsiteX37" fmla="*/ 41148 w 205740"/>
              <a:gd name="connsiteY37" fmla="*/ 178308 h 219456"/>
              <a:gd name="connsiteX38" fmla="*/ 54864 w 205740"/>
              <a:gd name="connsiteY38" fmla="*/ 178308 h 219456"/>
              <a:gd name="connsiteX39" fmla="*/ 54864 w 205740"/>
              <a:gd name="connsiteY39" fmla="*/ 102870 h 219456"/>
              <a:gd name="connsiteX40" fmla="*/ 58636 w 205740"/>
              <a:gd name="connsiteY40" fmla="*/ 84216 h 219456"/>
              <a:gd name="connsiteX41" fmla="*/ 68923 w 205740"/>
              <a:gd name="connsiteY41" fmla="*/ 68991 h 219456"/>
              <a:gd name="connsiteX42" fmla="*/ 84148 w 205740"/>
              <a:gd name="connsiteY42" fmla="*/ 58704 h 219456"/>
              <a:gd name="connsiteX43" fmla="*/ 102870 w 205740"/>
              <a:gd name="connsiteY43" fmla="*/ 54864 h 219456"/>
              <a:gd name="connsiteX44" fmla="*/ 137160 w 205740"/>
              <a:gd name="connsiteY44" fmla="*/ 178308 h 219456"/>
              <a:gd name="connsiteX45" fmla="*/ 137160 w 205740"/>
              <a:gd name="connsiteY45" fmla="*/ 102870 h 219456"/>
              <a:gd name="connsiteX46" fmla="*/ 134485 w 205740"/>
              <a:gd name="connsiteY46" fmla="*/ 89565 h 219456"/>
              <a:gd name="connsiteX47" fmla="*/ 127079 w 205740"/>
              <a:gd name="connsiteY47" fmla="*/ 78730 h 219456"/>
              <a:gd name="connsiteX48" fmla="*/ 116175 w 205740"/>
              <a:gd name="connsiteY48" fmla="*/ 71392 h 219456"/>
              <a:gd name="connsiteX49" fmla="*/ 102870 w 205740"/>
              <a:gd name="connsiteY49" fmla="*/ 68580 h 219456"/>
              <a:gd name="connsiteX50" fmla="*/ 89565 w 205740"/>
              <a:gd name="connsiteY50" fmla="*/ 71255 h 219456"/>
              <a:gd name="connsiteX51" fmla="*/ 78730 w 205740"/>
              <a:gd name="connsiteY51" fmla="*/ 78661 h 219456"/>
              <a:gd name="connsiteX52" fmla="*/ 71392 w 205740"/>
              <a:gd name="connsiteY52" fmla="*/ 89565 h 219456"/>
              <a:gd name="connsiteX53" fmla="*/ 68580 w 205740"/>
              <a:gd name="connsiteY53" fmla="*/ 102870 h 219456"/>
              <a:gd name="connsiteX54" fmla="*/ 68580 w 205740"/>
              <a:gd name="connsiteY54" fmla="*/ 178308 h 21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05740" h="219456">
                <a:moveTo>
                  <a:pt x="109728" y="27432"/>
                </a:moveTo>
                <a:lnTo>
                  <a:pt x="96012" y="27432"/>
                </a:lnTo>
                <a:lnTo>
                  <a:pt x="96012" y="0"/>
                </a:lnTo>
                <a:lnTo>
                  <a:pt x="109728" y="0"/>
                </a:lnTo>
                <a:close/>
                <a:moveTo>
                  <a:pt x="44714" y="54315"/>
                </a:moveTo>
                <a:lnTo>
                  <a:pt x="25306" y="34907"/>
                </a:lnTo>
                <a:lnTo>
                  <a:pt x="34907" y="25306"/>
                </a:lnTo>
                <a:lnTo>
                  <a:pt x="54315" y="44714"/>
                </a:lnTo>
                <a:close/>
                <a:moveTo>
                  <a:pt x="0" y="96012"/>
                </a:moveTo>
                <a:lnTo>
                  <a:pt x="27432" y="96012"/>
                </a:lnTo>
                <a:lnTo>
                  <a:pt x="27432" y="109728"/>
                </a:lnTo>
                <a:lnTo>
                  <a:pt x="0" y="109728"/>
                </a:lnTo>
                <a:close/>
                <a:moveTo>
                  <a:pt x="205740" y="96012"/>
                </a:moveTo>
                <a:lnTo>
                  <a:pt x="205740" y="109728"/>
                </a:lnTo>
                <a:lnTo>
                  <a:pt x="178308" y="109728"/>
                </a:lnTo>
                <a:lnTo>
                  <a:pt x="178308" y="96012"/>
                </a:lnTo>
                <a:close/>
                <a:moveTo>
                  <a:pt x="161026" y="54315"/>
                </a:moveTo>
                <a:lnTo>
                  <a:pt x="151425" y="44714"/>
                </a:lnTo>
                <a:lnTo>
                  <a:pt x="170833" y="25306"/>
                </a:lnTo>
                <a:lnTo>
                  <a:pt x="180434" y="34907"/>
                </a:lnTo>
                <a:close/>
                <a:moveTo>
                  <a:pt x="102870" y="54864"/>
                </a:moveTo>
                <a:cubicBezTo>
                  <a:pt x="109284" y="54802"/>
                  <a:pt x="115638" y="56087"/>
                  <a:pt x="121524" y="58636"/>
                </a:cubicBezTo>
                <a:cubicBezTo>
                  <a:pt x="127214" y="61053"/>
                  <a:pt x="132383" y="64546"/>
                  <a:pt x="136749" y="68923"/>
                </a:cubicBezTo>
                <a:cubicBezTo>
                  <a:pt x="141109" y="73302"/>
                  <a:pt x="144600" y="78469"/>
                  <a:pt x="147036" y="84148"/>
                </a:cubicBezTo>
                <a:cubicBezTo>
                  <a:pt x="149558" y="90068"/>
                  <a:pt x="150864" y="96435"/>
                  <a:pt x="150876" y="102870"/>
                </a:cubicBezTo>
                <a:lnTo>
                  <a:pt x="150876" y="178308"/>
                </a:lnTo>
                <a:lnTo>
                  <a:pt x="164592" y="178308"/>
                </a:lnTo>
                <a:lnTo>
                  <a:pt x="164592" y="192024"/>
                </a:lnTo>
                <a:lnTo>
                  <a:pt x="137160" y="192024"/>
                </a:lnTo>
                <a:lnTo>
                  <a:pt x="137160" y="219456"/>
                </a:lnTo>
                <a:lnTo>
                  <a:pt x="123444" y="219456"/>
                </a:lnTo>
                <a:lnTo>
                  <a:pt x="123444" y="192024"/>
                </a:lnTo>
                <a:lnTo>
                  <a:pt x="82296" y="192024"/>
                </a:lnTo>
                <a:lnTo>
                  <a:pt x="82296" y="219456"/>
                </a:lnTo>
                <a:lnTo>
                  <a:pt x="68580" y="219456"/>
                </a:lnTo>
                <a:lnTo>
                  <a:pt x="68580" y="192024"/>
                </a:lnTo>
                <a:lnTo>
                  <a:pt x="41148" y="192024"/>
                </a:lnTo>
                <a:lnTo>
                  <a:pt x="41148" y="178308"/>
                </a:lnTo>
                <a:lnTo>
                  <a:pt x="54864" y="178308"/>
                </a:lnTo>
                <a:lnTo>
                  <a:pt x="54864" y="102870"/>
                </a:lnTo>
                <a:cubicBezTo>
                  <a:pt x="54808" y="96457"/>
                  <a:pt x="56093" y="90103"/>
                  <a:pt x="58636" y="84216"/>
                </a:cubicBezTo>
                <a:cubicBezTo>
                  <a:pt x="61053" y="78526"/>
                  <a:pt x="64546" y="73357"/>
                  <a:pt x="68923" y="68991"/>
                </a:cubicBezTo>
                <a:cubicBezTo>
                  <a:pt x="73302" y="64631"/>
                  <a:pt x="78469" y="61141"/>
                  <a:pt x="84148" y="58704"/>
                </a:cubicBezTo>
                <a:cubicBezTo>
                  <a:pt x="90068" y="56182"/>
                  <a:pt x="96435" y="54876"/>
                  <a:pt x="102870" y="54864"/>
                </a:cubicBezTo>
                <a:close/>
                <a:moveTo>
                  <a:pt x="137160" y="178308"/>
                </a:moveTo>
                <a:lnTo>
                  <a:pt x="137160" y="102870"/>
                </a:lnTo>
                <a:cubicBezTo>
                  <a:pt x="137188" y="98299"/>
                  <a:pt x="136278" y="93771"/>
                  <a:pt x="134485" y="89565"/>
                </a:cubicBezTo>
                <a:cubicBezTo>
                  <a:pt x="132746" y="85506"/>
                  <a:pt x="130231" y="81824"/>
                  <a:pt x="127079" y="78730"/>
                </a:cubicBezTo>
                <a:cubicBezTo>
                  <a:pt x="123890" y="75679"/>
                  <a:pt x="120202" y="73197"/>
                  <a:pt x="116175" y="71392"/>
                </a:cubicBezTo>
                <a:cubicBezTo>
                  <a:pt x="111989" y="69523"/>
                  <a:pt x="107454" y="68565"/>
                  <a:pt x="102870" y="68580"/>
                </a:cubicBezTo>
                <a:cubicBezTo>
                  <a:pt x="98299" y="68552"/>
                  <a:pt x="93771" y="69462"/>
                  <a:pt x="89565" y="71255"/>
                </a:cubicBezTo>
                <a:cubicBezTo>
                  <a:pt x="85506" y="72994"/>
                  <a:pt x="81824" y="75509"/>
                  <a:pt x="78730" y="78661"/>
                </a:cubicBezTo>
                <a:cubicBezTo>
                  <a:pt x="75679" y="81850"/>
                  <a:pt x="73197" y="85538"/>
                  <a:pt x="71392" y="89565"/>
                </a:cubicBezTo>
                <a:cubicBezTo>
                  <a:pt x="69523" y="93751"/>
                  <a:pt x="68565" y="98286"/>
                  <a:pt x="68580" y="102870"/>
                </a:cubicBezTo>
                <a:lnTo>
                  <a:pt x="68580" y="178308"/>
                </a:lnTo>
                <a:close/>
              </a:path>
            </a:pathLst>
          </a:custGeom>
          <a:solidFill>
            <a:srgbClr val="0078D7"/>
          </a:solidFill>
          <a:ln w="3175" cap="flat">
            <a:solidFill>
              <a:schemeClr val="bg1"/>
            </a:solidFill>
            <a:prstDash val="solid"/>
            <a:miter/>
          </a:ln>
        </p:spPr>
        <p:txBody>
          <a:bodyPr rtlCol="0" anchor="ctr"/>
          <a:lstStyle/>
          <a:p>
            <a:endParaRPr lang="en-US"/>
          </a:p>
        </p:txBody>
      </p:sp>
      <p:grpSp>
        <p:nvGrpSpPr>
          <p:cNvPr id="239" name="Group 238">
            <a:extLst>
              <a:ext uri="{FF2B5EF4-FFF2-40B4-BE49-F238E27FC236}">
                <a16:creationId xmlns:a16="http://schemas.microsoft.com/office/drawing/2014/main" id="{3CDB2BC4-BD5E-4FFB-85A1-C8900AA7A89F}"/>
              </a:ext>
              <a:ext uri="{C183D7F6-B498-43B3-948B-1728B52AA6E4}">
                <adec:decorative xmlns:adec="http://schemas.microsoft.com/office/drawing/2017/decorative" val="1"/>
              </a:ext>
            </a:extLst>
          </p:cNvPr>
          <p:cNvGrpSpPr/>
          <p:nvPr/>
        </p:nvGrpSpPr>
        <p:grpSpPr>
          <a:xfrm>
            <a:off x="11230819" y="2970381"/>
            <a:ext cx="231162" cy="131704"/>
            <a:chOff x="1290799" y="6111564"/>
            <a:chExt cx="231195" cy="131722"/>
          </a:xfrm>
        </p:grpSpPr>
        <p:grpSp>
          <p:nvGrpSpPr>
            <p:cNvPr id="240" name="Graphic 54" descr="Camera">
              <a:extLst>
                <a:ext uri="{FF2B5EF4-FFF2-40B4-BE49-F238E27FC236}">
                  <a16:creationId xmlns:a16="http://schemas.microsoft.com/office/drawing/2014/main" id="{D08E6021-303B-4C77-9E76-A30C3FBFF4AA}"/>
                </a:ext>
              </a:extLst>
            </p:cNvPr>
            <p:cNvGrpSpPr/>
            <p:nvPr/>
          </p:nvGrpSpPr>
          <p:grpSpPr>
            <a:xfrm>
              <a:off x="1290799" y="6111564"/>
              <a:ext cx="158841" cy="131722"/>
              <a:chOff x="1290799" y="6111564"/>
              <a:chExt cx="158841" cy="131722"/>
            </a:xfrm>
            <a:solidFill>
              <a:srgbClr val="0078D7"/>
            </a:solidFill>
          </p:grpSpPr>
          <p:sp>
            <p:nvSpPr>
              <p:cNvPr id="242" name="Freeform: Shape 241">
                <a:extLst>
                  <a:ext uri="{FF2B5EF4-FFF2-40B4-BE49-F238E27FC236}">
                    <a16:creationId xmlns:a16="http://schemas.microsoft.com/office/drawing/2014/main" id="{2FFD1C1D-8A80-4A45-AC41-73940A2A72D8}"/>
                  </a:ext>
                </a:extLst>
              </p:cNvPr>
              <p:cNvSpPr/>
              <p:nvPr/>
            </p:nvSpPr>
            <p:spPr>
              <a:xfrm>
                <a:off x="1290799" y="6111564"/>
                <a:ext cx="158841" cy="131722"/>
              </a:xfrm>
              <a:custGeom>
                <a:avLst/>
                <a:gdLst>
                  <a:gd name="connsiteX0" fmla="*/ 149156 w 158841"/>
                  <a:gd name="connsiteY0" fmla="*/ 19371 h 131722"/>
                  <a:gd name="connsiteX1" fmla="*/ 111511 w 158841"/>
                  <a:gd name="connsiteY1" fmla="*/ 19371 h 131722"/>
                  <a:gd name="connsiteX2" fmla="*/ 99888 w 158841"/>
                  <a:gd name="connsiteY2" fmla="*/ 0 h 131722"/>
                  <a:gd name="connsiteX3" fmla="*/ 58954 w 158841"/>
                  <a:gd name="connsiteY3" fmla="*/ 0 h 131722"/>
                  <a:gd name="connsiteX4" fmla="*/ 47331 w 158841"/>
                  <a:gd name="connsiteY4" fmla="*/ 19371 h 131722"/>
                  <a:gd name="connsiteX5" fmla="*/ 9685 w 158841"/>
                  <a:gd name="connsiteY5" fmla="*/ 19371 h 131722"/>
                  <a:gd name="connsiteX6" fmla="*/ 0 w 158841"/>
                  <a:gd name="connsiteY6" fmla="*/ 29056 h 131722"/>
                  <a:gd name="connsiteX7" fmla="*/ 0 w 158841"/>
                  <a:gd name="connsiteY7" fmla="*/ 122037 h 131722"/>
                  <a:gd name="connsiteX8" fmla="*/ 9685 w 158841"/>
                  <a:gd name="connsiteY8" fmla="*/ 131722 h 131722"/>
                  <a:gd name="connsiteX9" fmla="*/ 149156 w 158841"/>
                  <a:gd name="connsiteY9" fmla="*/ 131722 h 131722"/>
                  <a:gd name="connsiteX10" fmla="*/ 158842 w 158841"/>
                  <a:gd name="connsiteY10" fmla="*/ 122037 h 131722"/>
                  <a:gd name="connsiteX11" fmla="*/ 158842 w 158841"/>
                  <a:gd name="connsiteY11" fmla="*/ 29056 h 131722"/>
                  <a:gd name="connsiteX12" fmla="*/ 149156 w 158841"/>
                  <a:gd name="connsiteY12" fmla="*/ 19371 h 131722"/>
                  <a:gd name="connsiteX13" fmla="*/ 61146 w 158841"/>
                  <a:gd name="connsiteY13" fmla="*/ 3874 h 131722"/>
                  <a:gd name="connsiteX14" fmla="*/ 97695 w 158841"/>
                  <a:gd name="connsiteY14" fmla="*/ 3874 h 131722"/>
                  <a:gd name="connsiteX15" fmla="*/ 106993 w 158841"/>
                  <a:gd name="connsiteY15" fmla="*/ 19371 h 131722"/>
                  <a:gd name="connsiteX16" fmla="*/ 51848 w 158841"/>
                  <a:gd name="connsiteY16" fmla="*/ 19371 h 131722"/>
                  <a:gd name="connsiteX17" fmla="*/ 149156 w 158841"/>
                  <a:gd name="connsiteY17" fmla="*/ 23245 h 131722"/>
                  <a:gd name="connsiteX18" fmla="*/ 154968 w 158841"/>
                  <a:gd name="connsiteY18" fmla="*/ 29056 h 131722"/>
                  <a:gd name="connsiteX19" fmla="*/ 154968 w 158841"/>
                  <a:gd name="connsiteY19" fmla="*/ 122037 h 131722"/>
                  <a:gd name="connsiteX20" fmla="*/ 149156 w 158841"/>
                  <a:gd name="connsiteY20" fmla="*/ 127848 h 131722"/>
                  <a:gd name="connsiteX21" fmla="*/ 9685 w 158841"/>
                  <a:gd name="connsiteY21" fmla="*/ 127848 h 131722"/>
                  <a:gd name="connsiteX22" fmla="*/ 3874 w 158841"/>
                  <a:gd name="connsiteY22" fmla="*/ 122037 h 131722"/>
                  <a:gd name="connsiteX23" fmla="*/ 3874 w 158841"/>
                  <a:gd name="connsiteY23" fmla="*/ 29056 h 131722"/>
                  <a:gd name="connsiteX24" fmla="*/ 9685 w 158841"/>
                  <a:gd name="connsiteY24" fmla="*/ 23245 h 13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841" h="131722">
                    <a:moveTo>
                      <a:pt x="149156" y="19371"/>
                    </a:moveTo>
                    <a:lnTo>
                      <a:pt x="111511" y="19371"/>
                    </a:lnTo>
                    <a:lnTo>
                      <a:pt x="99888" y="0"/>
                    </a:lnTo>
                    <a:lnTo>
                      <a:pt x="58954" y="0"/>
                    </a:lnTo>
                    <a:lnTo>
                      <a:pt x="47331" y="19371"/>
                    </a:lnTo>
                    <a:lnTo>
                      <a:pt x="9685" y="19371"/>
                    </a:lnTo>
                    <a:cubicBezTo>
                      <a:pt x="4339" y="19377"/>
                      <a:pt x="6" y="23710"/>
                      <a:pt x="0" y="29056"/>
                    </a:cubicBezTo>
                    <a:lnTo>
                      <a:pt x="0" y="122037"/>
                    </a:lnTo>
                    <a:cubicBezTo>
                      <a:pt x="6" y="127383"/>
                      <a:pt x="4339" y="131716"/>
                      <a:pt x="9685" y="131722"/>
                    </a:cubicBezTo>
                    <a:lnTo>
                      <a:pt x="149156" y="131722"/>
                    </a:lnTo>
                    <a:cubicBezTo>
                      <a:pt x="154503" y="131716"/>
                      <a:pt x="158835" y="127383"/>
                      <a:pt x="158842" y="122037"/>
                    </a:cubicBezTo>
                    <a:lnTo>
                      <a:pt x="158842" y="29056"/>
                    </a:lnTo>
                    <a:cubicBezTo>
                      <a:pt x="158835" y="23710"/>
                      <a:pt x="154503" y="19377"/>
                      <a:pt x="149156" y="19371"/>
                    </a:cubicBezTo>
                    <a:close/>
                    <a:moveTo>
                      <a:pt x="61146" y="3874"/>
                    </a:moveTo>
                    <a:lnTo>
                      <a:pt x="97695" y="3874"/>
                    </a:lnTo>
                    <a:lnTo>
                      <a:pt x="106993" y="19371"/>
                    </a:lnTo>
                    <a:lnTo>
                      <a:pt x="51848" y="19371"/>
                    </a:lnTo>
                    <a:close/>
                    <a:moveTo>
                      <a:pt x="149156" y="23245"/>
                    </a:moveTo>
                    <a:cubicBezTo>
                      <a:pt x="152366" y="23245"/>
                      <a:pt x="154968" y="25847"/>
                      <a:pt x="154968" y="29056"/>
                    </a:cubicBezTo>
                    <a:lnTo>
                      <a:pt x="154968" y="122037"/>
                    </a:lnTo>
                    <a:cubicBezTo>
                      <a:pt x="154968" y="125246"/>
                      <a:pt x="152366" y="127848"/>
                      <a:pt x="149156" y="127848"/>
                    </a:cubicBezTo>
                    <a:lnTo>
                      <a:pt x="9685" y="127848"/>
                    </a:lnTo>
                    <a:cubicBezTo>
                      <a:pt x="6476" y="127848"/>
                      <a:pt x="3874" y="125246"/>
                      <a:pt x="3874" y="122037"/>
                    </a:cubicBezTo>
                    <a:lnTo>
                      <a:pt x="3874" y="29056"/>
                    </a:lnTo>
                    <a:cubicBezTo>
                      <a:pt x="3874" y="25847"/>
                      <a:pt x="6476" y="23245"/>
                      <a:pt x="9685" y="23245"/>
                    </a:cubicBezTo>
                    <a:close/>
                  </a:path>
                </a:pathLst>
              </a:custGeom>
              <a:solidFill>
                <a:srgbClr val="0078D7"/>
              </a:solidFill>
              <a:ln w="1885" cap="flat">
                <a:solidFill>
                  <a:srgbClr val="0078D7"/>
                </a:solidFill>
                <a:prstDash val="solid"/>
                <a:miter/>
              </a:ln>
            </p:spPr>
            <p:txBody>
              <a:bodyPr rtlCol="0" anchor="ctr"/>
              <a:lstStyle/>
              <a:p>
                <a:endParaRPr lang="en-US"/>
              </a:p>
            </p:txBody>
          </p:sp>
          <p:sp>
            <p:nvSpPr>
              <p:cNvPr id="243" name="Freeform: Shape 242">
                <a:extLst>
                  <a:ext uri="{FF2B5EF4-FFF2-40B4-BE49-F238E27FC236}">
                    <a16:creationId xmlns:a16="http://schemas.microsoft.com/office/drawing/2014/main" id="{118C4764-3C80-418A-BC3F-4EDAA71E139F}"/>
                  </a:ext>
                </a:extLst>
              </p:cNvPr>
              <p:cNvSpPr/>
              <p:nvPr/>
            </p:nvSpPr>
            <p:spPr>
              <a:xfrm>
                <a:off x="1306296" y="6146432"/>
                <a:ext cx="25182" cy="17433"/>
              </a:xfrm>
              <a:custGeom>
                <a:avLst/>
                <a:gdLst>
                  <a:gd name="connsiteX0" fmla="*/ 0 w 25182"/>
                  <a:gd name="connsiteY0" fmla="*/ 17434 h 17433"/>
                  <a:gd name="connsiteX1" fmla="*/ 25182 w 25182"/>
                  <a:gd name="connsiteY1" fmla="*/ 17434 h 17433"/>
                  <a:gd name="connsiteX2" fmla="*/ 25182 w 25182"/>
                  <a:gd name="connsiteY2" fmla="*/ 0 h 17433"/>
                  <a:gd name="connsiteX3" fmla="*/ 0 w 25182"/>
                  <a:gd name="connsiteY3" fmla="*/ 0 h 17433"/>
                  <a:gd name="connsiteX4" fmla="*/ 3874 w 25182"/>
                  <a:gd name="connsiteY4" fmla="*/ 3874 h 17433"/>
                  <a:gd name="connsiteX5" fmla="*/ 21308 w 25182"/>
                  <a:gd name="connsiteY5" fmla="*/ 3874 h 17433"/>
                  <a:gd name="connsiteX6" fmla="*/ 21308 w 25182"/>
                  <a:gd name="connsiteY6" fmla="*/ 13560 h 17433"/>
                  <a:gd name="connsiteX7" fmla="*/ 3874 w 25182"/>
                  <a:gd name="connsiteY7" fmla="*/ 13560 h 17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17433">
                    <a:moveTo>
                      <a:pt x="0" y="17434"/>
                    </a:moveTo>
                    <a:lnTo>
                      <a:pt x="25182" y="17434"/>
                    </a:lnTo>
                    <a:lnTo>
                      <a:pt x="25182" y="0"/>
                    </a:lnTo>
                    <a:lnTo>
                      <a:pt x="0" y="0"/>
                    </a:lnTo>
                    <a:close/>
                    <a:moveTo>
                      <a:pt x="3874" y="3874"/>
                    </a:moveTo>
                    <a:lnTo>
                      <a:pt x="21308" y="3874"/>
                    </a:lnTo>
                    <a:lnTo>
                      <a:pt x="21308" y="13560"/>
                    </a:lnTo>
                    <a:lnTo>
                      <a:pt x="3874" y="13560"/>
                    </a:lnTo>
                    <a:close/>
                  </a:path>
                </a:pathLst>
              </a:custGeom>
              <a:solidFill>
                <a:srgbClr val="0078D7"/>
              </a:solidFill>
              <a:ln w="1885" cap="flat">
                <a:solidFill>
                  <a:srgbClr val="0078D7"/>
                </a:solidFill>
                <a:prstDash val="solid"/>
                <a:miter/>
              </a:ln>
            </p:spPr>
            <p:txBody>
              <a:bodyPr rtlCol="0" anchor="ctr"/>
              <a:lstStyle/>
              <a:p>
                <a:endParaRPr lang="en-US"/>
              </a:p>
            </p:txBody>
          </p:sp>
          <p:sp>
            <p:nvSpPr>
              <p:cNvPr id="244" name="Freeform: Shape 243">
                <a:extLst>
                  <a:ext uri="{FF2B5EF4-FFF2-40B4-BE49-F238E27FC236}">
                    <a16:creationId xmlns:a16="http://schemas.microsoft.com/office/drawing/2014/main" id="{6F5483E9-F17A-4A2C-95BC-1EFF9BAC1E43}"/>
                  </a:ext>
                </a:extLst>
              </p:cNvPr>
              <p:cNvSpPr/>
              <p:nvPr/>
            </p:nvSpPr>
            <p:spPr>
              <a:xfrm>
                <a:off x="1335352" y="6156117"/>
                <a:ext cx="69735" cy="69735"/>
              </a:xfrm>
              <a:custGeom>
                <a:avLst/>
                <a:gdLst>
                  <a:gd name="connsiteX0" fmla="*/ 34868 w 69735"/>
                  <a:gd name="connsiteY0" fmla="*/ 0 h 69735"/>
                  <a:gd name="connsiteX1" fmla="*/ 0 w 69735"/>
                  <a:gd name="connsiteY1" fmla="*/ 34868 h 69735"/>
                  <a:gd name="connsiteX2" fmla="*/ 34868 w 69735"/>
                  <a:gd name="connsiteY2" fmla="*/ 69735 h 69735"/>
                  <a:gd name="connsiteX3" fmla="*/ 69735 w 69735"/>
                  <a:gd name="connsiteY3" fmla="*/ 34868 h 69735"/>
                  <a:gd name="connsiteX4" fmla="*/ 34868 w 69735"/>
                  <a:gd name="connsiteY4" fmla="*/ 0 h 69735"/>
                  <a:gd name="connsiteX5" fmla="*/ 34868 w 69735"/>
                  <a:gd name="connsiteY5" fmla="*/ 65861 h 69735"/>
                  <a:gd name="connsiteX6" fmla="*/ 3874 w 69735"/>
                  <a:gd name="connsiteY6" fmla="*/ 34868 h 69735"/>
                  <a:gd name="connsiteX7" fmla="*/ 34868 w 69735"/>
                  <a:gd name="connsiteY7" fmla="*/ 3874 h 69735"/>
                  <a:gd name="connsiteX8" fmla="*/ 65861 w 69735"/>
                  <a:gd name="connsiteY8" fmla="*/ 34868 h 69735"/>
                  <a:gd name="connsiteX9" fmla="*/ 34868 w 69735"/>
                  <a:gd name="connsiteY9" fmla="*/ 65861 h 69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735" h="69735">
                    <a:moveTo>
                      <a:pt x="34868" y="0"/>
                    </a:moveTo>
                    <a:cubicBezTo>
                      <a:pt x="15611" y="0"/>
                      <a:pt x="0" y="15611"/>
                      <a:pt x="0" y="34868"/>
                    </a:cubicBezTo>
                    <a:cubicBezTo>
                      <a:pt x="0" y="54125"/>
                      <a:pt x="15611" y="69735"/>
                      <a:pt x="34868" y="69735"/>
                    </a:cubicBezTo>
                    <a:cubicBezTo>
                      <a:pt x="54125" y="69735"/>
                      <a:pt x="69735" y="54125"/>
                      <a:pt x="69735" y="34868"/>
                    </a:cubicBezTo>
                    <a:cubicBezTo>
                      <a:pt x="69713" y="15620"/>
                      <a:pt x="54115" y="22"/>
                      <a:pt x="34868" y="0"/>
                    </a:cubicBezTo>
                    <a:close/>
                    <a:moveTo>
                      <a:pt x="34868" y="65861"/>
                    </a:moveTo>
                    <a:cubicBezTo>
                      <a:pt x="17750" y="65861"/>
                      <a:pt x="3874" y="51985"/>
                      <a:pt x="3874" y="34868"/>
                    </a:cubicBezTo>
                    <a:cubicBezTo>
                      <a:pt x="3874" y="17750"/>
                      <a:pt x="17750" y="3874"/>
                      <a:pt x="34868" y="3874"/>
                    </a:cubicBezTo>
                    <a:cubicBezTo>
                      <a:pt x="51985" y="3874"/>
                      <a:pt x="65861" y="17750"/>
                      <a:pt x="65861" y="34868"/>
                    </a:cubicBezTo>
                    <a:cubicBezTo>
                      <a:pt x="65841" y="51976"/>
                      <a:pt x="51976" y="65841"/>
                      <a:pt x="34868" y="65861"/>
                    </a:cubicBezTo>
                    <a:close/>
                  </a:path>
                </a:pathLst>
              </a:custGeom>
              <a:solidFill>
                <a:srgbClr val="0078D7"/>
              </a:solidFill>
              <a:ln w="1885" cap="flat">
                <a:solidFill>
                  <a:srgbClr val="0078D7"/>
                </a:solidFill>
                <a:prstDash val="solid"/>
                <a:miter/>
              </a:ln>
            </p:spPr>
            <p:txBody>
              <a:bodyPr rtlCol="0" anchor="ctr"/>
              <a:lstStyle/>
              <a:p>
                <a:endParaRPr lang="en-US"/>
              </a:p>
            </p:txBody>
          </p:sp>
        </p:grpSp>
        <p:sp>
          <p:nvSpPr>
            <p:cNvPr id="241" name="Rectangle 240">
              <a:extLst>
                <a:ext uri="{FF2B5EF4-FFF2-40B4-BE49-F238E27FC236}">
                  <a16:creationId xmlns:a16="http://schemas.microsoft.com/office/drawing/2014/main" id="{E29E72AA-E026-4D54-B835-D22C7EBA612E}"/>
                </a:ext>
              </a:extLst>
            </p:cNvPr>
            <p:cNvSpPr/>
            <p:nvPr/>
          </p:nvSpPr>
          <p:spPr bwMode="auto">
            <a:xfrm>
              <a:off x="1422947" y="6157764"/>
              <a:ext cx="99047" cy="56180"/>
            </a:xfrm>
            <a:prstGeom prst="rect">
              <a:avLst/>
            </a:prstGeom>
            <a:solidFill>
              <a:schemeClr val="bg1"/>
            </a:solidFill>
            <a:ln w="63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400" b="1">
                  <a:solidFill>
                    <a:srgbClr val="0078D7"/>
                  </a:solidFill>
                  <a:latin typeface="Segoe UI Black" panose="020B0A02040204020203" pitchFamily="34" charset="0"/>
                  <a:ea typeface="Segoe UI Black" panose="020B0A02040204020203" pitchFamily="34" charset="0"/>
                  <a:cs typeface="Segoe UI" pitchFamily="34" charset="0"/>
                </a:rPr>
                <a:t>HD</a:t>
              </a:r>
            </a:p>
          </p:txBody>
        </p:sp>
      </p:grpSp>
      <p:sp>
        <p:nvSpPr>
          <p:cNvPr id="245" name="Microphone_E720">
            <a:extLst>
              <a:ext uri="{FF2B5EF4-FFF2-40B4-BE49-F238E27FC236}">
                <a16:creationId xmlns:a16="http://schemas.microsoft.com/office/drawing/2014/main" id="{9381FB78-C63C-40D9-9536-7D23C5A03742}"/>
              </a:ext>
              <a:ext uri="{C183D7F6-B498-43B3-948B-1728B52AA6E4}">
                <adec:decorative xmlns:adec="http://schemas.microsoft.com/office/drawing/2017/decorative" val="1"/>
              </a:ext>
            </a:extLst>
          </p:cNvPr>
          <p:cNvSpPr>
            <a:spLocks noChangeAspect="1" noEditPoints="1"/>
          </p:cNvSpPr>
          <p:nvPr/>
        </p:nvSpPr>
        <p:spPr bwMode="auto">
          <a:xfrm>
            <a:off x="11060484" y="2950029"/>
            <a:ext cx="99032" cy="148619"/>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6350" cap="flat">
            <a:solidFill>
              <a:srgbClr val="0078D7"/>
            </a:solidFill>
            <a:prstDash val="solid"/>
            <a:miter/>
          </a:ln>
        </p:spPr>
        <p:txBody>
          <a:bodyPr vert="horz" wrap="square" lIns="91427" tIns="45713" rIns="91427" bIns="45713" numCol="1" anchor="t" anchorCtr="0" compatLnSpc="1">
            <a:prstTxWarp prst="textNoShape">
              <a:avLst/>
            </a:prstTxWarp>
          </a:bodyPr>
          <a:lstStyle/>
          <a:p>
            <a:endParaRPr lang="en-US"/>
          </a:p>
        </p:txBody>
      </p:sp>
      <p:grpSp>
        <p:nvGrpSpPr>
          <p:cNvPr id="246" name="Group 245">
            <a:extLst>
              <a:ext uri="{FF2B5EF4-FFF2-40B4-BE49-F238E27FC236}">
                <a16:creationId xmlns:a16="http://schemas.microsoft.com/office/drawing/2014/main" id="{EDAA138A-F328-4886-9673-A7A1442279B2}"/>
              </a:ext>
              <a:ext uri="{C183D7F6-B498-43B3-948B-1728B52AA6E4}">
                <adec:decorative xmlns:adec="http://schemas.microsoft.com/office/drawing/2017/decorative" val="1"/>
              </a:ext>
            </a:extLst>
          </p:cNvPr>
          <p:cNvGrpSpPr/>
          <p:nvPr/>
        </p:nvGrpSpPr>
        <p:grpSpPr>
          <a:xfrm>
            <a:off x="2156823" y="5241795"/>
            <a:ext cx="231162" cy="131704"/>
            <a:chOff x="1290799" y="6111564"/>
            <a:chExt cx="231195" cy="131722"/>
          </a:xfrm>
        </p:grpSpPr>
        <p:grpSp>
          <p:nvGrpSpPr>
            <p:cNvPr id="247" name="Graphic 54" descr="Camera">
              <a:extLst>
                <a:ext uri="{FF2B5EF4-FFF2-40B4-BE49-F238E27FC236}">
                  <a16:creationId xmlns:a16="http://schemas.microsoft.com/office/drawing/2014/main" id="{DB68F459-C1AE-4120-AEE5-BDCCEA5987D2}"/>
                </a:ext>
              </a:extLst>
            </p:cNvPr>
            <p:cNvGrpSpPr/>
            <p:nvPr/>
          </p:nvGrpSpPr>
          <p:grpSpPr>
            <a:xfrm>
              <a:off x="1290799" y="6111564"/>
              <a:ext cx="158841" cy="131722"/>
              <a:chOff x="1290799" y="6111564"/>
              <a:chExt cx="158841" cy="131722"/>
            </a:xfrm>
            <a:solidFill>
              <a:srgbClr val="0078D7"/>
            </a:solidFill>
          </p:grpSpPr>
          <p:sp>
            <p:nvSpPr>
              <p:cNvPr id="249" name="Freeform: Shape 248">
                <a:extLst>
                  <a:ext uri="{FF2B5EF4-FFF2-40B4-BE49-F238E27FC236}">
                    <a16:creationId xmlns:a16="http://schemas.microsoft.com/office/drawing/2014/main" id="{47917BD1-E78D-453F-B703-2F443B189D31}"/>
                  </a:ext>
                </a:extLst>
              </p:cNvPr>
              <p:cNvSpPr/>
              <p:nvPr/>
            </p:nvSpPr>
            <p:spPr>
              <a:xfrm>
                <a:off x="1290799" y="6111564"/>
                <a:ext cx="158841" cy="131722"/>
              </a:xfrm>
              <a:custGeom>
                <a:avLst/>
                <a:gdLst>
                  <a:gd name="connsiteX0" fmla="*/ 149156 w 158841"/>
                  <a:gd name="connsiteY0" fmla="*/ 19371 h 131722"/>
                  <a:gd name="connsiteX1" fmla="*/ 111511 w 158841"/>
                  <a:gd name="connsiteY1" fmla="*/ 19371 h 131722"/>
                  <a:gd name="connsiteX2" fmla="*/ 99888 w 158841"/>
                  <a:gd name="connsiteY2" fmla="*/ 0 h 131722"/>
                  <a:gd name="connsiteX3" fmla="*/ 58954 w 158841"/>
                  <a:gd name="connsiteY3" fmla="*/ 0 h 131722"/>
                  <a:gd name="connsiteX4" fmla="*/ 47331 w 158841"/>
                  <a:gd name="connsiteY4" fmla="*/ 19371 h 131722"/>
                  <a:gd name="connsiteX5" fmla="*/ 9685 w 158841"/>
                  <a:gd name="connsiteY5" fmla="*/ 19371 h 131722"/>
                  <a:gd name="connsiteX6" fmla="*/ 0 w 158841"/>
                  <a:gd name="connsiteY6" fmla="*/ 29056 h 131722"/>
                  <a:gd name="connsiteX7" fmla="*/ 0 w 158841"/>
                  <a:gd name="connsiteY7" fmla="*/ 122037 h 131722"/>
                  <a:gd name="connsiteX8" fmla="*/ 9685 w 158841"/>
                  <a:gd name="connsiteY8" fmla="*/ 131722 h 131722"/>
                  <a:gd name="connsiteX9" fmla="*/ 149156 w 158841"/>
                  <a:gd name="connsiteY9" fmla="*/ 131722 h 131722"/>
                  <a:gd name="connsiteX10" fmla="*/ 158842 w 158841"/>
                  <a:gd name="connsiteY10" fmla="*/ 122037 h 131722"/>
                  <a:gd name="connsiteX11" fmla="*/ 158842 w 158841"/>
                  <a:gd name="connsiteY11" fmla="*/ 29056 h 131722"/>
                  <a:gd name="connsiteX12" fmla="*/ 149156 w 158841"/>
                  <a:gd name="connsiteY12" fmla="*/ 19371 h 131722"/>
                  <a:gd name="connsiteX13" fmla="*/ 61146 w 158841"/>
                  <a:gd name="connsiteY13" fmla="*/ 3874 h 131722"/>
                  <a:gd name="connsiteX14" fmla="*/ 97695 w 158841"/>
                  <a:gd name="connsiteY14" fmla="*/ 3874 h 131722"/>
                  <a:gd name="connsiteX15" fmla="*/ 106993 w 158841"/>
                  <a:gd name="connsiteY15" fmla="*/ 19371 h 131722"/>
                  <a:gd name="connsiteX16" fmla="*/ 51848 w 158841"/>
                  <a:gd name="connsiteY16" fmla="*/ 19371 h 131722"/>
                  <a:gd name="connsiteX17" fmla="*/ 149156 w 158841"/>
                  <a:gd name="connsiteY17" fmla="*/ 23245 h 131722"/>
                  <a:gd name="connsiteX18" fmla="*/ 154968 w 158841"/>
                  <a:gd name="connsiteY18" fmla="*/ 29056 h 131722"/>
                  <a:gd name="connsiteX19" fmla="*/ 154968 w 158841"/>
                  <a:gd name="connsiteY19" fmla="*/ 122037 h 131722"/>
                  <a:gd name="connsiteX20" fmla="*/ 149156 w 158841"/>
                  <a:gd name="connsiteY20" fmla="*/ 127848 h 131722"/>
                  <a:gd name="connsiteX21" fmla="*/ 9685 w 158841"/>
                  <a:gd name="connsiteY21" fmla="*/ 127848 h 131722"/>
                  <a:gd name="connsiteX22" fmla="*/ 3874 w 158841"/>
                  <a:gd name="connsiteY22" fmla="*/ 122037 h 131722"/>
                  <a:gd name="connsiteX23" fmla="*/ 3874 w 158841"/>
                  <a:gd name="connsiteY23" fmla="*/ 29056 h 131722"/>
                  <a:gd name="connsiteX24" fmla="*/ 9685 w 158841"/>
                  <a:gd name="connsiteY24" fmla="*/ 23245 h 13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841" h="131722">
                    <a:moveTo>
                      <a:pt x="149156" y="19371"/>
                    </a:moveTo>
                    <a:lnTo>
                      <a:pt x="111511" y="19371"/>
                    </a:lnTo>
                    <a:lnTo>
                      <a:pt x="99888" y="0"/>
                    </a:lnTo>
                    <a:lnTo>
                      <a:pt x="58954" y="0"/>
                    </a:lnTo>
                    <a:lnTo>
                      <a:pt x="47331" y="19371"/>
                    </a:lnTo>
                    <a:lnTo>
                      <a:pt x="9685" y="19371"/>
                    </a:lnTo>
                    <a:cubicBezTo>
                      <a:pt x="4339" y="19377"/>
                      <a:pt x="6" y="23710"/>
                      <a:pt x="0" y="29056"/>
                    </a:cubicBezTo>
                    <a:lnTo>
                      <a:pt x="0" y="122037"/>
                    </a:lnTo>
                    <a:cubicBezTo>
                      <a:pt x="6" y="127383"/>
                      <a:pt x="4339" y="131716"/>
                      <a:pt x="9685" y="131722"/>
                    </a:cubicBezTo>
                    <a:lnTo>
                      <a:pt x="149156" y="131722"/>
                    </a:lnTo>
                    <a:cubicBezTo>
                      <a:pt x="154503" y="131716"/>
                      <a:pt x="158835" y="127383"/>
                      <a:pt x="158842" y="122037"/>
                    </a:cubicBezTo>
                    <a:lnTo>
                      <a:pt x="158842" y="29056"/>
                    </a:lnTo>
                    <a:cubicBezTo>
                      <a:pt x="158835" y="23710"/>
                      <a:pt x="154503" y="19377"/>
                      <a:pt x="149156" y="19371"/>
                    </a:cubicBezTo>
                    <a:close/>
                    <a:moveTo>
                      <a:pt x="61146" y="3874"/>
                    </a:moveTo>
                    <a:lnTo>
                      <a:pt x="97695" y="3874"/>
                    </a:lnTo>
                    <a:lnTo>
                      <a:pt x="106993" y="19371"/>
                    </a:lnTo>
                    <a:lnTo>
                      <a:pt x="51848" y="19371"/>
                    </a:lnTo>
                    <a:close/>
                    <a:moveTo>
                      <a:pt x="149156" y="23245"/>
                    </a:moveTo>
                    <a:cubicBezTo>
                      <a:pt x="152366" y="23245"/>
                      <a:pt x="154968" y="25847"/>
                      <a:pt x="154968" y="29056"/>
                    </a:cubicBezTo>
                    <a:lnTo>
                      <a:pt x="154968" y="122037"/>
                    </a:lnTo>
                    <a:cubicBezTo>
                      <a:pt x="154968" y="125246"/>
                      <a:pt x="152366" y="127848"/>
                      <a:pt x="149156" y="127848"/>
                    </a:cubicBezTo>
                    <a:lnTo>
                      <a:pt x="9685" y="127848"/>
                    </a:lnTo>
                    <a:cubicBezTo>
                      <a:pt x="6476" y="127848"/>
                      <a:pt x="3874" y="125246"/>
                      <a:pt x="3874" y="122037"/>
                    </a:cubicBezTo>
                    <a:lnTo>
                      <a:pt x="3874" y="29056"/>
                    </a:lnTo>
                    <a:cubicBezTo>
                      <a:pt x="3874" y="25847"/>
                      <a:pt x="6476" y="23245"/>
                      <a:pt x="9685" y="23245"/>
                    </a:cubicBezTo>
                    <a:close/>
                  </a:path>
                </a:pathLst>
              </a:custGeom>
              <a:solidFill>
                <a:srgbClr val="0078D7"/>
              </a:solidFill>
              <a:ln w="1885" cap="flat">
                <a:solidFill>
                  <a:srgbClr val="0078D7"/>
                </a:solidFill>
                <a:prstDash val="solid"/>
                <a:miter/>
              </a:ln>
            </p:spPr>
            <p:txBody>
              <a:bodyPr rtlCol="0" anchor="ctr"/>
              <a:lstStyle/>
              <a:p>
                <a:endParaRPr lang="en-US"/>
              </a:p>
            </p:txBody>
          </p:sp>
          <p:sp>
            <p:nvSpPr>
              <p:cNvPr id="250" name="Freeform: Shape 249">
                <a:extLst>
                  <a:ext uri="{FF2B5EF4-FFF2-40B4-BE49-F238E27FC236}">
                    <a16:creationId xmlns:a16="http://schemas.microsoft.com/office/drawing/2014/main" id="{0B7D7AE0-4306-4328-B7E8-B570DCABB938}"/>
                  </a:ext>
                </a:extLst>
              </p:cNvPr>
              <p:cNvSpPr/>
              <p:nvPr/>
            </p:nvSpPr>
            <p:spPr>
              <a:xfrm>
                <a:off x="1306296" y="6146432"/>
                <a:ext cx="25182" cy="17433"/>
              </a:xfrm>
              <a:custGeom>
                <a:avLst/>
                <a:gdLst>
                  <a:gd name="connsiteX0" fmla="*/ 0 w 25182"/>
                  <a:gd name="connsiteY0" fmla="*/ 17434 h 17433"/>
                  <a:gd name="connsiteX1" fmla="*/ 25182 w 25182"/>
                  <a:gd name="connsiteY1" fmla="*/ 17434 h 17433"/>
                  <a:gd name="connsiteX2" fmla="*/ 25182 w 25182"/>
                  <a:gd name="connsiteY2" fmla="*/ 0 h 17433"/>
                  <a:gd name="connsiteX3" fmla="*/ 0 w 25182"/>
                  <a:gd name="connsiteY3" fmla="*/ 0 h 17433"/>
                  <a:gd name="connsiteX4" fmla="*/ 3874 w 25182"/>
                  <a:gd name="connsiteY4" fmla="*/ 3874 h 17433"/>
                  <a:gd name="connsiteX5" fmla="*/ 21308 w 25182"/>
                  <a:gd name="connsiteY5" fmla="*/ 3874 h 17433"/>
                  <a:gd name="connsiteX6" fmla="*/ 21308 w 25182"/>
                  <a:gd name="connsiteY6" fmla="*/ 13560 h 17433"/>
                  <a:gd name="connsiteX7" fmla="*/ 3874 w 25182"/>
                  <a:gd name="connsiteY7" fmla="*/ 13560 h 17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17433">
                    <a:moveTo>
                      <a:pt x="0" y="17434"/>
                    </a:moveTo>
                    <a:lnTo>
                      <a:pt x="25182" y="17434"/>
                    </a:lnTo>
                    <a:lnTo>
                      <a:pt x="25182" y="0"/>
                    </a:lnTo>
                    <a:lnTo>
                      <a:pt x="0" y="0"/>
                    </a:lnTo>
                    <a:close/>
                    <a:moveTo>
                      <a:pt x="3874" y="3874"/>
                    </a:moveTo>
                    <a:lnTo>
                      <a:pt x="21308" y="3874"/>
                    </a:lnTo>
                    <a:lnTo>
                      <a:pt x="21308" y="13560"/>
                    </a:lnTo>
                    <a:lnTo>
                      <a:pt x="3874" y="13560"/>
                    </a:lnTo>
                    <a:close/>
                  </a:path>
                </a:pathLst>
              </a:custGeom>
              <a:solidFill>
                <a:srgbClr val="0078D7"/>
              </a:solidFill>
              <a:ln w="1885" cap="flat">
                <a:solidFill>
                  <a:srgbClr val="0078D7"/>
                </a:solidFill>
                <a:prstDash val="solid"/>
                <a:miter/>
              </a:ln>
            </p:spPr>
            <p:txBody>
              <a:bodyPr rtlCol="0" anchor="ctr"/>
              <a:lstStyle/>
              <a:p>
                <a:endParaRPr lang="en-US"/>
              </a:p>
            </p:txBody>
          </p:sp>
          <p:sp>
            <p:nvSpPr>
              <p:cNvPr id="251" name="Freeform: Shape 250">
                <a:extLst>
                  <a:ext uri="{FF2B5EF4-FFF2-40B4-BE49-F238E27FC236}">
                    <a16:creationId xmlns:a16="http://schemas.microsoft.com/office/drawing/2014/main" id="{8B6F9749-13B2-4050-8F14-C87310EB5E5C}"/>
                  </a:ext>
                </a:extLst>
              </p:cNvPr>
              <p:cNvSpPr/>
              <p:nvPr/>
            </p:nvSpPr>
            <p:spPr>
              <a:xfrm>
                <a:off x="1335352" y="6156117"/>
                <a:ext cx="69735" cy="69735"/>
              </a:xfrm>
              <a:custGeom>
                <a:avLst/>
                <a:gdLst>
                  <a:gd name="connsiteX0" fmla="*/ 34868 w 69735"/>
                  <a:gd name="connsiteY0" fmla="*/ 0 h 69735"/>
                  <a:gd name="connsiteX1" fmla="*/ 0 w 69735"/>
                  <a:gd name="connsiteY1" fmla="*/ 34868 h 69735"/>
                  <a:gd name="connsiteX2" fmla="*/ 34868 w 69735"/>
                  <a:gd name="connsiteY2" fmla="*/ 69735 h 69735"/>
                  <a:gd name="connsiteX3" fmla="*/ 69735 w 69735"/>
                  <a:gd name="connsiteY3" fmla="*/ 34868 h 69735"/>
                  <a:gd name="connsiteX4" fmla="*/ 34868 w 69735"/>
                  <a:gd name="connsiteY4" fmla="*/ 0 h 69735"/>
                  <a:gd name="connsiteX5" fmla="*/ 34868 w 69735"/>
                  <a:gd name="connsiteY5" fmla="*/ 65861 h 69735"/>
                  <a:gd name="connsiteX6" fmla="*/ 3874 w 69735"/>
                  <a:gd name="connsiteY6" fmla="*/ 34868 h 69735"/>
                  <a:gd name="connsiteX7" fmla="*/ 34868 w 69735"/>
                  <a:gd name="connsiteY7" fmla="*/ 3874 h 69735"/>
                  <a:gd name="connsiteX8" fmla="*/ 65861 w 69735"/>
                  <a:gd name="connsiteY8" fmla="*/ 34868 h 69735"/>
                  <a:gd name="connsiteX9" fmla="*/ 34868 w 69735"/>
                  <a:gd name="connsiteY9" fmla="*/ 65861 h 69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735" h="69735">
                    <a:moveTo>
                      <a:pt x="34868" y="0"/>
                    </a:moveTo>
                    <a:cubicBezTo>
                      <a:pt x="15611" y="0"/>
                      <a:pt x="0" y="15611"/>
                      <a:pt x="0" y="34868"/>
                    </a:cubicBezTo>
                    <a:cubicBezTo>
                      <a:pt x="0" y="54125"/>
                      <a:pt x="15611" y="69735"/>
                      <a:pt x="34868" y="69735"/>
                    </a:cubicBezTo>
                    <a:cubicBezTo>
                      <a:pt x="54125" y="69735"/>
                      <a:pt x="69735" y="54125"/>
                      <a:pt x="69735" y="34868"/>
                    </a:cubicBezTo>
                    <a:cubicBezTo>
                      <a:pt x="69713" y="15620"/>
                      <a:pt x="54115" y="22"/>
                      <a:pt x="34868" y="0"/>
                    </a:cubicBezTo>
                    <a:close/>
                    <a:moveTo>
                      <a:pt x="34868" y="65861"/>
                    </a:moveTo>
                    <a:cubicBezTo>
                      <a:pt x="17750" y="65861"/>
                      <a:pt x="3874" y="51985"/>
                      <a:pt x="3874" y="34868"/>
                    </a:cubicBezTo>
                    <a:cubicBezTo>
                      <a:pt x="3874" y="17750"/>
                      <a:pt x="17750" y="3874"/>
                      <a:pt x="34868" y="3874"/>
                    </a:cubicBezTo>
                    <a:cubicBezTo>
                      <a:pt x="51985" y="3874"/>
                      <a:pt x="65861" y="17750"/>
                      <a:pt x="65861" y="34868"/>
                    </a:cubicBezTo>
                    <a:cubicBezTo>
                      <a:pt x="65841" y="51976"/>
                      <a:pt x="51976" y="65841"/>
                      <a:pt x="34868" y="65861"/>
                    </a:cubicBezTo>
                    <a:close/>
                  </a:path>
                </a:pathLst>
              </a:custGeom>
              <a:solidFill>
                <a:srgbClr val="0078D7"/>
              </a:solidFill>
              <a:ln w="1885" cap="flat">
                <a:solidFill>
                  <a:srgbClr val="0078D7"/>
                </a:solidFill>
                <a:prstDash val="solid"/>
                <a:miter/>
              </a:ln>
            </p:spPr>
            <p:txBody>
              <a:bodyPr rtlCol="0" anchor="ctr"/>
              <a:lstStyle/>
              <a:p>
                <a:endParaRPr lang="en-US"/>
              </a:p>
            </p:txBody>
          </p:sp>
        </p:grpSp>
        <p:sp>
          <p:nvSpPr>
            <p:cNvPr id="248" name="Rectangle 247">
              <a:extLst>
                <a:ext uri="{FF2B5EF4-FFF2-40B4-BE49-F238E27FC236}">
                  <a16:creationId xmlns:a16="http://schemas.microsoft.com/office/drawing/2014/main" id="{12220C4F-7190-4D0C-B76B-9806BB34F342}"/>
                </a:ext>
              </a:extLst>
            </p:cNvPr>
            <p:cNvSpPr/>
            <p:nvPr/>
          </p:nvSpPr>
          <p:spPr bwMode="auto">
            <a:xfrm>
              <a:off x="1422947" y="6157764"/>
              <a:ext cx="99047" cy="56180"/>
            </a:xfrm>
            <a:prstGeom prst="rect">
              <a:avLst/>
            </a:prstGeom>
            <a:solidFill>
              <a:schemeClr val="bg1"/>
            </a:solidFill>
            <a:ln w="63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400" b="1">
                  <a:solidFill>
                    <a:srgbClr val="0078D7"/>
                  </a:solidFill>
                  <a:latin typeface="Segoe UI Black" panose="020B0A02040204020203" pitchFamily="34" charset="0"/>
                  <a:ea typeface="Segoe UI Black" panose="020B0A02040204020203" pitchFamily="34" charset="0"/>
                  <a:cs typeface="Segoe UI" pitchFamily="34" charset="0"/>
                </a:rPr>
                <a:t>HD</a:t>
              </a:r>
            </a:p>
          </p:txBody>
        </p:sp>
      </p:grpSp>
      <p:sp>
        <p:nvSpPr>
          <p:cNvPr id="252" name="Microphone_E720">
            <a:extLst>
              <a:ext uri="{FF2B5EF4-FFF2-40B4-BE49-F238E27FC236}">
                <a16:creationId xmlns:a16="http://schemas.microsoft.com/office/drawing/2014/main" id="{01929B95-BE65-48FB-BA97-622021A40103}"/>
              </a:ext>
              <a:ext uri="{C183D7F6-B498-43B3-948B-1728B52AA6E4}">
                <adec:decorative xmlns:adec="http://schemas.microsoft.com/office/drawing/2017/decorative" val="1"/>
              </a:ext>
            </a:extLst>
          </p:cNvPr>
          <p:cNvSpPr>
            <a:spLocks noChangeAspect="1" noEditPoints="1"/>
          </p:cNvSpPr>
          <p:nvPr/>
        </p:nvSpPr>
        <p:spPr bwMode="auto">
          <a:xfrm>
            <a:off x="1986488" y="5221443"/>
            <a:ext cx="99032" cy="148619"/>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6350" cap="flat">
            <a:solidFill>
              <a:srgbClr val="0078D7"/>
            </a:solidFill>
            <a:prstDash val="solid"/>
            <a:miter/>
          </a:ln>
        </p:spPr>
        <p:txBody>
          <a:bodyPr vert="horz" wrap="square" lIns="91427" tIns="45713" rIns="91427" bIns="45713" numCol="1" anchor="t" anchorCtr="0" compatLnSpc="1">
            <a:prstTxWarp prst="textNoShape">
              <a:avLst/>
            </a:prstTxWarp>
          </a:bodyPr>
          <a:lstStyle/>
          <a:p>
            <a:endParaRPr lang="en-US"/>
          </a:p>
        </p:txBody>
      </p:sp>
      <p:pic>
        <p:nvPicPr>
          <p:cNvPr id="253" name="Graphic 252">
            <a:extLst>
              <a:ext uri="{FF2B5EF4-FFF2-40B4-BE49-F238E27FC236}">
                <a16:creationId xmlns:a16="http://schemas.microsoft.com/office/drawing/2014/main" id="{287ABFFE-927A-4151-8BFF-85E74506EC0A}"/>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192297" y="5198302"/>
            <a:ext cx="178252" cy="169274"/>
          </a:xfrm>
          <a:prstGeom prst="rect">
            <a:avLst/>
          </a:prstGeom>
        </p:spPr>
      </p:pic>
      <p:sp>
        <p:nvSpPr>
          <p:cNvPr id="254" name="Freeform 110">
            <a:extLst>
              <a:ext uri="{FF2B5EF4-FFF2-40B4-BE49-F238E27FC236}">
                <a16:creationId xmlns:a16="http://schemas.microsoft.com/office/drawing/2014/main" id="{6E55472A-B792-4626-A234-EB767BB7DD8E}"/>
              </a:ext>
              <a:ext uri="{C183D7F6-B498-43B3-948B-1728B52AA6E4}">
                <adec:decorative xmlns:adec="http://schemas.microsoft.com/office/drawing/2017/decorative" val="1"/>
              </a:ext>
            </a:extLst>
          </p:cNvPr>
          <p:cNvSpPr>
            <a:spLocks noChangeAspect="1" noEditPoints="1"/>
          </p:cNvSpPr>
          <p:nvPr/>
        </p:nvSpPr>
        <p:spPr bwMode="black">
          <a:xfrm>
            <a:off x="4015173" y="5206027"/>
            <a:ext cx="87595" cy="164280"/>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rgbClr val="0078D7"/>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36" tIns="140509" rIns="175636" bIns="140509" numCol="1" spcCol="0" rtlCol="0" fromWordArt="0" anchor="t" anchorCtr="0" forceAA="0" compatLnSpc="1">
            <a:prstTxWarp prst="textNoShape">
              <a:avLst/>
            </a:prstTxWarp>
            <a:noAutofit/>
          </a:bodyPr>
          <a:lstStyle/>
          <a:p>
            <a:pPr algn="ctr" defTabSz="895235" fontAlgn="base">
              <a:spcBef>
                <a:spcPct val="0"/>
              </a:spcBef>
              <a:spcAft>
                <a:spcPct val="0"/>
              </a:spcAft>
              <a:defRPr/>
            </a:pPr>
            <a:endParaRPr lang="en-US" sz="1960">
              <a:solidFill>
                <a:schemeClr val="tx1"/>
              </a:solidFill>
              <a:latin typeface="Segoe UI"/>
              <a:ea typeface="Segoe UI" pitchFamily="34" charset="0"/>
              <a:cs typeface="Segoe UI" pitchFamily="34" charset="0"/>
            </a:endParaRPr>
          </a:p>
        </p:txBody>
      </p:sp>
      <p:sp>
        <p:nvSpPr>
          <p:cNvPr id="255" name="Stopwatch_E916">
            <a:extLst>
              <a:ext uri="{FF2B5EF4-FFF2-40B4-BE49-F238E27FC236}">
                <a16:creationId xmlns:a16="http://schemas.microsoft.com/office/drawing/2014/main" id="{836EAAD0-055F-4624-9252-3797752A1F09}"/>
              </a:ext>
              <a:ext uri="{C183D7F6-B498-43B3-948B-1728B52AA6E4}">
                <adec:decorative xmlns:adec="http://schemas.microsoft.com/office/drawing/2017/decorative" val="1"/>
              </a:ext>
            </a:extLst>
          </p:cNvPr>
          <p:cNvSpPr>
            <a:spLocks noChangeAspect="1" noEditPoints="1"/>
          </p:cNvSpPr>
          <p:nvPr/>
        </p:nvSpPr>
        <p:spPr bwMode="auto">
          <a:xfrm>
            <a:off x="4456179" y="5217666"/>
            <a:ext cx="135176" cy="152317"/>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6350" cap="sq">
            <a:solidFill>
              <a:srgbClr val="0078D7"/>
            </a:solidFill>
            <a:prstDash val="solid"/>
            <a:miter lim="800000"/>
            <a:headEnd/>
            <a:tailEnd/>
          </a:ln>
        </p:spPr>
        <p:txBody>
          <a:bodyPr vert="horz" wrap="square" lIns="89591" tIns="44795" rIns="89591" bIns="44795" numCol="1" anchor="t" anchorCtr="0" compatLnSpc="1">
            <a:prstTxWarp prst="textNoShape">
              <a:avLst/>
            </a:prstTxWarp>
          </a:bodyPr>
          <a:lstStyle/>
          <a:p>
            <a:pPr defTabSz="913791">
              <a:defRPr/>
            </a:pPr>
            <a:endParaRPr lang="en-US" sz="1960">
              <a:latin typeface="Segoe UI Semibold"/>
            </a:endParaRPr>
          </a:p>
        </p:txBody>
      </p:sp>
      <p:grpSp>
        <p:nvGrpSpPr>
          <p:cNvPr id="256" name="Graphic 305">
            <a:extLst>
              <a:ext uri="{FF2B5EF4-FFF2-40B4-BE49-F238E27FC236}">
                <a16:creationId xmlns:a16="http://schemas.microsoft.com/office/drawing/2014/main" id="{3DBE0D37-B067-4F4C-8736-05DBD891DBDE}"/>
              </a:ext>
              <a:ext uri="{C183D7F6-B498-43B3-948B-1728B52AA6E4}">
                <adec:decorative xmlns:adec="http://schemas.microsoft.com/office/drawing/2017/decorative" val="1"/>
              </a:ext>
            </a:extLst>
          </p:cNvPr>
          <p:cNvGrpSpPr/>
          <p:nvPr/>
        </p:nvGrpSpPr>
        <p:grpSpPr>
          <a:xfrm>
            <a:off x="4701184" y="5272705"/>
            <a:ext cx="142852" cy="47312"/>
            <a:chOff x="3845953" y="3735365"/>
            <a:chExt cx="142873" cy="47319"/>
          </a:xfrm>
          <a:solidFill>
            <a:srgbClr val="0078D7"/>
          </a:solidFill>
        </p:grpSpPr>
        <p:sp>
          <p:nvSpPr>
            <p:cNvPr id="257" name="Freeform: Shape 256">
              <a:extLst>
                <a:ext uri="{FF2B5EF4-FFF2-40B4-BE49-F238E27FC236}">
                  <a16:creationId xmlns:a16="http://schemas.microsoft.com/office/drawing/2014/main" id="{73447D9F-7C5C-40FD-9533-B5A0AF33A2D7}"/>
                </a:ext>
              </a:extLst>
            </p:cNvPr>
            <p:cNvSpPr/>
            <p:nvPr/>
          </p:nvSpPr>
          <p:spPr>
            <a:xfrm>
              <a:off x="3864127" y="3750853"/>
              <a:ext cx="106583" cy="16287"/>
            </a:xfrm>
            <a:custGeom>
              <a:avLst/>
              <a:gdLst>
                <a:gd name="connsiteX0" fmla="*/ 103783 w 106583"/>
                <a:gd name="connsiteY0" fmla="*/ 0 h 16287"/>
                <a:gd name="connsiteX1" fmla="*/ 106583 w 106583"/>
                <a:gd name="connsiteY1" fmla="*/ 0 h 16287"/>
                <a:gd name="connsiteX2" fmla="*/ 106583 w 106583"/>
                <a:gd name="connsiteY2" fmla="*/ 16287 h 16287"/>
                <a:gd name="connsiteX3" fmla="*/ 103783 w 106583"/>
                <a:gd name="connsiteY3" fmla="*/ 16287 h 16287"/>
                <a:gd name="connsiteX4" fmla="*/ 2800 w 106583"/>
                <a:gd name="connsiteY4" fmla="*/ 16287 h 16287"/>
                <a:gd name="connsiteX5" fmla="*/ 2800 w 106583"/>
                <a:gd name="connsiteY5" fmla="*/ 0 h 16287"/>
                <a:gd name="connsiteX6" fmla="*/ 0 w 106583"/>
                <a:gd name="connsiteY6" fmla="*/ 0 h 16287"/>
                <a:gd name="connsiteX7" fmla="*/ 2800 w 106583"/>
                <a:gd name="connsiteY7" fmla="*/ 0 h 1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583" h="16287">
                  <a:moveTo>
                    <a:pt x="103783" y="0"/>
                  </a:moveTo>
                  <a:cubicBezTo>
                    <a:pt x="105330" y="0"/>
                    <a:pt x="106583" y="0"/>
                    <a:pt x="106583" y="0"/>
                  </a:cubicBezTo>
                  <a:lnTo>
                    <a:pt x="106583" y="16287"/>
                  </a:lnTo>
                  <a:cubicBezTo>
                    <a:pt x="106583" y="16287"/>
                    <a:pt x="105330" y="16287"/>
                    <a:pt x="103783" y="16287"/>
                  </a:cubicBezTo>
                  <a:lnTo>
                    <a:pt x="2800" y="16287"/>
                  </a:lnTo>
                  <a:lnTo>
                    <a:pt x="2800" y="0"/>
                  </a:lnTo>
                  <a:cubicBezTo>
                    <a:pt x="1254" y="0"/>
                    <a:pt x="0" y="0"/>
                    <a:pt x="0" y="0"/>
                  </a:cubicBezTo>
                  <a:cubicBezTo>
                    <a:pt x="0" y="0"/>
                    <a:pt x="1254" y="0"/>
                    <a:pt x="2800" y="0"/>
                  </a:cubicBezTo>
                  <a:close/>
                </a:path>
              </a:pathLst>
            </a:custGeom>
            <a:solidFill>
              <a:srgbClr val="0078D7"/>
            </a:solidFill>
            <a:ln w="5334" cap="flat">
              <a:noFill/>
              <a:prstDash val="solid"/>
              <a:miter/>
            </a:ln>
          </p:spPr>
          <p:txBody>
            <a:bodyPr rtlCol="0" anchor="ctr"/>
            <a:lstStyle/>
            <a:p>
              <a:endParaRPr lang="en-US"/>
            </a:p>
          </p:txBody>
        </p:sp>
        <p:sp>
          <p:nvSpPr>
            <p:cNvPr id="258" name="Freeform: Shape 257">
              <a:extLst>
                <a:ext uri="{FF2B5EF4-FFF2-40B4-BE49-F238E27FC236}">
                  <a16:creationId xmlns:a16="http://schemas.microsoft.com/office/drawing/2014/main" id="{EF7730AE-DCC8-49AB-8001-0B28C010E1FE}"/>
                </a:ext>
              </a:extLst>
            </p:cNvPr>
            <p:cNvSpPr/>
            <p:nvPr/>
          </p:nvSpPr>
          <p:spPr>
            <a:xfrm>
              <a:off x="3845953" y="3735365"/>
              <a:ext cx="142873" cy="47319"/>
            </a:xfrm>
            <a:custGeom>
              <a:avLst/>
              <a:gdLst>
                <a:gd name="connsiteX0" fmla="*/ 119213 w 142873"/>
                <a:gd name="connsiteY0" fmla="*/ 0 h 47319"/>
                <a:gd name="connsiteX1" fmla="*/ 23660 w 142873"/>
                <a:gd name="connsiteY1" fmla="*/ 0 h 47319"/>
                <a:gd name="connsiteX2" fmla="*/ 0 w 142873"/>
                <a:gd name="connsiteY2" fmla="*/ 23660 h 47319"/>
                <a:gd name="connsiteX3" fmla="*/ 23660 w 142873"/>
                <a:gd name="connsiteY3" fmla="*/ 47319 h 47319"/>
                <a:gd name="connsiteX4" fmla="*/ 119213 w 142873"/>
                <a:gd name="connsiteY4" fmla="*/ 47319 h 47319"/>
                <a:gd name="connsiteX5" fmla="*/ 142873 w 142873"/>
                <a:gd name="connsiteY5" fmla="*/ 23660 h 47319"/>
                <a:gd name="connsiteX6" fmla="*/ 119213 w 142873"/>
                <a:gd name="connsiteY6" fmla="*/ 0 h 47319"/>
                <a:gd name="connsiteX7" fmla="*/ 133272 w 142873"/>
                <a:gd name="connsiteY7" fmla="*/ 28974 h 47319"/>
                <a:gd name="connsiteX8" fmla="*/ 121842 w 142873"/>
                <a:gd name="connsiteY8" fmla="*/ 40404 h 47319"/>
                <a:gd name="connsiteX9" fmla="*/ 20917 w 142873"/>
                <a:gd name="connsiteY9" fmla="*/ 40404 h 47319"/>
                <a:gd name="connsiteX10" fmla="*/ 9487 w 142873"/>
                <a:gd name="connsiteY10" fmla="*/ 28974 h 47319"/>
                <a:gd name="connsiteX11" fmla="*/ 9487 w 142873"/>
                <a:gd name="connsiteY11" fmla="*/ 18288 h 47319"/>
                <a:gd name="connsiteX12" fmla="*/ 20917 w 142873"/>
                <a:gd name="connsiteY12" fmla="*/ 6858 h 47319"/>
                <a:gd name="connsiteX13" fmla="*/ 121899 w 142873"/>
                <a:gd name="connsiteY13" fmla="*/ 6858 h 47319"/>
                <a:gd name="connsiteX14" fmla="*/ 133329 w 142873"/>
                <a:gd name="connsiteY14" fmla="*/ 18288 h 47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873" h="47319">
                  <a:moveTo>
                    <a:pt x="119213" y="0"/>
                  </a:moveTo>
                  <a:lnTo>
                    <a:pt x="23660" y="0"/>
                  </a:lnTo>
                  <a:cubicBezTo>
                    <a:pt x="10593" y="0"/>
                    <a:pt x="0" y="10593"/>
                    <a:pt x="0" y="23660"/>
                  </a:cubicBezTo>
                  <a:cubicBezTo>
                    <a:pt x="0" y="36726"/>
                    <a:pt x="10593" y="47319"/>
                    <a:pt x="23660" y="47319"/>
                  </a:cubicBezTo>
                  <a:lnTo>
                    <a:pt x="119213" y="47319"/>
                  </a:lnTo>
                  <a:cubicBezTo>
                    <a:pt x="132280" y="47319"/>
                    <a:pt x="142873" y="36726"/>
                    <a:pt x="142873" y="23660"/>
                  </a:cubicBezTo>
                  <a:cubicBezTo>
                    <a:pt x="142873" y="10593"/>
                    <a:pt x="132280" y="0"/>
                    <a:pt x="119213" y="0"/>
                  </a:cubicBezTo>
                  <a:close/>
                  <a:moveTo>
                    <a:pt x="133272" y="28974"/>
                  </a:moveTo>
                  <a:cubicBezTo>
                    <a:pt x="133272" y="35287"/>
                    <a:pt x="128155" y="40404"/>
                    <a:pt x="121842" y="40404"/>
                  </a:cubicBezTo>
                  <a:lnTo>
                    <a:pt x="20917" y="40404"/>
                  </a:lnTo>
                  <a:cubicBezTo>
                    <a:pt x="14604" y="40404"/>
                    <a:pt x="9487" y="35287"/>
                    <a:pt x="9487" y="28974"/>
                  </a:cubicBezTo>
                  <a:lnTo>
                    <a:pt x="9487" y="18288"/>
                  </a:lnTo>
                  <a:cubicBezTo>
                    <a:pt x="9487" y="11975"/>
                    <a:pt x="14604" y="6858"/>
                    <a:pt x="20917" y="6858"/>
                  </a:cubicBezTo>
                  <a:lnTo>
                    <a:pt x="121899" y="6858"/>
                  </a:lnTo>
                  <a:cubicBezTo>
                    <a:pt x="128212" y="6858"/>
                    <a:pt x="133329" y="11975"/>
                    <a:pt x="133329" y="18288"/>
                  </a:cubicBezTo>
                  <a:close/>
                </a:path>
              </a:pathLst>
            </a:custGeom>
            <a:solidFill>
              <a:srgbClr val="0078D7"/>
            </a:solidFill>
            <a:ln w="5334" cap="flat">
              <a:noFill/>
              <a:prstDash val="solid"/>
              <a:miter/>
            </a:ln>
          </p:spPr>
          <p:txBody>
            <a:bodyPr rtlCol="0" anchor="ctr"/>
            <a:lstStyle/>
            <a:p>
              <a:endParaRPr lang="en-US"/>
            </a:p>
          </p:txBody>
        </p:sp>
      </p:grpSp>
      <p:grpSp>
        <p:nvGrpSpPr>
          <p:cNvPr id="259" name="Group 258">
            <a:extLst>
              <a:ext uri="{FF2B5EF4-FFF2-40B4-BE49-F238E27FC236}">
                <a16:creationId xmlns:a16="http://schemas.microsoft.com/office/drawing/2014/main" id="{9CF2C166-9649-46C3-BE90-D0512F519EA0}"/>
              </a:ext>
              <a:ext uri="{C183D7F6-B498-43B3-948B-1728B52AA6E4}">
                <adec:decorative xmlns:adec="http://schemas.microsoft.com/office/drawing/2017/decorative" val="1"/>
              </a:ext>
            </a:extLst>
          </p:cNvPr>
          <p:cNvGrpSpPr/>
          <p:nvPr/>
        </p:nvGrpSpPr>
        <p:grpSpPr>
          <a:xfrm>
            <a:off x="5081136" y="5239227"/>
            <a:ext cx="231162" cy="131704"/>
            <a:chOff x="1290799" y="6111564"/>
            <a:chExt cx="231195" cy="131722"/>
          </a:xfrm>
        </p:grpSpPr>
        <p:grpSp>
          <p:nvGrpSpPr>
            <p:cNvPr id="260" name="Graphic 54" descr="Camera">
              <a:extLst>
                <a:ext uri="{FF2B5EF4-FFF2-40B4-BE49-F238E27FC236}">
                  <a16:creationId xmlns:a16="http://schemas.microsoft.com/office/drawing/2014/main" id="{467DD7C5-159E-47A8-8170-1ADD9ED4D37B}"/>
                </a:ext>
              </a:extLst>
            </p:cNvPr>
            <p:cNvGrpSpPr/>
            <p:nvPr/>
          </p:nvGrpSpPr>
          <p:grpSpPr>
            <a:xfrm>
              <a:off x="1290799" y="6111564"/>
              <a:ext cx="158841" cy="131722"/>
              <a:chOff x="1290799" y="6111564"/>
              <a:chExt cx="158841" cy="131722"/>
            </a:xfrm>
            <a:solidFill>
              <a:srgbClr val="0078D7"/>
            </a:solidFill>
          </p:grpSpPr>
          <p:sp>
            <p:nvSpPr>
              <p:cNvPr id="262" name="Freeform: Shape 261">
                <a:extLst>
                  <a:ext uri="{FF2B5EF4-FFF2-40B4-BE49-F238E27FC236}">
                    <a16:creationId xmlns:a16="http://schemas.microsoft.com/office/drawing/2014/main" id="{FE45DA29-0CCE-459A-A3C4-92AF23C8039A}"/>
                  </a:ext>
                </a:extLst>
              </p:cNvPr>
              <p:cNvSpPr/>
              <p:nvPr/>
            </p:nvSpPr>
            <p:spPr>
              <a:xfrm>
                <a:off x="1290799" y="6111564"/>
                <a:ext cx="158841" cy="131722"/>
              </a:xfrm>
              <a:custGeom>
                <a:avLst/>
                <a:gdLst>
                  <a:gd name="connsiteX0" fmla="*/ 149156 w 158841"/>
                  <a:gd name="connsiteY0" fmla="*/ 19371 h 131722"/>
                  <a:gd name="connsiteX1" fmla="*/ 111511 w 158841"/>
                  <a:gd name="connsiteY1" fmla="*/ 19371 h 131722"/>
                  <a:gd name="connsiteX2" fmla="*/ 99888 w 158841"/>
                  <a:gd name="connsiteY2" fmla="*/ 0 h 131722"/>
                  <a:gd name="connsiteX3" fmla="*/ 58954 w 158841"/>
                  <a:gd name="connsiteY3" fmla="*/ 0 h 131722"/>
                  <a:gd name="connsiteX4" fmla="*/ 47331 w 158841"/>
                  <a:gd name="connsiteY4" fmla="*/ 19371 h 131722"/>
                  <a:gd name="connsiteX5" fmla="*/ 9685 w 158841"/>
                  <a:gd name="connsiteY5" fmla="*/ 19371 h 131722"/>
                  <a:gd name="connsiteX6" fmla="*/ 0 w 158841"/>
                  <a:gd name="connsiteY6" fmla="*/ 29056 h 131722"/>
                  <a:gd name="connsiteX7" fmla="*/ 0 w 158841"/>
                  <a:gd name="connsiteY7" fmla="*/ 122037 h 131722"/>
                  <a:gd name="connsiteX8" fmla="*/ 9685 w 158841"/>
                  <a:gd name="connsiteY8" fmla="*/ 131722 h 131722"/>
                  <a:gd name="connsiteX9" fmla="*/ 149156 w 158841"/>
                  <a:gd name="connsiteY9" fmla="*/ 131722 h 131722"/>
                  <a:gd name="connsiteX10" fmla="*/ 158842 w 158841"/>
                  <a:gd name="connsiteY10" fmla="*/ 122037 h 131722"/>
                  <a:gd name="connsiteX11" fmla="*/ 158842 w 158841"/>
                  <a:gd name="connsiteY11" fmla="*/ 29056 h 131722"/>
                  <a:gd name="connsiteX12" fmla="*/ 149156 w 158841"/>
                  <a:gd name="connsiteY12" fmla="*/ 19371 h 131722"/>
                  <a:gd name="connsiteX13" fmla="*/ 61146 w 158841"/>
                  <a:gd name="connsiteY13" fmla="*/ 3874 h 131722"/>
                  <a:gd name="connsiteX14" fmla="*/ 97695 w 158841"/>
                  <a:gd name="connsiteY14" fmla="*/ 3874 h 131722"/>
                  <a:gd name="connsiteX15" fmla="*/ 106993 w 158841"/>
                  <a:gd name="connsiteY15" fmla="*/ 19371 h 131722"/>
                  <a:gd name="connsiteX16" fmla="*/ 51848 w 158841"/>
                  <a:gd name="connsiteY16" fmla="*/ 19371 h 131722"/>
                  <a:gd name="connsiteX17" fmla="*/ 149156 w 158841"/>
                  <a:gd name="connsiteY17" fmla="*/ 23245 h 131722"/>
                  <a:gd name="connsiteX18" fmla="*/ 154968 w 158841"/>
                  <a:gd name="connsiteY18" fmla="*/ 29056 h 131722"/>
                  <a:gd name="connsiteX19" fmla="*/ 154968 w 158841"/>
                  <a:gd name="connsiteY19" fmla="*/ 122037 h 131722"/>
                  <a:gd name="connsiteX20" fmla="*/ 149156 w 158841"/>
                  <a:gd name="connsiteY20" fmla="*/ 127848 h 131722"/>
                  <a:gd name="connsiteX21" fmla="*/ 9685 w 158841"/>
                  <a:gd name="connsiteY21" fmla="*/ 127848 h 131722"/>
                  <a:gd name="connsiteX22" fmla="*/ 3874 w 158841"/>
                  <a:gd name="connsiteY22" fmla="*/ 122037 h 131722"/>
                  <a:gd name="connsiteX23" fmla="*/ 3874 w 158841"/>
                  <a:gd name="connsiteY23" fmla="*/ 29056 h 131722"/>
                  <a:gd name="connsiteX24" fmla="*/ 9685 w 158841"/>
                  <a:gd name="connsiteY24" fmla="*/ 23245 h 13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841" h="131722">
                    <a:moveTo>
                      <a:pt x="149156" y="19371"/>
                    </a:moveTo>
                    <a:lnTo>
                      <a:pt x="111511" y="19371"/>
                    </a:lnTo>
                    <a:lnTo>
                      <a:pt x="99888" y="0"/>
                    </a:lnTo>
                    <a:lnTo>
                      <a:pt x="58954" y="0"/>
                    </a:lnTo>
                    <a:lnTo>
                      <a:pt x="47331" y="19371"/>
                    </a:lnTo>
                    <a:lnTo>
                      <a:pt x="9685" y="19371"/>
                    </a:lnTo>
                    <a:cubicBezTo>
                      <a:pt x="4339" y="19377"/>
                      <a:pt x="6" y="23710"/>
                      <a:pt x="0" y="29056"/>
                    </a:cubicBezTo>
                    <a:lnTo>
                      <a:pt x="0" y="122037"/>
                    </a:lnTo>
                    <a:cubicBezTo>
                      <a:pt x="6" y="127383"/>
                      <a:pt x="4339" y="131716"/>
                      <a:pt x="9685" y="131722"/>
                    </a:cubicBezTo>
                    <a:lnTo>
                      <a:pt x="149156" y="131722"/>
                    </a:lnTo>
                    <a:cubicBezTo>
                      <a:pt x="154503" y="131716"/>
                      <a:pt x="158835" y="127383"/>
                      <a:pt x="158842" y="122037"/>
                    </a:cubicBezTo>
                    <a:lnTo>
                      <a:pt x="158842" y="29056"/>
                    </a:lnTo>
                    <a:cubicBezTo>
                      <a:pt x="158835" y="23710"/>
                      <a:pt x="154503" y="19377"/>
                      <a:pt x="149156" y="19371"/>
                    </a:cubicBezTo>
                    <a:close/>
                    <a:moveTo>
                      <a:pt x="61146" y="3874"/>
                    </a:moveTo>
                    <a:lnTo>
                      <a:pt x="97695" y="3874"/>
                    </a:lnTo>
                    <a:lnTo>
                      <a:pt x="106993" y="19371"/>
                    </a:lnTo>
                    <a:lnTo>
                      <a:pt x="51848" y="19371"/>
                    </a:lnTo>
                    <a:close/>
                    <a:moveTo>
                      <a:pt x="149156" y="23245"/>
                    </a:moveTo>
                    <a:cubicBezTo>
                      <a:pt x="152366" y="23245"/>
                      <a:pt x="154968" y="25847"/>
                      <a:pt x="154968" y="29056"/>
                    </a:cubicBezTo>
                    <a:lnTo>
                      <a:pt x="154968" y="122037"/>
                    </a:lnTo>
                    <a:cubicBezTo>
                      <a:pt x="154968" y="125246"/>
                      <a:pt x="152366" y="127848"/>
                      <a:pt x="149156" y="127848"/>
                    </a:cubicBezTo>
                    <a:lnTo>
                      <a:pt x="9685" y="127848"/>
                    </a:lnTo>
                    <a:cubicBezTo>
                      <a:pt x="6476" y="127848"/>
                      <a:pt x="3874" y="125246"/>
                      <a:pt x="3874" y="122037"/>
                    </a:cubicBezTo>
                    <a:lnTo>
                      <a:pt x="3874" y="29056"/>
                    </a:lnTo>
                    <a:cubicBezTo>
                      <a:pt x="3874" y="25847"/>
                      <a:pt x="6476" y="23245"/>
                      <a:pt x="9685" y="23245"/>
                    </a:cubicBezTo>
                    <a:close/>
                  </a:path>
                </a:pathLst>
              </a:custGeom>
              <a:solidFill>
                <a:srgbClr val="0078D7"/>
              </a:solidFill>
              <a:ln w="1885" cap="flat">
                <a:solidFill>
                  <a:srgbClr val="0078D7"/>
                </a:solidFill>
                <a:prstDash val="solid"/>
                <a:miter/>
              </a:ln>
            </p:spPr>
            <p:txBody>
              <a:bodyPr rtlCol="0" anchor="ctr"/>
              <a:lstStyle/>
              <a:p>
                <a:endParaRPr lang="en-US"/>
              </a:p>
            </p:txBody>
          </p:sp>
          <p:sp>
            <p:nvSpPr>
              <p:cNvPr id="263" name="Freeform: Shape 262">
                <a:extLst>
                  <a:ext uri="{FF2B5EF4-FFF2-40B4-BE49-F238E27FC236}">
                    <a16:creationId xmlns:a16="http://schemas.microsoft.com/office/drawing/2014/main" id="{DCECAD99-5266-4DE2-89B2-2B0AE4598D3D}"/>
                  </a:ext>
                </a:extLst>
              </p:cNvPr>
              <p:cNvSpPr/>
              <p:nvPr/>
            </p:nvSpPr>
            <p:spPr>
              <a:xfrm>
                <a:off x="1306296" y="6146432"/>
                <a:ext cx="25182" cy="17433"/>
              </a:xfrm>
              <a:custGeom>
                <a:avLst/>
                <a:gdLst>
                  <a:gd name="connsiteX0" fmla="*/ 0 w 25182"/>
                  <a:gd name="connsiteY0" fmla="*/ 17434 h 17433"/>
                  <a:gd name="connsiteX1" fmla="*/ 25182 w 25182"/>
                  <a:gd name="connsiteY1" fmla="*/ 17434 h 17433"/>
                  <a:gd name="connsiteX2" fmla="*/ 25182 w 25182"/>
                  <a:gd name="connsiteY2" fmla="*/ 0 h 17433"/>
                  <a:gd name="connsiteX3" fmla="*/ 0 w 25182"/>
                  <a:gd name="connsiteY3" fmla="*/ 0 h 17433"/>
                  <a:gd name="connsiteX4" fmla="*/ 3874 w 25182"/>
                  <a:gd name="connsiteY4" fmla="*/ 3874 h 17433"/>
                  <a:gd name="connsiteX5" fmla="*/ 21308 w 25182"/>
                  <a:gd name="connsiteY5" fmla="*/ 3874 h 17433"/>
                  <a:gd name="connsiteX6" fmla="*/ 21308 w 25182"/>
                  <a:gd name="connsiteY6" fmla="*/ 13560 h 17433"/>
                  <a:gd name="connsiteX7" fmla="*/ 3874 w 25182"/>
                  <a:gd name="connsiteY7" fmla="*/ 13560 h 17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17433">
                    <a:moveTo>
                      <a:pt x="0" y="17434"/>
                    </a:moveTo>
                    <a:lnTo>
                      <a:pt x="25182" y="17434"/>
                    </a:lnTo>
                    <a:lnTo>
                      <a:pt x="25182" y="0"/>
                    </a:lnTo>
                    <a:lnTo>
                      <a:pt x="0" y="0"/>
                    </a:lnTo>
                    <a:close/>
                    <a:moveTo>
                      <a:pt x="3874" y="3874"/>
                    </a:moveTo>
                    <a:lnTo>
                      <a:pt x="21308" y="3874"/>
                    </a:lnTo>
                    <a:lnTo>
                      <a:pt x="21308" y="13560"/>
                    </a:lnTo>
                    <a:lnTo>
                      <a:pt x="3874" y="13560"/>
                    </a:lnTo>
                    <a:close/>
                  </a:path>
                </a:pathLst>
              </a:custGeom>
              <a:solidFill>
                <a:srgbClr val="0078D7"/>
              </a:solidFill>
              <a:ln w="1885" cap="flat">
                <a:solidFill>
                  <a:srgbClr val="0078D7"/>
                </a:solidFill>
                <a:prstDash val="solid"/>
                <a:miter/>
              </a:ln>
            </p:spPr>
            <p:txBody>
              <a:bodyPr rtlCol="0" anchor="ctr"/>
              <a:lstStyle/>
              <a:p>
                <a:endParaRPr lang="en-US"/>
              </a:p>
            </p:txBody>
          </p:sp>
          <p:sp>
            <p:nvSpPr>
              <p:cNvPr id="264" name="Freeform: Shape 263">
                <a:extLst>
                  <a:ext uri="{FF2B5EF4-FFF2-40B4-BE49-F238E27FC236}">
                    <a16:creationId xmlns:a16="http://schemas.microsoft.com/office/drawing/2014/main" id="{2A6278E9-0213-459F-B27A-8844D84A8885}"/>
                  </a:ext>
                </a:extLst>
              </p:cNvPr>
              <p:cNvSpPr/>
              <p:nvPr/>
            </p:nvSpPr>
            <p:spPr>
              <a:xfrm>
                <a:off x="1335352" y="6156117"/>
                <a:ext cx="69735" cy="69735"/>
              </a:xfrm>
              <a:custGeom>
                <a:avLst/>
                <a:gdLst>
                  <a:gd name="connsiteX0" fmla="*/ 34868 w 69735"/>
                  <a:gd name="connsiteY0" fmla="*/ 0 h 69735"/>
                  <a:gd name="connsiteX1" fmla="*/ 0 w 69735"/>
                  <a:gd name="connsiteY1" fmla="*/ 34868 h 69735"/>
                  <a:gd name="connsiteX2" fmla="*/ 34868 w 69735"/>
                  <a:gd name="connsiteY2" fmla="*/ 69735 h 69735"/>
                  <a:gd name="connsiteX3" fmla="*/ 69735 w 69735"/>
                  <a:gd name="connsiteY3" fmla="*/ 34868 h 69735"/>
                  <a:gd name="connsiteX4" fmla="*/ 34868 w 69735"/>
                  <a:gd name="connsiteY4" fmla="*/ 0 h 69735"/>
                  <a:gd name="connsiteX5" fmla="*/ 34868 w 69735"/>
                  <a:gd name="connsiteY5" fmla="*/ 65861 h 69735"/>
                  <a:gd name="connsiteX6" fmla="*/ 3874 w 69735"/>
                  <a:gd name="connsiteY6" fmla="*/ 34868 h 69735"/>
                  <a:gd name="connsiteX7" fmla="*/ 34868 w 69735"/>
                  <a:gd name="connsiteY7" fmla="*/ 3874 h 69735"/>
                  <a:gd name="connsiteX8" fmla="*/ 65861 w 69735"/>
                  <a:gd name="connsiteY8" fmla="*/ 34868 h 69735"/>
                  <a:gd name="connsiteX9" fmla="*/ 34868 w 69735"/>
                  <a:gd name="connsiteY9" fmla="*/ 65861 h 69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735" h="69735">
                    <a:moveTo>
                      <a:pt x="34868" y="0"/>
                    </a:moveTo>
                    <a:cubicBezTo>
                      <a:pt x="15611" y="0"/>
                      <a:pt x="0" y="15611"/>
                      <a:pt x="0" y="34868"/>
                    </a:cubicBezTo>
                    <a:cubicBezTo>
                      <a:pt x="0" y="54125"/>
                      <a:pt x="15611" y="69735"/>
                      <a:pt x="34868" y="69735"/>
                    </a:cubicBezTo>
                    <a:cubicBezTo>
                      <a:pt x="54125" y="69735"/>
                      <a:pt x="69735" y="54125"/>
                      <a:pt x="69735" y="34868"/>
                    </a:cubicBezTo>
                    <a:cubicBezTo>
                      <a:pt x="69713" y="15620"/>
                      <a:pt x="54115" y="22"/>
                      <a:pt x="34868" y="0"/>
                    </a:cubicBezTo>
                    <a:close/>
                    <a:moveTo>
                      <a:pt x="34868" y="65861"/>
                    </a:moveTo>
                    <a:cubicBezTo>
                      <a:pt x="17750" y="65861"/>
                      <a:pt x="3874" y="51985"/>
                      <a:pt x="3874" y="34868"/>
                    </a:cubicBezTo>
                    <a:cubicBezTo>
                      <a:pt x="3874" y="17750"/>
                      <a:pt x="17750" y="3874"/>
                      <a:pt x="34868" y="3874"/>
                    </a:cubicBezTo>
                    <a:cubicBezTo>
                      <a:pt x="51985" y="3874"/>
                      <a:pt x="65861" y="17750"/>
                      <a:pt x="65861" y="34868"/>
                    </a:cubicBezTo>
                    <a:cubicBezTo>
                      <a:pt x="65841" y="51976"/>
                      <a:pt x="51976" y="65841"/>
                      <a:pt x="34868" y="65861"/>
                    </a:cubicBezTo>
                    <a:close/>
                  </a:path>
                </a:pathLst>
              </a:custGeom>
              <a:solidFill>
                <a:srgbClr val="0078D7"/>
              </a:solidFill>
              <a:ln w="1885" cap="flat">
                <a:solidFill>
                  <a:srgbClr val="0078D7"/>
                </a:solidFill>
                <a:prstDash val="solid"/>
                <a:miter/>
              </a:ln>
            </p:spPr>
            <p:txBody>
              <a:bodyPr rtlCol="0" anchor="ctr"/>
              <a:lstStyle/>
              <a:p>
                <a:endParaRPr lang="en-US"/>
              </a:p>
            </p:txBody>
          </p:sp>
        </p:grpSp>
        <p:sp>
          <p:nvSpPr>
            <p:cNvPr id="261" name="Rectangle 260">
              <a:extLst>
                <a:ext uri="{FF2B5EF4-FFF2-40B4-BE49-F238E27FC236}">
                  <a16:creationId xmlns:a16="http://schemas.microsoft.com/office/drawing/2014/main" id="{30D2EB9E-52BB-4F24-91BF-8E4F166CB906}"/>
                </a:ext>
              </a:extLst>
            </p:cNvPr>
            <p:cNvSpPr/>
            <p:nvPr/>
          </p:nvSpPr>
          <p:spPr bwMode="auto">
            <a:xfrm>
              <a:off x="1422947" y="6157764"/>
              <a:ext cx="99047" cy="56180"/>
            </a:xfrm>
            <a:prstGeom prst="rect">
              <a:avLst/>
            </a:prstGeom>
            <a:solidFill>
              <a:schemeClr val="bg1"/>
            </a:solidFill>
            <a:ln w="63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400" b="1">
                  <a:solidFill>
                    <a:srgbClr val="0078D7"/>
                  </a:solidFill>
                  <a:latin typeface="Segoe UI Black" panose="020B0A02040204020203" pitchFamily="34" charset="0"/>
                  <a:ea typeface="Segoe UI Black" panose="020B0A02040204020203" pitchFamily="34" charset="0"/>
                  <a:cs typeface="Segoe UI" pitchFamily="34" charset="0"/>
                </a:rPr>
                <a:t>HD</a:t>
              </a:r>
            </a:p>
          </p:txBody>
        </p:sp>
      </p:grpSp>
      <p:sp>
        <p:nvSpPr>
          <p:cNvPr id="265" name="Microphone_E720">
            <a:extLst>
              <a:ext uri="{FF2B5EF4-FFF2-40B4-BE49-F238E27FC236}">
                <a16:creationId xmlns:a16="http://schemas.microsoft.com/office/drawing/2014/main" id="{7E0DDDB7-49C4-45A9-885A-686B482FBCD3}"/>
              </a:ext>
              <a:ext uri="{C183D7F6-B498-43B3-948B-1728B52AA6E4}">
                <adec:decorative xmlns:adec="http://schemas.microsoft.com/office/drawing/2017/decorative" val="1"/>
              </a:ext>
            </a:extLst>
          </p:cNvPr>
          <p:cNvSpPr>
            <a:spLocks noChangeAspect="1" noEditPoints="1"/>
          </p:cNvSpPr>
          <p:nvPr/>
        </p:nvSpPr>
        <p:spPr bwMode="auto">
          <a:xfrm>
            <a:off x="4910800" y="5218876"/>
            <a:ext cx="99032" cy="148619"/>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6350" cap="flat">
            <a:solidFill>
              <a:srgbClr val="0078D7"/>
            </a:solidFill>
            <a:prstDash val="solid"/>
            <a:miter/>
          </a:ln>
        </p:spPr>
        <p:txBody>
          <a:bodyPr vert="horz" wrap="square" lIns="91427" tIns="45713" rIns="91427" bIns="45713" numCol="1" anchor="t" anchorCtr="0" compatLnSpc="1">
            <a:prstTxWarp prst="textNoShape">
              <a:avLst/>
            </a:prstTxWarp>
          </a:bodyPr>
          <a:lstStyle/>
          <a:p>
            <a:endParaRPr lang="en-US"/>
          </a:p>
        </p:txBody>
      </p:sp>
      <p:pic>
        <p:nvPicPr>
          <p:cNvPr id="266" name="Graphic 265">
            <a:extLst>
              <a:ext uri="{FF2B5EF4-FFF2-40B4-BE49-F238E27FC236}">
                <a16:creationId xmlns:a16="http://schemas.microsoft.com/office/drawing/2014/main" id="{D4F9BEF7-C71F-4F8E-A75E-02750B170F01}"/>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078823" y="5200326"/>
            <a:ext cx="178252" cy="169274"/>
          </a:xfrm>
          <a:prstGeom prst="rect">
            <a:avLst/>
          </a:prstGeom>
        </p:spPr>
      </p:pic>
      <p:sp>
        <p:nvSpPr>
          <p:cNvPr id="267" name="Freeform 110">
            <a:extLst>
              <a:ext uri="{FF2B5EF4-FFF2-40B4-BE49-F238E27FC236}">
                <a16:creationId xmlns:a16="http://schemas.microsoft.com/office/drawing/2014/main" id="{DBE2862E-5D36-41F4-A425-2D309A67D02D}"/>
              </a:ext>
              <a:ext uri="{C183D7F6-B498-43B3-948B-1728B52AA6E4}">
                <adec:decorative xmlns:adec="http://schemas.microsoft.com/office/drawing/2017/decorative" val="1"/>
              </a:ext>
            </a:extLst>
          </p:cNvPr>
          <p:cNvSpPr>
            <a:spLocks noChangeAspect="1" noEditPoints="1"/>
          </p:cNvSpPr>
          <p:nvPr/>
        </p:nvSpPr>
        <p:spPr bwMode="black">
          <a:xfrm>
            <a:off x="6901698" y="5208051"/>
            <a:ext cx="87595" cy="164280"/>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rgbClr val="0078D7"/>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36" tIns="140509" rIns="175636" bIns="140509" numCol="1" spcCol="0" rtlCol="0" fromWordArt="0" anchor="t" anchorCtr="0" forceAA="0" compatLnSpc="1">
            <a:prstTxWarp prst="textNoShape">
              <a:avLst/>
            </a:prstTxWarp>
            <a:noAutofit/>
          </a:bodyPr>
          <a:lstStyle/>
          <a:p>
            <a:pPr algn="ctr" defTabSz="895235" fontAlgn="base">
              <a:spcBef>
                <a:spcPct val="0"/>
              </a:spcBef>
              <a:spcAft>
                <a:spcPct val="0"/>
              </a:spcAft>
              <a:defRPr/>
            </a:pPr>
            <a:endParaRPr lang="en-US" sz="1960">
              <a:solidFill>
                <a:schemeClr val="tx1"/>
              </a:solidFill>
              <a:latin typeface="Segoe UI"/>
              <a:ea typeface="Segoe UI" pitchFamily="34" charset="0"/>
              <a:cs typeface="Segoe UI" pitchFamily="34" charset="0"/>
            </a:endParaRPr>
          </a:p>
        </p:txBody>
      </p:sp>
      <p:sp>
        <p:nvSpPr>
          <p:cNvPr id="268" name="Stopwatch_E916">
            <a:extLst>
              <a:ext uri="{FF2B5EF4-FFF2-40B4-BE49-F238E27FC236}">
                <a16:creationId xmlns:a16="http://schemas.microsoft.com/office/drawing/2014/main" id="{331005CF-F785-48F4-BE97-0AE9074DEC56}"/>
              </a:ext>
              <a:ext uri="{C183D7F6-B498-43B3-948B-1728B52AA6E4}">
                <adec:decorative xmlns:adec="http://schemas.microsoft.com/office/drawing/2017/decorative" val="1"/>
              </a:ext>
            </a:extLst>
          </p:cNvPr>
          <p:cNvSpPr>
            <a:spLocks noChangeAspect="1" noEditPoints="1"/>
          </p:cNvSpPr>
          <p:nvPr/>
        </p:nvSpPr>
        <p:spPr bwMode="auto">
          <a:xfrm>
            <a:off x="7342705" y="5219690"/>
            <a:ext cx="135176" cy="152317"/>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6350" cap="sq">
            <a:solidFill>
              <a:srgbClr val="0078D7"/>
            </a:solidFill>
            <a:prstDash val="solid"/>
            <a:miter lim="800000"/>
            <a:headEnd/>
            <a:tailEnd/>
          </a:ln>
        </p:spPr>
        <p:txBody>
          <a:bodyPr vert="horz" wrap="square" lIns="89591" tIns="44795" rIns="89591" bIns="44795" numCol="1" anchor="t" anchorCtr="0" compatLnSpc="1">
            <a:prstTxWarp prst="textNoShape">
              <a:avLst/>
            </a:prstTxWarp>
          </a:bodyPr>
          <a:lstStyle/>
          <a:p>
            <a:pPr defTabSz="913791">
              <a:defRPr/>
            </a:pPr>
            <a:endParaRPr lang="en-US" sz="1960">
              <a:latin typeface="Segoe UI Semibold"/>
            </a:endParaRPr>
          </a:p>
        </p:txBody>
      </p:sp>
      <p:grpSp>
        <p:nvGrpSpPr>
          <p:cNvPr id="269" name="Graphic 305">
            <a:extLst>
              <a:ext uri="{FF2B5EF4-FFF2-40B4-BE49-F238E27FC236}">
                <a16:creationId xmlns:a16="http://schemas.microsoft.com/office/drawing/2014/main" id="{B8E9709A-3FF5-4512-8C1F-BDD3A8267432}"/>
              </a:ext>
              <a:ext uri="{C183D7F6-B498-43B3-948B-1728B52AA6E4}">
                <adec:decorative xmlns:adec="http://schemas.microsoft.com/office/drawing/2017/decorative" val="1"/>
              </a:ext>
            </a:extLst>
          </p:cNvPr>
          <p:cNvGrpSpPr/>
          <p:nvPr/>
        </p:nvGrpSpPr>
        <p:grpSpPr>
          <a:xfrm>
            <a:off x="7587709" y="5274729"/>
            <a:ext cx="142852" cy="47312"/>
            <a:chOff x="3845953" y="3735365"/>
            <a:chExt cx="142873" cy="47319"/>
          </a:xfrm>
          <a:solidFill>
            <a:srgbClr val="0078D7"/>
          </a:solidFill>
        </p:grpSpPr>
        <p:sp>
          <p:nvSpPr>
            <p:cNvPr id="270" name="Freeform: Shape 269">
              <a:extLst>
                <a:ext uri="{FF2B5EF4-FFF2-40B4-BE49-F238E27FC236}">
                  <a16:creationId xmlns:a16="http://schemas.microsoft.com/office/drawing/2014/main" id="{744DDFE1-0C82-43F9-A5EB-880000ACE63F}"/>
                </a:ext>
              </a:extLst>
            </p:cNvPr>
            <p:cNvSpPr/>
            <p:nvPr/>
          </p:nvSpPr>
          <p:spPr>
            <a:xfrm>
              <a:off x="3864127" y="3750853"/>
              <a:ext cx="106583" cy="16287"/>
            </a:xfrm>
            <a:custGeom>
              <a:avLst/>
              <a:gdLst>
                <a:gd name="connsiteX0" fmla="*/ 103783 w 106583"/>
                <a:gd name="connsiteY0" fmla="*/ 0 h 16287"/>
                <a:gd name="connsiteX1" fmla="*/ 106583 w 106583"/>
                <a:gd name="connsiteY1" fmla="*/ 0 h 16287"/>
                <a:gd name="connsiteX2" fmla="*/ 106583 w 106583"/>
                <a:gd name="connsiteY2" fmla="*/ 16287 h 16287"/>
                <a:gd name="connsiteX3" fmla="*/ 103783 w 106583"/>
                <a:gd name="connsiteY3" fmla="*/ 16287 h 16287"/>
                <a:gd name="connsiteX4" fmla="*/ 2800 w 106583"/>
                <a:gd name="connsiteY4" fmla="*/ 16287 h 16287"/>
                <a:gd name="connsiteX5" fmla="*/ 2800 w 106583"/>
                <a:gd name="connsiteY5" fmla="*/ 0 h 16287"/>
                <a:gd name="connsiteX6" fmla="*/ 0 w 106583"/>
                <a:gd name="connsiteY6" fmla="*/ 0 h 16287"/>
                <a:gd name="connsiteX7" fmla="*/ 2800 w 106583"/>
                <a:gd name="connsiteY7" fmla="*/ 0 h 1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583" h="16287">
                  <a:moveTo>
                    <a:pt x="103783" y="0"/>
                  </a:moveTo>
                  <a:cubicBezTo>
                    <a:pt x="105330" y="0"/>
                    <a:pt x="106583" y="0"/>
                    <a:pt x="106583" y="0"/>
                  </a:cubicBezTo>
                  <a:lnTo>
                    <a:pt x="106583" y="16287"/>
                  </a:lnTo>
                  <a:cubicBezTo>
                    <a:pt x="106583" y="16287"/>
                    <a:pt x="105330" y="16287"/>
                    <a:pt x="103783" y="16287"/>
                  </a:cubicBezTo>
                  <a:lnTo>
                    <a:pt x="2800" y="16287"/>
                  </a:lnTo>
                  <a:lnTo>
                    <a:pt x="2800" y="0"/>
                  </a:lnTo>
                  <a:cubicBezTo>
                    <a:pt x="1254" y="0"/>
                    <a:pt x="0" y="0"/>
                    <a:pt x="0" y="0"/>
                  </a:cubicBezTo>
                  <a:cubicBezTo>
                    <a:pt x="0" y="0"/>
                    <a:pt x="1254" y="0"/>
                    <a:pt x="2800" y="0"/>
                  </a:cubicBezTo>
                  <a:close/>
                </a:path>
              </a:pathLst>
            </a:custGeom>
            <a:solidFill>
              <a:srgbClr val="0078D7"/>
            </a:solidFill>
            <a:ln w="5334" cap="flat">
              <a:noFill/>
              <a:prstDash val="solid"/>
              <a:miter/>
            </a:ln>
          </p:spPr>
          <p:txBody>
            <a:bodyPr rtlCol="0" anchor="ctr"/>
            <a:lstStyle/>
            <a:p>
              <a:endParaRPr lang="en-US"/>
            </a:p>
          </p:txBody>
        </p:sp>
        <p:sp>
          <p:nvSpPr>
            <p:cNvPr id="381" name="Freeform: Shape 380">
              <a:extLst>
                <a:ext uri="{FF2B5EF4-FFF2-40B4-BE49-F238E27FC236}">
                  <a16:creationId xmlns:a16="http://schemas.microsoft.com/office/drawing/2014/main" id="{DB3C1D3D-7FAE-4782-A78D-58A507F8DCC7}"/>
                </a:ext>
              </a:extLst>
            </p:cNvPr>
            <p:cNvSpPr/>
            <p:nvPr/>
          </p:nvSpPr>
          <p:spPr>
            <a:xfrm>
              <a:off x="3845953" y="3735365"/>
              <a:ext cx="142873" cy="47319"/>
            </a:xfrm>
            <a:custGeom>
              <a:avLst/>
              <a:gdLst>
                <a:gd name="connsiteX0" fmla="*/ 119213 w 142873"/>
                <a:gd name="connsiteY0" fmla="*/ 0 h 47319"/>
                <a:gd name="connsiteX1" fmla="*/ 23660 w 142873"/>
                <a:gd name="connsiteY1" fmla="*/ 0 h 47319"/>
                <a:gd name="connsiteX2" fmla="*/ 0 w 142873"/>
                <a:gd name="connsiteY2" fmla="*/ 23660 h 47319"/>
                <a:gd name="connsiteX3" fmla="*/ 23660 w 142873"/>
                <a:gd name="connsiteY3" fmla="*/ 47319 h 47319"/>
                <a:gd name="connsiteX4" fmla="*/ 119213 w 142873"/>
                <a:gd name="connsiteY4" fmla="*/ 47319 h 47319"/>
                <a:gd name="connsiteX5" fmla="*/ 142873 w 142873"/>
                <a:gd name="connsiteY5" fmla="*/ 23660 h 47319"/>
                <a:gd name="connsiteX6" fmla="*/ 119213 w 142873"/>
                <a:gd name="connsiteY6" fmla="*/ 0 h 47319"/>
                <a:gd name="connsiteX7" fmla="*/ 133272 w 142873"/>
                <a:gd name="connsiteY7" fmla="*/ 28974 h 47319"/>
                <a:gd name="connsiteX8" fmla="*/ 121842 w 142873"/>
                <a:gd name="connsiteY8" fmla="*/ 40404 h 47319"/>
                <a:gd name="connsiteX9" fmla="*/ 20917 w 142873"/>
                <a:gd name="connsiteY9" fmla="*/ 40404 h 47319"/>
                <a:gd name="connsiteX10" fmla="*/ 9487 w 142873"/>
                <a:gd name="connsiteY10" fmla="*/ 28974 h 47319"/>
                <a:gd name="connsiteX11" fmla="*/ 9487 w 142873"/>
                <a:gd name="connsiteY11" fmla="*/ 18288 h 47319"/>
                <a:gd name="connsiteX12" fmla="*/ 20917 w 142873"/>
                <a:gd name="connsiteY12" fmla="*/ 6858 h 47319"/>
                <a:gd name="connsiteX13" fmla="*/ 121899 w 142873"/>
                <a:gd name="connsiteY13" fmla="*/ 6858 h 47319"/>
                <a:gd name="connsiteX14" fmla="*/ 133329 w 142873"/>
                <a:gd name="connsiteY14" fmla="*/ 18288 h 47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873" h="47319">
                  <a:moveTo>
                    <a:pt x="119213" y="0"/>
                  </a:moveTo>
                  <a:lnTo>
                    <a:pt x="23660" y="0"/>
                  </a:lnTo>
                  <a:cubicBezTo>
                    <a:pt x="10593" y="0"/>
                    <a:pt x="0" y="10593"/>
                    <a:pt x="0" y="23660"/>
                  </a:cubicBezTo>
                  <a:cubicBezTo>
                    <a:pt x="0" y="36726"/>
                    <a:pt x="10593" y="47319"/>
                    <a:pt x="23660" y="47319"/>
                  </a:cubicBezTo>
                  <a:lnTo>
                    <a:pt x="119213" y="47319"/>
                  </a:lnTo>
                  <a:cubicBezTo>
                    <a:pt x="132280" y="47319"/>
                    <a:pt x="142873" y="36726"/>
                    <a:pt x="142873" y="23660"/>
                  </a:cubicBezTo>
                  <a:cubicBezTo>
                    <a:pt x="142873" y="10593"/>
                    <a:pt x="132280" y="0"/>
                    <a:pt x="119213" y="0"/>
                  </a:cubicBezTo>
                  <a:close/>
                  <a:moveTo>
                    <a:pt x="133272" y="28974"/>
                  </a:moveTo>
                  <a:cubicBezTo>
                    <a:pt x="133272" y="35287"/>
                    <a:pt x="128155" y="40404"/>
                    <a:pt x="121842" y="40404"/>
                  </a:cubicBezTo>
                  <a:lnTo>
                    <a:pt x="20917" y="40404"/>
                  </a:lnTo>
                  <a:cubicBezTo>
                    <a:pt x="14604" y="40404"/>
                    <a:pt x="9487" y="35287"/>
                    <a:pt x="9487" y="28974"/>
                  </a:cubicBezTo>
                  <a:lnTo>
                    <a:pt x="9487" y="18288"/>
                  </a:lnTo>
                  <a:cubicBezTo>
                    <a:pt x="9487" y="11975"/>
                    <a:pt x="14604" y="6858"/>
                    <a:pt x="20917" y="6858"/>
                  </a:cubicBezTo>
                  <a:lnTo>
                    <a:pt x="121899" y="6858"/>
                  </a:lnTo>
                  <a:cubicBezTo>
                    <a:pt x="128212" y="6858"/>
                    <a:pt x="133329" y="11975"/>
                    <a:pt x="133329" y="18288"/>
                  </a:cubicBezTo>
                  <a:close/>
                </a:path>
              </a:pathLst>
            </a:custGeom>
            <a:solidFill>
              <a:srgbClr val="0078D7"/>
            </a:solidFill>
            <a:ln w="5334" cap="flat">
              <a:noFill/>
              <a:prstDash val="solid"/>
              <a:miter/>
            </a:ln>
          </p:spPr>
          <p:txBody>
            <a:bodyPr rtlCol="0" anchor="ctr"/>
            <a:lstStyle/>
            <a:p>
              <a:endParaRPr lang="en-US"/>
            </a:p>
          </p:txBody>
        </p:sp>
      </p:grpSp>
      <p:grpSp>
        <p:nvGrpSpPr>
          <p:cNvPr id="382" name="Group 381">
            <a:extLst>
              <a:ext uri="{FF2B5EF4-FFF2-40B4-BE49-F238E27FC236}">
                <a16:creationId xmlns:a16="http://schemas.microsoft.com/office/drawing/2014/main" id="{79DCC09E-E0CF-47A6-9950-A4D3EA954E55}"/>
              </a:ext>
              <a:ext uri="{C183D7F6-B498-43B3-948B-1728B52AA6E4}">
                <adec:decorative xmlns:adec="http://schemas.microsoft.com/office/drawing/2017/decorative" val="1"/>
              </a:ext>
            </a:extLst>
          </p:cNvPr>
          <p:cNvGrpSpPr/>
          <p:nvPr/>
        </p:nvGrpSpPr>
        <p:grpSpPr>
          <a:xfrm>
            <a:off x="8138551" y="5241251"/>
            <a:ext cx="231162" cy="131704"/>
            <a:chOff x="1290799" y="6111564"/>
            <a:chExt cx="231195" cy="131722"/>
          </a:xfrm>
        </p:grpSpPr>
        <p:grpSp>
          <p:nvGrpSpPr>
            <p:cNvPr id="383" name="Graphic 54" descr="Camera">
              <a:extLst>
                <a:ext uri="{FF2B5EF4-FFF2-40B4-BE49-F238E27FC236}">
                  <a16:creationId xmlns:a16="http://schemas.microsoft.com/office/drawing/2014/main" id="{619E6CAC-7556-45EE-9A6C-9867ED198397}"/>
                </a:ext>
              </a:extLst>
            </p:cNvPr>
            <p:cNvGrpSpPr/>
            <p:nvPr/>
          </p:nvGrpSpPr>
          <p:grpSpPr>
            <a:xfrm>
              <a:off x="1290799" y="6111564"/>
              <a:ext cx="158841" cy="131722"/>
              <a:chOff x="1290799" y="6111564"/>
              <a:chExt cx="158841" cy="131722"/>
            </a:xfrm>
            <a:solidFill>
              <a:srgbClr val="0078D7"/>
            </a:solidFill>
          </p:grpSpPr>
          <p:sp>
            <p:nvSpPr>
              <p:cNvPr id="385" name="Freeform: Shape 384">
                <a:extLst>
                  <a:ext uri="{FF2B5EF4-FFF2-40B4-BE49-F238E27FC236}">
                    <a16:creationId xmlns:a16="http://schemas.microsoft.com/office/drawing/2014/main" id="{A561EFB6-405F-4472-BC97-5118835DC7DF}"/>
                  </a:ext>
                </a:extLst>
              </p:cNvPr>
              <p:cNvSpPr/>
              <p:nvPr/>
            </p:nvSpPr>
            <p:spPr>
              <a:xfrm>
                <a:off x="1290799" y="6111564"/>
                <a:ext cx="158841" cy="131722"/>
              </a:xfrm>
              <a:custGeom>
                <a:avLst/>
                <a:gdLst>
                  <a:gd name="connsiteX0" fmla="*/ 149156 w 158841"/>
                  <a:gd name="connsiteY0" fmla="*/ 19371 h 131722"/>
                  <a:gd name="connsiteX1" fmla="*/ 111511 w 158841"/>
                  <a:gd name="connsiteY1" fmla="*/ 19371 h 131722"/>
                  <a:gd name="connsiteX2" fmla="*/ 99888 w 158841"/>
                  <a:gd name="connsiteY2" fmla="*/ 0 h 131722"/>
                  <a:gd name="connsiteX3" fmla="*/ 58954 w 158841"/>
                  <a:gd name="connsiteY3" fmla="*/ 0 h 131722"/>
                  <a:gd name="connsiteX4" fmla="*/ 47331 w 158841"/>
                  <a:gd name="connsiteY4" fmla="*/ 19371 h 131722"/>
                  <a:gd name="connsiteX5" fmla="*/ 9685 w 158841"/>
                  <a:gd name="connsiteY5" fmla="*/ 19371 h 131722"/>
                  <a:gd name="connsiteX6" fmla="*/ 0 w 158841"/>
                  <a:gd name="connsiteY6" fmla="*/ 29056 h 131722"/>
                  <a:gd name="connsiteX7" fmla="*/ 0 w 158841"/>
                  <a:gd name="connsiteY7" fmla="*/ 122037 h 131722"/>
                  <a:gd name="connsiteX8" fmla="*/ 9685 w 158841"/>
                  <a:gd name="connsiteY8" fmla="*/ 131722 h 131722"/>
                  <a:gd name="connsiteX9" fmla="*/ 149156 w 158841"/>
                  <a:gd name="connsiteY9" fmla="*/ 131722 h 131722"/>
                  <a:gd name="connsiteX10" fmla="*/ 158842 w 158841"/>
                  <a:gd name="connsiteY10" fmla="*/ 122037 h 131722"/>
                  <a:gd name="connsiteX11" fmla="*/ 158842 w 158841"/>
                  <a:gd name="connsiteY11" fmla="*/ 29056 h 131722"/>
                  <a:gd name="connsiteX12" fmla="*/ 149156 w 158841"/>
                  <a:gd name="connsiteY12" fmla="*/ 19371 h 131722"/>
                  <a:gd name="connsiteX13" fmla="*/ 61146 w 158841"/>
                  <a:gd name="connsiteY13" fmla="*/ 3874 h 131722"/>
                  <a:gd name="connsiteX14" fmla="*/ 97695 w 158841"/>
                  <a:gd name="connsiteY14" fmla="*/ 3874 h 131722"/>
                  <a:gd name="connsiteX15" fmla="*/ 106993 w 158841"/>
                  <a:gd name="connsiteY15" fmla="*/ 19371 h 131722"/>
                  <a:gd name="connsiteX16" fmla="*/ 51848 w 158841"/>
                  <a:gd name="connsiteY16" fmla="*/ 19371 h 131722"/>
                  <a:gd name="connsiteX17" fmla="*/ 149156 w 158841"/>
                  <a:gd name="connsiteY17" fmla="*/ 23245 h 131722"/>
                  <a:gd name="connsiteX18" fmla="*/ 154968 w 158841"/>
                  <a:gd name="connsiteY18" fmla="*/ 29056 h 131722"/>
                  <a:gd name="connsiteX19" fmla="*/ 154968 w 158841"/>
                  <a:gd name="connsiteY19" fmla="*/ 122037 h 131722"/>
                  <a:gd name="connsiteX20" fmla="*/ 149156 w 158841"/>
                  <a:gd name="connsiteY20" fmla="*/ 127848 h 131722"/>
                  <a:gd name="connsiteX21" fmla="*/ 9685 w 158841"/>
                  <a:gd name="connsiteY21" fmla="*/ 127848 h 131722"/>
                  <a:gd name="connsiteX22" fmla="*/ 3874 w 158841"/>
                  <a:gd name="connsiteY22" fmla="*/ 122037 h 131722"/>
                  <a:gd name="connsiteX23" fmla="*/ 3874 w 158841"/>
                  <a:gd name="connsiteY23" fmla="*/ 29056 h 131722"/>
                  <a:gd name="connsiteX24" fmla="*/ 9685 w 158841"/>
                  <a:gd name="connsiteY24" fmla="*/ 23245 h 13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841" h="131722">
                    <a:moveTo>
                      <a:pt x="149156" y="19371"/>
                    </a:moveTo>
                    <a:lnTo>
                      <a:pt x="111511" y="19371"/>
                    </a:lnTo>
                    <a:lnTo>
                      <a:pt x="99888" y="0"/>
                    </a:lnTo>
                    <a:lnTo>
                      <a:pt x="58954" y="0"/>
                    </a:lnTo>
                    <a:lnTo>
                      <a:pt x="47331" y="19371"/>
                    </a:lnTo>
                    <a:lnTo>
                      <a:pt x="9685" y="19371"/>
                    </a:lnTo>
                    <a:cubicBezTo>
                      <a:pt x="4339" y="19377"/>
                      <a:pt x="6" y="23710"/>
                      <a:pt x="0" y="29056"/>
                    </a:cubicBezTo>
                    <a:lnTo>
                      <a:pt x="0" y="122037"/>
                    </a:lnTo>
                    <a:cubicBezTo>
                      <a:pt x="6" y="127383"/>
                      <a:pt x="4339" y="131716"/>
                      <a:pt x="9685" y="131722"/>
                    </a:cubicBezTo>
                    <a:lnTo>
                      <a:pt x="149156" y="131722"/>
                    </a:lnTo>
                    <a:cubicBezTo>
                      <a:pt x="154503" y="131716"/>
                      <a:pt x="158835" y="127383"/>
                      <a:pt x="158842" y="122037"/>
                    </a:cubicBezTo>
                    <a:lnTo>
                      <a:pt x="158842" y="29056"/>
                    </a:lnTo>
                    <a:cubicBezTo>
                      <a:pt x="158835" y="23710"/>
                      <a:pt x="154503" y="19377"/>
                      <a:pt x="149156" y="19371"/>
                    </a:cubicBezTo>
                    <a:close/>
                    <a:moveTo>
                      <a:pt x="61146" y="3874"/>
                    </a:moveTo>
                    <a:lnTo>
                      <a:pt x="97695" y="3874"/>
                    </a:lnTo>
                    <a:lnTo>
                      <a:pt x="106993" y="19371"/>
                    </a:lnTo>
                    <a:lnTo>
                      <a:pt x="51848" y="19371"/>
                    </a:lnTo>
                    <a:close/>
                    <a:moveTo>
                      <a:pt x="149156" y="23245"/>
                    </a:moveTo>
                    <a:cubicBezTo>
                      <a:pt x="152366" y="23245"/>
                      <a:pt x="154968" y="25847"/>
                      <a:pt x="154968" y="29056"/>
                    </a:cubicBezTo>
                    <a:lnTo>
                      <a:pt x="154968" y="122037"/>
                    </a:lnTo>
                    <a:cubicBezTo>
                      <a:pt x="154968" y="125246"/>
                      <a:pt x="152366" y="127848"/>
                      <a:pt x="149156" y="127848"/>
                    </a:cubicBezTo>
                    <a:lnTo>
                      <a:pt x="9685" y="127848"/>
                    </a:lnTo>
                    <a:cubicBezTo>
                      <a:pt x="6476" y="127848"/>
                      <a:pt x="3874" y="125246"/>
                      <a:pt x="3874" y="122037"/>
                    </a:cubicBezTo>
                    <a:lnTo>
                      <a:pt x="3874" y="29056"/>
                    </a:lnTo>
                    <a:cubicBezTo>
                      <a:pt x="3874" y="25847"/>
                      <a:pt x="6476" y="23245"/>
                      <a:pt x="9685" y="23245"/>
                    </a:cubicBezTo>
                    <a:close/>
                  </a:path>
                </a:pathLst>
              </a:custGeom>
              <a:solidFill>
                <a:srgbClr val="0078D7"/>
              </a:solidFill>
              <a:ln w="1885" cap="flat">
                <a:solidFill>
                  <a:srgbClr val="0078D7"/>
                </a:solidFill>
                <a:prstDash val="solid"/>
                <a:miter/>
              </a:ln>
            </p:spPr>
            <p:txBody>
              <a:bodyPr rtlCol="0" anchor="ctr"/>
              <a:lstStyle/>
              <a:p>
                <a:endParaRPr lang="en-US"/>
              </a:p>
            </p:txBody>
          </p:sp>
          <p:sp>
            <p:nvSpPr>
              <p:cNvPr id="386" name="Freeform: Shape 385">
                <a:extLst>
                  <a:ext uri="{FF2B5EF4-FFF2-40B4-BE49-F238E27FC236}">
                    <a16:creationId xmlns:a16="http://schemas.microsoft.com/office/drawing/2014/main" id="{56744D81-8571-4695-BAD7-AA8891C28C1B}"/>
                  </a:ext>
                </a:extLst>
              </p:cNvPr>
              <p:cNvSpPr/>
              <p:nvPr/>
            </p:nvSpPr>
            <p:spPr>
              <a:xfrm>
                <a:off x="1306296" y="6146432"/>
                <a:ext cx="25182" cy="17433"/>
              </a:xfrm>
              <a:custGeom>
                <a:avLst/>
                <a:gdLst>
                  <a:gd name="connsiteX0" fmla="*/ 0 w 25182"/>
                  <a:gd name="connsiteY0" fmla="*/ 17434 h 17433"/>
                  <a:gd name="connsiteX1" fmla="*/ 25182 w 25182"/>
                  <a:gd name="connsiteY1" fmla="*/ 17434 h 17433"/>
                  <a:gd name="connsiteX2" fmla="*/ 25182 w 25182"/>
                  <a:gd name="connsiteY2" fmla="*/ 0 h 17433"/>
                  <a:gd name="connsiteX3" fmla="*/ 0 w 25182"/>
                  <a:gd name="connsiteY3" fmla="*/ 0 h 17433"/>
                  <a:gd name="connsiteX4" fmla="*/ 3874 w 25182"/>
                  <a:gd name="connsiteY4" fmla="*/ 3874 h 17433"/>
                  <a:gd name="connsiteX5" fmla="*/ 21308 w 25182"/>
                  <a:gd name="connsiteY5" fmla="*/ 3874 h 17433"/>
                  <a:gd name="connsiteX6" fmla="*/ 21308 w 25182"/>
                  <a:gd name="connsiteY6" fmla="*/ 13560 h 17433"/>
                  <a:gd name="connsiteX7" fmla="*/ 3874 w 25182"/>
                  <a:gd name="connsiteY7" fmla="*/ 13560 h 17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17433">
                    <a:moveTo>
                      <a:pt x="0" y="17434"/>
                    </a:moveTo>
                    <a:lnTo>
                      <a:pt x="25182" y="17434"/>
                    </a:lnTo>
                    <a:lnTo>
                      <a:pt x="25182" y="0"/>
                    </a:lnTo>
                    <a:lnTo>
                      <a:pt x="0" y="0"/>
                    </a:lnTo>
                    <a:close/>
                    <a:moveTo>
                      <a:pt x="3874" y="3874"/>
                    </a:moveTo>
                    <a:lnTo>
                      <a:pt x="21308" y="3874"/>
                    </a:lnTo>
                    <a:lnTo>
                      <a:pt x="21308" y="13560"/>
                    </a:lnTo>
                    <a:lnTo>
                      <a:pt x="3874" y="13560"/>
                    </a:lnTo>
                    <a:close/>
                  </a:path>
                </a:pathLst>
              </a:custGeom>
              <a:solidFill>
                <a:srgbClr val="0078D7"/>
              </a:solidFill>
              <a:ln w="1885" cap="flat">
                <a:solidFill>
                  <a:srgbClr val="0078D7"/>
                </a:solidFill>
                <a:prstDash val="solid"/>
                <a:miter/>
              </a:ln>
            </p:spPr>
            <p:txBody>
              <a:bodyPr rtlCol="0" anchor="ctr"/>
              <a:lstStyle/>
              <a:p>
                <a:endParaRPr lang="en-US"/>
              </a:p>
            </p:txBody>
          </p:sp>
          <p:sp>
            <p:nvSpPr>
              <p:cNvPr id="387" name="Freeform: Shape 386">
                <a:extLst>
                  <a:ext uri="{FF2B5EF4-FFF2-40B4-BE49-F238E27FC236}">
                    <a16:creationId xmlns:a16="http://schemas.microsoft.com/office/drawing/2014/main" id="{5CFBA512-73AD-43F9-93F3-BEA7B44EFA35}"/>
                  </a:ext>
                </a:extLst>
              </p:cNvPr>
              <p:cNvSpPr/>
              <p:nvPr/>
            </p:nvSpPr>
            <p:spPr>
              <a:xfrm>
                <a:off x="1335352" y="6156117"/>
                <a:ext cx="69735" cy="69735"/>
              </a:xfrm>
              <a:custGeom>
                <a:avLst/>
                <a:gdLst>
                  <a:gd name="connsiteX0" fmla="*/ 34868 w 69735"/>
                  <a:gd name="connsiteY0" fmla="*/ 0 h 69735"/>
                  <a:gd name="connsiteX1" fmla="*/ 0 w 69735"/>
                  <a:gd name="connsiteY1" fmla="*/ 34868 h 69735"/>
                  <a:gd name="connsiteX2" fmla="*/ 34868 w 69735"/>
                  <a:gd name="connsiteY2" fmla="*/ 69735 h 69735"/>
                  <a:gd name="connsiteX3" fmla="*/ 69735 w 69735"/>
                  <a:gd name="connsiteY3" fmla="*/ 34868 h 69735"/>
                  <a:gd name="connsiteX4" fmla="*/ 34868 w 69735"/>
                  <a:gd name="connsiteY4" fmla="*/ 0 h 69735"/>
                  <a:gd name="connsiteX5" fmla="*/ 34868 w 69735"/>
                  <a:gd name="connsiteY5" fmla="*/ 65861 h 69735"/>
                  <a:gd name="connsiteX6" fmla="*/ 3874 w 69735"/>
                  <a:gd name="connsiteY6" fmla="*/ 34868 h 69735"/>
                  <a:gd name="connsiteX7" fmla="*/ 34868 w 69735"/>
                  <a:gd name="connsiteY7" fmla="*/ 3874 h 69735"/>
                  <a:gd name="connsiteX8" fmla="*/ 65861 w 69735"/>
                  <a:gd name="connsiteY8" fmla="*/ 34868 h 69735"/>
                  <a:gd name="connsiteX9" fmla="*/ 34868 w 69735"/>
                  <a:gd name="connsiteY9" fmla="*/ 65861 h 69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735" h="69735">
                    <a:moveTo>
                      <a:pt x="34868" y="0"/>
                    </a:moveTo>
                    <a:cubicBezTo>
                      <a:pt x="15611" y="0"/>
                      <a:pt x="0" y="15611"/>
                      <a:pt x="0" y="34868"/>
                    </a:cubicBezTo>
                    <a:cubicBezTo>
                      <a:pt x="0" y="54125"/>
                      <a:pt x="15611" y="69735"/>
                      <a:pt x="34868" y="69735"/>
                    </a:cubicBezTo>
                    <a:cubicBezTo>
                      <a:pt x="54125" y="69735"/>
                      <a:pt x="69735" y="54125"/>
                      <a:pt x="69735" y="34868"/>
                    </a:cubicBezTo>
                    <a:cubicBezTo>
                      <a:pt x="69713" y="15620"/>
                      <a:pt x="54115" y="22"/>
                      <a:pt x="34868" y="0"/>
                    </a:cubicBezTo>
                    <a:close/>
                    <a:moveTo>
                      <a:pt x="34868" y="65861"/>
                    </a:moveTo>
                    <a:cubicBezTo>
                      <a:pt x="17750" y="65861"/>
                      <a:pt x="3874" y="51985"/>
                      <a:pt x="3874" y="34868"/>
                    </a:cubicBezTo>
                    <a:cubicBezTo>
                      <a:pt x="3874" y="17750"/>
                      <a:pt x="17750" y="3874"/>
                      <a:pt x="34868" y="3874"/>
                    </a:cubicBezTo>
                    <a:cubicBezTo>
                      <a:pt x="51985" y="3874"/>
                      <a:pt x="65861" y="17750"/>
                      <a:pt x="65861" y="34868"/>
                    </a:cubicBezTo>
                    <a:cubicBezTo>
                      <a:pt x="65841" y="51976"/>
                      <a:pt x="51976" y="65841"/>
                      <a:pt x="34868" y="65861"/>
                    </a:cubicBezTo>
                    <a:close/>
                  </a:path>
                </a:pathLst>
              </a:custGeom>
              <a:solidFill>
                <a:srgbClr val="0078D7"/>
              </a:solidFill>
              <a:ln w="1885" cap="flat">
                <a:solidFill>
                  <a:srgbClr val="0078D7"/>
                </a:solidFill>
                <a:prstDash val="solid"/>
                <a:miter/>
              </a:ln>
            </p:spPr>
            <p:txBody>
              <a:bodyPr rtlCol="0" anchor="ctr"/>
              <a:lstStyle/>
              <a:p>
                <a:endParaRPr lang="en-US"/>
              </a:p>
            </p:txBody>
          </p:sp>
        </p:grpSp>
        <p:sp>
          <p:nvSpPr>
            <p:cNvPr id="384" name="Rectangle 383">
              <a:extLst>
                <a:ext uri="{FF2B5EF4-FFF2-40B4-BE49-F238E27FC236}">
                  <a16:creationId xmlns:a16="http://schemas.microsoft.com/office/drawing/2014/main" id="{7C063C44-4515-4E41-B888-27C762BDDCDA}"/>
                </a:ext>
              </a:extLst>
            </p:cNvPr>
            <p:cNvSpPr/>
            <p:nvPr/>
          </p:nvSpPr>
          <p:spPr bwMode="auto">
            <a:xfrm>
              <a:off x="1422947" y="6157764"/>
              <a:ext cx="99047" cy="56180"/>
            </a:xfrm>
            <a:prstGeom prst="rect">
              <a:avLst/>
            </a:prstGeom>
            <a:solidFill>
              <a:schemeClr val="bg1"/>
            </a:solidFill>
            <a:ln w="63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400" b="1">
                  <a:solidFill>
                    <a:srgbClr val="0078D7"/>
                  </a:solidFill>
                  <a:latin typeface="Segoe UI Black" panose="020B0A02040204020203" pitchFamily="34" charset="0"/>
                  <a:ea typeface="Segoe UI Black" panose="020B0A02040204020203" pitchFamily="34" charset="0"/>
                  <a:cs typeface="Segoe UI" pitchFamily="34" charset="0"/>
                </a:rPr>
                <a:t>HD</a:t>
              </a:r>
            </a:p>
          </p:txBody>
        </p:sp>
      </p:grpSp>
      <p:sp>
        <p:nvSpPr>
          <p:cNvPr id="388" name="Microphone_E720">
            <a:extLst>
              <a:ext uri="{FF2B5EF4-FFF2-40B4-BE49-F238E27FC236}">
                <a16:creationId xmlns:a16="http://schemas.microsoft.com/office/drawing/2014/main" id="{88EE7F50-4CDC-45A7-8B77-CE4DDE5D360E}"/>
              </a:ext>
              <a:ext uri="{C183D7F6-B498-43B3-948B-1728B52AA6E4}">
                <adec:decorative xmlns:adec="http://schemas.microsoft.com/office/drawing/2017/decorative" val="1"/>
              </a:ext>
            </a:extLst>
          </p:cNvPr>
          <p:cNvSpPr>
            <a:spLocks noChangeAspect="1" noEditPoints="1"/>
          </p:cNvSpPr>
          <p:nvPr/>
        </p:nvSpPr>
        <p:spPr bwMode="auto">
          <a:xfrm>
            <a:off x="7968217" y="5220899"/>
            <a:ext cx="99032" cy="148619"/>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6350" cap="flat">
            <a:solidFill>
              <a:srgbClr val="0078D7"/>
            </a:solidFill>
            <a:prstDash val="solid"/>
            <a:miter/>
          </a:ln>
        </p:spPr>
        <p:txBody>
          <a:bodyPr vert="horz" wrap="square" lIns="91427" tIns="45713" rIns="91427" bIns="45713" numCol="1" anchor="t" anchorCtr="0" compatLnSpc="1">
            <a:prstTxWarp prst="textNoShape">
              <a:avLst/>
            </a:prstTxWarp>
          </a:bodyPr>
          <a:lstStyle/>
          <a:p>
            <a:endParaRPr lang="en-US"/>
          </a:p>
        </p:txBody>
      </p:sp>
      <p:pic>
        <p:nvPicPr>
          <p:cNvPr id="389" name="Graphic 388">
            <a:extLst>
              <a:ext uri="{FF2B5EF4-FFF2-40B4-BE49-F238E27FC236}">
                <a16:creationId xmlns:a16="http://schemas.microsoft.com/office/drawing/2014/main" id="{AA625821-4BFC-4A09-80F2-FC4C83F65698}"/>
              </a:ext>
              <a:ext uri="{C183D7F6-B498-43B3-948B-1728B52AA6E4}">
                <adec:decorative xmlns:adec="http://schemas.microsoft.com/office/drawing/2017/decorative" val="1"/>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flipH="1">
            <a:off x="8639653" y="5224458"/>
            <a:ext cx="59661" cy="155114"/>
          </a:xfrm>
          <a:prstGeom prst="rect">
            <a:avLst/>
          </a:prstGeom>
        </p:spPr>
      </p:pic>
      <p:grpSp>
        <p:nvGrpSpPr>
          <p:cNvPr id="390" name="Group 389">
            <a:extLst>
              <a:ext uri="{FF2B5EF4-FFF2-40B4-BE49-F238E27FC236}">
                <a16:creationId xmlns:a16="http://schemas.microsoft.com/office/drawing/2014/main" id="{06345F09-F498-4551-9A39-846C714ADA86}"/>
              </a:ext>
              <a:ext uri="{C183D7F6-B498-43B3-948B-1728B52AA6E4}">
                <adec:decorative xmlns:adec="http://schemas.microsoft.com/office/drawing/2017/decorative" val="1"/>
              </a:ext>
            </a:extLst>
          </p:cNvPr>
          <p:cNvGrpSpPr/>
          <p:nvPr/>
        </p:nvGrpSpPr>
        <p:grpSpPr>
          <a:xfrm flipV="1">
            <a:off x="8453014" y="5219443"/>
            <a:ext cx="124030" cy="150885"/>
            <a:chOff x="4097631" y="3947487"/>
            <a:chExt cx="213407" cy="91440"/>
          </a:xfrm>
          <a:solidFill>
            <a:srgbClr val="0078D7"/>
          </a:solidFill>
        </p:grpSpPr>
        <p:sp>
          <p:nvSpPr>
            <p:cNvPr id="391" name="Rectangle 390">
              <a:extLst>
                <a:ext uri="{FF2B5EF4-FFF2-40B4-BE49-F238E27FC236}">
                  <a16:creationId xmlns:a16="http://schemas.microsoft.com/office/drawing/2014/main" id="{1310AE35-969C-400E-A7A0-9621AD0A454A}"/>
                </a:ext>
              </a:extLst>
            </p:cNvPr>
            <p:cNvSpPr/>
            <p:nvPr/>
          </p:nvSpPr>
          <p:spPr bwMode="auto">
            <a:xfrm>
              <a:off x="4097631" y="3947498"/>
              <a:ext cx="45719" cy="2852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92" name="Rectangle 391">
              <a:extLst>
                <a:ext uri="{FF2B5EF4-FFF2-40B4-BE49-F238E27FC236}">
                  <a16:creationId xmlns:a16="http://schemas.microsoft.com/office/drawing/2014/main" id="{CFC07BEB-CD53-4367-ADA7-FB0A6E447AB8}"/>
                </a:ext>
              </a:extLst>
            </p:cNvPr>
            <p:cNvSpPr/>
            <p:nvPr/>
          </p:nvSpPr>
          <p:spPr bwMode="auto">
            <a:xfrm>
              <a:off x="4153527" y="3947490"/>
              <a:ext cx="45719" cy="484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93" name="Rectangle 392">
              <a:extLst>
                <a:ext uri="{FF2B5EF4-FFF2-40B4-BE49-F238E27FC236}">
                  <a16:creationId xmlns:a16="http://schemas.microsoft.com/office/drawing/2014/main" id="{E15555F1-1C65-4000-A23C-EAA4928BE377}"/>
                </a:ext>
              </a:extLst>
            </p:cNvPr>
            <p:cNvSpPr/>
            <p:nvPr/>
          </p:nvSpPr>
          <p:spPr bwMode="auto">
            <a:xfrm>
              <a:off x="4209547" y="3947487"/>
              <a:ext cx="45719" cy="6867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94" name="Rectangle 393">
              <a:extLst>
                <a:ext uri="{FF2B5EF4-FFF2-40B4-BE49-F238E27FC236}">
                  <a16:creationId xmlns:a16="http://schemas.microsoft.com/office/drawing/2014/main" id="{E1B0B239-8245-460F-9184-F641DAD05B0E}"/>
                </a:ext>
              </a:extLst>
            </p:cNvPr>
            <p:cNvSpPr/>
            <p:nvPr/>
          </p:nvSpPr>
          <p:spPr bwMode="auto">
            <a:xfrm>
              <a:off x="4265319" y="3947487"/>
              <a:ext cx="45719" cy="914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395" name="Graphic 394">
            <a:extLst>
              <a:ext uri="{FF2B5EF4-FFF2-40B4-BE49-F238E27FC236}">
                <a16:creationId xmlns:a16="http://schemas.microsoft.com/office/drawing/2014/main" id="{9AE73A6F-B596-474E-A994-79B2416DA702}"/>
              </a:ext>
              <a:ext uri="{C183D7F6-B498-43B3-948B-1728B52AA6E4}">
                <adec:decorative xmlns:adec="http://schemas.microsoft.com/office/drawing/2017/decorative" val="1"/>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flipH="1">
            <a:off x="8663899" y="2948854"/>
            <a:ext cx="59661" cy="155114"/>
          </a:xfrm>
          <a:prstGeom prst="rect">
            <a:avLst/>
          </a:prstGeom>
        </p:spPr>
      </p:pic>
      <p:grpSp>
        <p:nvGrpSpPr>
          <p:cNvPr id="396" name="Group 395">
            <a:extLst>
              <a:ext uri="{FF2B5EF4-FFF2-40B4-BE49-F238E27FC236}">
                <a16:creationId xmlns:a16="http://schemas.microsoft.com/office/drawing/2014/main" id="{7C93B43E-BAF9-4B68-86D1-03AB0EDB92A9}"/>
              </a:ext>
              <a:ext uri="{C183D7F6-B498-43B3-948B-1728B52AA6E4}">
                <adec:decorative xmlns:adec="http://schemas.microsoft.com/office/drawing/2017/decorative" val="1"/>
              </a:ext>
            </a:extLst>
          </p:cNvPr>
          <p:cNvGrpSpPr/>
          <p:nvPr/>
        </p:nvGrpSpPr>
        <p:grpSpPr>
          <a:xfrm>
            <a:off x="8782297" y="2948855"/>
            <a:ext cx="155822" cy="155818"/>
            <a:chOff x="3398698" y="3484566"/>
            <a:chExt cx="590092" cy="571501"/>
          </a:xfrm>
          <a:solidFill>
            <a:srgbClr val="0078D7"/>
          </a:solidFill>
        </p:grpSpPr>
        <p:sp>
          <p:nvSpPr>
            <p:cNvPr id="397" name="Freeform 127">
              <a:extLst>
                <a:ext uri="{FF2B5EF4-FFF2-40B4-BE49-F238E27FC236}">
                  <a16:creationId xmlns:a16="http://schemas.microsoft.com/office/drawing/2014/main" id="{4C88AB85-B028-4E69-851B-6BFFC37B9AFA}"/>
                </a:ext>
              </a:extLst>
            </p:cNvPr>
            <p:cNvSpPr>
              <a:spLocks noChangeArrowheads="1"/>
            </p:cNvSpPr>
            <p:nvPr/>
          </p:nvSpPr>
          <p:spPr bwMode="auto">
            <a:xfrm>
              <a:off x="3605636" y="3484566"/>
              <a:ext cx="298450" cy="571501"/>
            </a:xfrm>
            <a:custGeom>
              <a:avLst/>
              <a:gdLst>
                <a:gd name="T0" fmla="*/ 257 w 828"/>
                <a:gd name="T1" fmla="*/ 1396 h 1586"/>
                <a:gd name="T2" fmla="*/ 263 w 828"/>
                <a:gd name="T3" fmla="*/ 1388 h 1586"/>
                <a:gd name="T4" fmla="*/ 791 w 828"/>
                <a:gd name="T5" fmla="*/ 251 h 1586"/>
                <a:gd name="T6" fmla="*/ 793 w 828"/>
                <a:gd name="T7" fmla="*/ 192 h 1586"/>
                <a:gd name="T8" fmla="*/ 799 w 828"/>
                <a:gd name="T9" fmla="*/ 178 h 1586"/>
                <a:gd name="T10" fmla="*/ 743 w 828"/>
                <a:gd name="T11" fmla="*/ 26 h 1586"/>
                <a:gd name="T12" fmla="*/ 590 w 828"/>
                <a:gd name="T13" fmla="*/ 79 h 1586"/>
                <a:gd name="T14" fmla="*/ 435 w 828"/>
                <a:gd name="T15" fmla="*/ 139 h 1586"/>
                <a:gd name="T16" fmla="*/ 235 w 828"/>
                <a:gd name="T17" fmla="*/ 567 h 1586"/>
                <a:gd name="T18" fmla="*/ 249 w 828"/>
                <a:gd name="T19" fmla="*/ 604 h 1586"/>
                <a:gd name="T20" fmla="*/ 285 w 828"/>
                <a:gd name="T21" fmla="*/ 590 h 1586"/>
                <a:gd name="T22" fmla="*/ 486 w 828"/>
                <a:gd name="T23" fmla="*/ 161 h 1586"/>
                <a:gd name="T24" fmla="*/ 545 w 828"/>
                <a:gd name="T25" fmla="*/ 124 h 1586"/>
                <a:gd name="T26" fmla="*/ 539 w 828"/>
                <a:gd name="T27" fmla="*/ 136 h 1586"/>
                <a:gd name="T28" fmla="*/ 12 w 828"/>
                <a:gd name="T29" fmla="*/ 1269 h 1586"/>
                <a:gd name="T30" fmla="*/ 6 w 828"/>
                <a:gd name="T31" fmla="*/ 1314 h 1586"/>
                <a:gd name="T32" fmla="*/ 0 w 828"/>
                <a:gd name="T33" fmla="*/ 1548 h 1586"/>
                <a:gd name="T34" fmla="*/ 20 w 828"/>
                <a:gd name="T35" fmla="*/ 1579 h 1586"/>
                <a:gd name="T36" fmla="*/ 57 w 828"/>
                <a:gd name="T37" fmla="*/ 1574 h 1586"/>
                <a:gd name="T38" fmla="*/ 246 w 828"/>
                <a:gd name="T39" fmla="*/ 1410 h 1586"/>
                <a:gd name="T40" fmla="*/ 257 w 828"/>
                <a:gd name="T41" fmla="*/ 1396 h 1586"/>
                <a:gd name="T42" fmla="*/ 74 w 828"/>
                <a:gd name="T43" fmla="*/ 1306 h 1586"/>
                <a:gd name="T44" fmla="*/ 74 w 828"/>
                <a:gd name="T45" fmla="*/ 1300 h 1586"/>
                <a:gd name="T46" fmla="*/ 74 w 828"/>
                <a:gd name="T47" fmla="*/ 1297 h 1586"/>
                <a:gd name="T48" fmla="*/ 601 w 828"/>
                <a:gd name="T49" fmla="*/ 167 h 1586"/>
                <a:gd name="T50" fmla="*/ 610 w 828"/>
                <a:gd name="T51" fmla="*/ 164 h 1586"/>
                <a:gd name="T52" fmla="*/ 723 w 828"/>
                <a:gd name="T53" fmla="*/ 215 h 1586"/>
                <a:gd name="T54" fmla="*/ 726 w 828"/>
                <a:gd name="T55" fmla="*/ 223 h 1586"/>
                <a:gd name="T56" fmla="*/ 198 w 828"/>
                <a:gd name="T57" fmla="*/ 1357 h 1586"/>
                <a:gd name="T58" fmla="*/ 189 w 828"/>
                <a:gd name="T59" fmla="*/ 1359 h 1586"/>
                <a:gd name="T60" fmla="*/ 74 w 828"/>
                <a:gd name="T61" fmla="*/ 1306 h 1586"/>
                <a:gd name="T62" fmla="*/ 720 w 828"/>
                <a:gd name="T63" fmla="*/ 76 h 1586"/>
                <a:gd name="T64" fmla="*/ 751 w 828"/>
                <a:gd name="T65" fmla="*/ 150 h 1586"/>
                <a:gd name="T66" fmla="*/ 644 w 828"/>
                <a:gd name="T67" fmla="*/ 99 h 1586"/>
                <a:gd name="T68" fmla="*/ 720 w 828"/>
                <a:gd name="T69" fmla="*/ 76 h 1586"/>
                <a:gd name="T70" fmla="*/ 71 w 828"/>
                <a:gd name="T71" fmla="*/ 1472 h 1586"/>
                <a:gd name="T72" fmla="*/ 74 w 828"/>
                <a:gd name="T73" fmla="*/ 1385 h 1586"/>
                <a:gd name="T74" fmla="*/ 139 w 828"/>
                <a:gd name="T75" fmla="*/ 1416 h 1586"/>
                <a:gd name="T76" fmla="*/ 71 w 828"/>
                <a:gd name="T77" fmla="*/ 1472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28" h="1586">
                  <a:moveTo>
                    <a:pt x="257" y="1396"/>
                  </a:moveTo>
                  <a:cubicBezTo>
                    <a:pt x="260" y="1393"/>
                    <a:pt x="260" y="1390"/>
                    <a:pt x="263" y="1388"/>
                  </a:cubicBezTo>
                  <a:lnTo>
                    <a:pt x="791" y="251"/>
                  </a:lnTo>
                  <a:cubicBezTo>
                    <a:pt x="799" y="232"/>
                    <a:pt x="799" y="212"/>
                    <a:pt x="793" y="192"/>
                  </a:cubicBezTo>
                  <a:lnTo>
                    <a:pt x="799" y="178"/>
                  </a:lnTo>
                  <a:cubicBezTo>
                    <a:pt x="827" y="122"/>
                    <a:pt x="802" y="51"/>
                    <a:pt x="743" y="26"/>
                  </a:cubicBezTo>
                  <a:cubicBezTo>
                    <a:pt x="686" y="0"/>
                    <a:pt x="618" y="23"/>
                    <a:pt x="590" y="79"/>
                  </a:cubicBezTo>
                  <a:cubicBezTo>
                    <a:pt x="531" y="54"/>
                    <a:pt x="460" y="79"/>
                    <a:pt x="435" y="139"/>
                  </a:cubicBezTo>
                  <a:lnTo>
                    <a:pt x="235" y="567"/>
                  </a:lnTo>
                  <a:cubicBezTo>
                    <a:pt x="229" y="582"/>
                    <a:pt x="235" y="598"/>
                    <a:pt x="249" y="604"/>
                  </a:cubicBezTo>
                  <a:cubicBezTo>
                    <a:pt x="263" y="609"/>
                    <a:pt x="280" y="604"/>
                    <a:pt x="285" y="590"/>
                  </a:cubicBezTo>
                  <a:lnTo>
                    <a:pt x="486" y="161"/>
                  </a:lnTo>
                  <a:cubicBezTo>
                    <a:pt x="497" y="139"/>
                    <a:pt x="522" y="124"/>
                    <a:pt x="545" y="124"/>
                  </a:cubicBezTo>
                  <a:cubicBezTo>
                    <a:pt x="542" y="127"/>
                    <a:pt x="539" y="130"/>
                    <a:pt x="539" y="136"/>
                  </a:cubicBezTo>
                  <a:lnTo>
                    <a:pt x="12" y="1269"/>
                  </a:lnTo>
                  <a:cubicBezTo>
                    <a:pt x="6" y="1283"/>
                    <a:pt x="3" y="1300"/>
                    <a:pt x="6" y="1314"/>
                  </a:cubicBezTo>
                  <a:lnTo>
                    <a:pt x="0" y="1548"/>
                  </a:lnTo>
                  <a:cubicBezTo>
                    <a:pt x="0" y="1563"/>
                    <a:pt x="9" y="1574"/>
                    <a:pt x="20" y="1579"/>
                  </a:cubicBezTo>
                  <a:cubicBezTo>
                    <a:pt x="31" y="1585"/>
                    <a:pt x="48" y="1582"/>
                    <a:pt x="57" y="1574"/>
                  </a:cubicBezTo>
                  <a:lnTo>
                    <a:pt x="246" y="1410"/>
                  </a:lnTo>
                  <a:cubicBezTo>
                    <a:pt x="252" y="1407"/>
                    <a:pt x="254" y="1402"/>
                    <a:pt x="257" y="1396"/>
                  </a:cubicBezTo>
                  <a:close/>
                  <a:moveTo>
                    <a:pt x="74" y="1306"/>
                  </a:moveTo>
                  <a:lnTo>
                    <a:pt x="74" y="1300"/>
                  </a:lnTo>
                  <a:cubicBezTo>
                    <a:pt x="74" y="1300"/>
                    <a:pt x="74" y="1300"/>
                    <a:pt x="74" y="1297"/>
                  </a:cubicBezTo>
                  <a:lnTo>
                    <a:pt x="601" y="167"/>
                  </a:lnTo>
                  <a:cubicBezTo>
                    <a:pt x="604" y="164"/>
                    <a:pt x="607" y="161"/>
                    <a:pt x="610" y="164"/>
                  </a:cubicBezTo>
                  <a:lnTo>
                    <a:pt x="723" y="215"/>
                  </a:lnTo>
                  <a:cubicBezTo>
                    <a:pt x="726" y="218"/>
                    <a:pt x="728" y="220"/>
                    <a:pt x="726" y="223"/>
                  </a:cubicBezTo>
                  <a:lnTo>
                    <a:pt x="198" y="1357"/>
                  </a:lnTo>
                  <a:cubicBezTo>
                    <a:pt x="195" y="1359"/>
                    <a:pt x="192" y="1362"/>
                    <a:pt x="189" y="1359"/>
                  </a:cubicBezTo>
                  <a:lnTo>
                    <a:pt x="74" y="1306"/>
                  </a:lnTo>
                  <a:close/>
                  <a:moveTo>
                    <a:pt x="720" y="76"/>
                  </a:moveTo>
                  <a:cubicBezTo>
                    <a:pt x="748" y="91"/>
                    <a:pt x="760" y="122"/>
                    <a:pt x="751" y="150"/>
                  </a:cubicBezTo>
                  <a:lnTo>
                    <a:pt x="644" y="99"/>
                  </a:lnTo>
                  <a:cubicBezTo>
                    <a:pt x="658" y="74"/>
                    <a:pt x="692" y="65"/>
                    <a:pt x="720" y="76"/>
                  </a:cubicBezTo>
                  <a:close/>
                  <a:moveTo>
                    <a:pt x="71" y="1472"/>
                  </a:moveTo>
                  <a:lnTo>
                    <a:pt x="74" y="1385"/>
                  </a:lnTo>
                  <a:lnTo>
                    <a:pt x="139" y="1416"/>
                  </a:lnTo>
                  <a:lnTo>
                    <a:pt x="71" y="1472"/>
                  </a:lnTo>
                  <a:close/>
                </a:path>
              </a:pathLst>
            </a:custGeom>
            <a:solidFill>
              <a:srgbClr val="0078D7"/>
            </a:solidFill>
            <a:ln w="3175">
              <a:noFill/>
            </a:ln>
            <a:effectLst/>
          </p:spPr>
          <p:txBody>
            <a:bodyPr wrap="none" anchor="ctr"/>
            <a:lstStyle/>
            <a:p>
              <a:pPr algn="ctr" defTabSz="895526">
                <a:defRPr/>
              </a:pPr>
              <a:endParaRPr lang="en-US" sz="2353" u="sng" kern="0">
                <a:latin typeface="+mj-lt"/>
              </a:endParaRPr>
            </a:p>
          </p:txBody>
        </p:sp>
        <p:sp>
          <p:nvSpPr>
            <p:cNvPr id="398" name="Freeform 128">
              <a:extLst>
                <a:ext uri="{FF2B5EF4-FFF2-40B4-BE49-F238E27FC236}">
                  <a16:creationId xmlns:a16="http://schemas.microsoft.com/office/drawing/2014/main" id="{50EB2B3A-0414-4000-A28B-443FEA29106A}"/>
                </a:ext>
              </a:extLst>
            </p:cNvPr>
            <p:cNvSpPr>
              <a:spLocks noChangeArrowheads="1"/>
            </p:cNvSpPr>
            <p:nvPr/>
          </p:nvSpPr>
          <p:spPr bwMode="auto">
            <a:xfrm>
              <a:off x="3398698" y="3795726"/>
              <a:ext cx="257176" cy="258763"/>
            </a:xfrm>
            <a:custGeom>
              <a:avLst/>
              <a:gdLst>
                <a:gd name="T0" fmla="*/ 432 w 715"/>
                <a:gd name="T1" fmla="*/ 643 h 720"/>
                <a:gd name="T2" fmla="*/ 288 w 715"/>
                <a:gd name="T3" fmla="*/ 618 h 720"/>
                <a:gd name="T4" fmla="*/ 149 w 715"/>
                <a:gd name="T5" fmla="*/ 239 h 720"/>
                <a:gd name="T6" fmla="*/ 327 w 715"/>
                <a:gd name="T7" fmla="*/ 87 h 720"/>
                <a:gd name="T8" fmla="*/ 657 w 715"/>
                <a:gd name="T9" fmla="*/ 76 h 720"/>
                <a:gd name="T10" fmla="*/ 683 w 715"/>
                <a:gd name="T11" fmla="*/ 76 h 720"/>
                <a:gd name="T12" fmla="*/ 714 w 715"/>
                <a:gd name="T13" fmla="*/ 8 h 720"/>
                <a:gd name="T14" fmla="*/ 657 w 715"/>
                <a:gd name="T15" fmla="*/ 5 h 720"/>
                <a:gd name="T16" fmla="*/ 305 w 715"/>
                <a:gd name="T17" fmla="*/ 19 h 720"/>
                <a:gd name="T18" fmla="*/ 82 w 715"/>
                <a:gd name="T19" fmla="*/ 211 h 720"/>
                <a:gd name="T20" fmla="*/ 254 w 715"/>
                <a:gd name="T21" fmla="*/ 682 h 720"/>
                <a:gd name="T22" fmla="*/ 434 w 715"/>
                <a:gd name="T23" fmla="*/ 713 h 720"/>
                <a:gd name="T24" fmla="*/ 465 w 715"/>
                <a:gd name="T25" fmla="*/ 677 h 720"/>
                <a:gd name="T26" fmla="*/ 432 w 715"/>
                <a:gd name="T27" fmla="*/ 643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5" h="720">
                  <a:moveTo>
                    <a:pt x="432" y="643"/>
                  </a:moveTo>
                  <a:cubicBezTo>
                    <a:pt x="384" y="646"/>
                    <a:pt x="333" y="637"/>
                    <a:pt x="288" y="618"/>
                  </a:cubicBezTo>
                  <a:cubicBezTo>
                    <a:pt x="147" y="550"/>
                    <a:pt x="84" y="381"/>
                    <a:pt x="149" y="239"/>
                  </a:cubicBezTo>
                  <a:cubicBezTo>
                    <a:pt x="183" y="166"/>
                    <a:pt x="248" y="110"/>
                    <a:pt x="327" y="87"/>
                  </a:cubicBezTo>
                  <a:cubicBezTo>
                    <a:pt x="353" y="79"/>
                    <a:pt x="429" y="73"/>
                    <a:pt x="657" y="76"/>
                  </a:cubicBezTo>
                  <a:lnTo>
                    <a:pt x="683" y="76"/>
                  </a:lnTo>
                  <a:lnTo>
                    <a:pt x="714" y="8"/>
                  </a:lnTo>
                  <a:lnTo>
                    <a:pt x="657" y="5"/>
                  </a:lnTo>
                  <a:cubicBezTo>
                    <a:pt x="398" y="0"/>
                    <a:pt x="333" y="11"/>
                    <a:pt x="305" y="19"/>
                  </a:cubicBezTo>
                  <a:cubicBezTo>
                    <a:pt x="206" y="48"/>
                    <a:pt x="127" y="118"/>
                    <a:pt x="82" y="211"/>
                  </a:cubicBezTo>
                  <a:cubicBezTo>
                    <a:pt x="0" y="389"/>
                    <a:pt x="76" y="601"/>
                    <a:pt x="254" y="682"/>
                  </a:cubicBezTo>
                  <a:cubicBezTo>
                    <a:pt x="310" y="708"/>
                    <a:pt x="372" y="719"/>
                    <a:pt x="434" y="713"/>
                  </a:cubicBezTo>
                  <a:cubicBezTo>
                    <a:pt x="454" y="711"/>
                    <a:pt x="468" y="694"/>
                    <a:pt x="465" y="677"/>
                  </a:cubicBezTo>
                  <a:cubicBezTo>
                    <a:pt x="468" y="654"/>
                    <a:pt x="451" y="640"/>
                    <a:pt x="432" y="643"/>
                  </a:cubicBezTo>
                </a:path>
              </a:pathLst>
            </a:custGeom>
            <a:grpFill/>
            <a:ln w="0">
              <a:solidFill>
                <a:schemeClr val="bg1"/>
              </a:solidFill>
            </a:ln>
            <a:effectLst/>
          </p:spPr>
          <p:txBody>
            <a:bodyPr wrap="none" anchor="ctr"/>
            <a:lstStyle/>
            <a:p>
              <a:pPr algn="ctr" defTabSz="895526">
                <a:defRPr/>
              </a:pPr>
              <a:endParaRPr lang="en-US" sz="2353" u="sng" kern="0">
                <a:latin typeface="+mj-lt"/>
              </a:endParaRPr>
            </a:p>
          </p:txBody>
        </p:sp>
        <p:sp>
          <p:nvSpPr>
            <p:cNvPr id="399" name="Freeform 129">
              <a:extLst>
                <a:ext uri="{FF2B5EF4-FFF2-40B4-BE49-F238E27FC236}">
                  <a16:creationId xmlns:a16="http://schemas.microsoft.com/office/drawing/2014/main" id="{7D30349D-4F15-4A15-86E2-8776BB5953CA}"/>
                </a:ext>
              </a:extLst>
            </p:cNvPr>
            <p:cNvSpPr>
              <a:spLocks noChangeArrowheads="1"/>
            </p:cNvSpPr>
            <p:nvPr/>
          </p:nvSpPr>
          <p:spPr bwMode="auto">
            <a:xfrm>
              <a:off x="3791941" y="3670301"/>
              <a:ext cx="196849" cy="160338"/>
            </a:xfrm>
            <a:custGeom>
              <a:avLst/>
              <a:gdLst>
                <a:gd name="T0" fmla="*/ 398 w 548"/>
                <a:gd name="T1" fmla="*/ 37 h 444"/>
                <a:gd name="T2" fmla="*/ 166 w 548"/>
                <a:gd name="T3" fmla="*/ 74 h 444"/>
                <a:gd name="T4" fmla="*/ 144 w 548"/>
                <a:gd name="T5" fmla="*/ 119 h 444"/>
                <a:gd name="T6" fmla="*/ 155 w 548"/>
                <a:gd name="T7" fmla="*/ 136 h 444"/>
                <a:gd name="T8" fmla="*/ 203 w 548"/>
                <a:gd name="T9" fmla="*/ 133 h 444"/>
                <a:gd name="T10" fmla="*/ 367 w 548"/>
                <a:gd name="T11" fmla="*/ 99 h 444"/>
                <a:gd name="T12" fmla="*/ 434 w 548"/>
                <a:gd name="T13" fmla="*/ 285 h 444"/>
                <a:gd name="T14" fmla="*/ 234 w 548"/>
                <a:gd name="T15" fmla="*/ 369 h 444"/>
                <a:gd name="T16" fmla="*/ 50 w 548"/>
                <a:gd name="T17" fmla="*/ 364 h 444"/>
                <a:gd name="T18" fmla="*/ 31 w 548"/>
                <a:gd name="T19" fmla="*/ 364 h 444"/>
                <a:gd name="T20" fmla="*/ 0 w 548"/>
                <a:gd name="T21" fmla="*/ 431 h 444"/>
                <a:gd name="T22" fmla="*/ 50 w 548"/>
                <a:gd name="T23" fmla="*/ 434 h 444"/>
                <a:gd name="T24" fmla="*/ 237 w 548"/>
                <a:gd name="T25" fmla="*/ 440 h 444"/>
                <a:gd name="T26" fmla="*/ 502 w 548"/>
                <a:gd name="T27" fmla="*/ 317 h 444"/>
                <a:gd name="T28" fmla="*/ 398 w 548"/>
                <a:gd name="T29" fmla="*/ 3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8" h="444">
                  <a:moveTo>
                    <a:pt x="398" y="37"/>
                  </a:moveTo>
                  <a:cubicBezTo>
                    <a:pt x="321" y="0"/>
                    <a:pt x="228" y="17"/>
                    <a:pt x="166" y="74"/>
                  </a:cubicBezTo>
                  <a:lnTo>
                    <a:pt x="144" y="119"/>
                  </a:lnTo>
                  <a:cubicBezTo>
                    <a:pt x="146" y="125"/>
                    <a:pt x="149" y="130"/>
                    <a:pt x="155" y="136"/>
                  </a:cubicBezTo>
                  <a:cubicBezTo>
                    <a:pt x="169" y="150"/>
                    <a:pt x="192" y="147"/>
                    <a:pt x="203" y="133"/>
                  </a:cubicBezTo>
                  <a:cubicBezTo>
                    <a:pt x="242" y="88"/>
                    <a:pt x="310" y="74"/>
                    <a:pt x="367" y="99"/>
                  </a:cubicBezTo>
                  <a:cubicBezTo>
                    <a:pt x="437" y="133"/>
                    <a:pt x="468" y="215"/>
                    <a:pt x="434" y="285"/>
                  </a:cubicBezTo>
                  <a:cubicBezTo>
                    <a:pt x="400" y="358"/>
                    <a:pt x="307" y="369"/>
                    <a:pt x="234" y="369"/>
                  </a:cubicBezTo>
                  <a:cubicBezTo>
                    <a:pt x="189" y="369"/>
                    <a:pt x="127" y="366"/>
                    <a:pt x="50" y="364"/>
                  </a:cubicBezTo>
                  <a:lnTo>
                    <a:pt x="31" y="364"/>
                  </a:lnTo>
                  <a:lnTo>
                    <a:pt x="0" y="431"/>
                  </a:lnTo>
                  <a:lnTo>
                    <a:pt x="50" y="434"/>
                  </a:lnTo>
                  <a:cubicBezTo>
                    <a:pt x="127" y="437"/>
                    <a:pt x="192" y="440"/>
                    <a:pt x="237" y="440"/>
                  </a:cubicBezTo>
                  <a:cubicBezTo>
                    <a:pt x="369" y="443"/>
                    <a:pt x="463" y="400"/>
                    <a:pt x="502" y="317"/>
                  </a:cubicBezTo>
                  <a:cubicBezTo>
                    <a:pt x="547" y="212"/>
                    <a:pt x="502" y="88"/>
                    <a:pt x="398" y="37"/>
                  </a:cubicBezTo>
                </a:path>
              </a:pathLst>
            </a:custGeom>
            <a:grpFill/>
            <a:ln w="0">
              <a:solidFill>
                <a:schemeClr val="bg1"/>
              </a:solidFill>
            </a:ln>
            <a:effectLst/>
          </p:spPr>
          <p:txBody>
            <a:bodyPr wrap="none" anchor="ctr"/>
            <a:lstStyle/>
            <a:p>
              <a:pPr algn="ctr" defTabSz="895526">
                <a:defRPr/>
              </a:pPr>
              <a:endParaRPr lang="en-US" sz="2353" u="sng" kern="0">
                <a:latin typeface="+mj-lt"/>
              </a:endParaRPr>
            </a:p>
          </p:txBody>
        </p:sp>
      </p:grpSp>
      <p:pic>
        <p:nvPicPr>
          <p:cNvPr id="400" name="Graphic 399">
            <a:extLst>
              <a:ext uri="{FF2B5EF4-FFF2-40B4-BE49-F238E27FC236}">
                <a16:creationId xmlns:a16="http://schemas.microsoft.com/office/drawing/2014/main" id="{00524E1F-0339-4A69-87C7-D457390CDFA8}"/>
              </a:ext>
              <a:ext uri="{C183D7F6-B498-43B3-948B-1728B52AA6E4}">
                <adec:decorative xmlns:adec="http://schemas.microsoft.com/office/drawing/2017/decorative" val="1"/>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7828361" y="2920916"/>
            <a:ext cx="130118" cy="190839"/>
          </a:xfrm>
          <a:prstGeom prst="rect">
            <a:avLst/>
          </a:prstGeom>
        </p:spPr>
      </p:pic>
      <p:grpSp>
        <p:nvGrpSpPr>
          <p:cNvPr id="401" name="Group 400">
            <a:extLst>
              <a:ext uri="{FF2B5EF4-FFF2-40B4-BE49-F238E27FC236}">
                <a16:creationId xmlns:a16="http://schemas.microsoft.com/office/drawing/2014/main" id="{76FC2A7B-AF13-4418-A35A-C175F7A538A5}"/>
              </a:ext>
              <a:ext uri="{C183D7F6-B498-43B3-948B-1728B52AA6E4}">
                <adec:decorative xmlns:adec="http://schemas.microsoft.com/office/drawing/2017/decorative" val="1"/>
              </a:ext>
            </a:extLst>
          </p:cNvPr>
          <p:cNvGrpSpPr/>
          <p:nvPr/>
        </p:nvGrpSpPr>
        <p:grpSpPr>
          <a:xfrm flipV="1">
            <a:off x="8477259" y="2943839"/>
            <a:ext cx="124030" cy="150885"/>
            <a:chOff x="4097631" y="3947487"/>
            <a:chExt cx="213407" cy="91440"/>
          </a:xfrm>
          <a:solidFill>
            <a:srgbClr val="0078D7"/>
          </a:solidFill>
        </p:grpSpPr>
        <p:sp>
          <p:nvSpPr>
            <p:cNvPr id="402" name="Rectangle 401">
              <a:extLst>
                <a:ext uri="{FF2B5EF4-FFF2-40B4-BE49-F238E27FC236}">
                  <a16:creationId xmlns:a16="http://schemas.microsoft.com/office/drawing/2014/main" id="{3FFC3926-2884-4B2A-A65E-6C0B1C3D8F73}"/>
                </a:ext>
              </a:extLst>
            </p:cNvPr>
            <p:cNvSpPr/>
            <p:nvPr/>
          </p:nvSpPr>
          <p:spPr bwMode="auto">
            <a:xfrm>
              <a:off x="4097631" y="3947498"/>
              <a:ext cx="45719" cy="2852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03" name="Rectangle 402">
              <a:extLst>
                <a:ext uri="{FF2B5EF4-FFF2-40B4-BE49-F238E27FC236}">
                  <a16:creationId xmlns:a16="http://schemas.microsoft.com/office/drawing/2014/main" id="{0D140008-6F3D-47F7-84EB-79E77384D857}"/>
                </a:ext>
              </a:extLst>
            </p:cNvPr>
            <p:cNvSpPr/>
            <p:nvPr/>
          </p:nvSpPr>
          <p:spPr bwMode="auto">
            <a:xfrm>
              <a:off x="4153527" y="3947490"/>
              <a:ext cx="45719" cy="484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04" name="Rectangle 403">
              <a:extLst>
                <a:ext uri="{FF2B5EF4-FFF2-40B4-BE49-F238E27FC236}">
                  <a16:creationId xmlns:a16="http://schemas.microsoft.com/office/drawing/2014/main" id="{BA679A67-2358-4B78-B173-1E1B83C66AAF}"/>
                </a:ext>
              </a:extLst>
            </p:cNvPr>
            <p:cNvSpPr/>
            <p:nvPr/>
          </p:nvSpPr>
          <p:spPr bwMode="auto">
            <a:xfrm>
              <a:off x="4209547" y="3947487"/>
              <a:ext cx="45719" cy="6867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05" name="Rectangle 404">
              <a:extLst>
                <a:ext uri="{FF2B5EF4-FFF2-40B4-BE49-F238E27FC236}">
                  <a16:creationId xmlns:a16="http://schemas.microsoft.com/office/drawing/2014/main" id="{8C988539-1F70-4804-818C-492B0CBC8058}"/>
                </a:ext>
              </a:extLst>
            </p:cNvPr>
            <p:cNvSpPr/>
            <p:nvPr/>
          </p:nvSpPr>
          <p:spPr bwMode="auto">
            <a:xfrm>
              <a:off x="4265319" y="3947487"/>
              <a:ext cx="45719" cy="914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06" name="Graphic 305">
            <a:extLst>
              <a:ext uri="{FF2B5EF4-FFF2-40B4-BE49-F238E27FC236}">
                <a16:creationId xmlns:a16="http://schemas.microsoft.com/office/drawing/2014/main" id="{6986AA6B-BB38-4698-A4F3-7E5130FFAAC3}"/>
              </a:ext>
              <a:ext uri="{C183D7F6-B498-43B3-948B-1728B52AA6E4}">
                <adec:decorative xmlns:adec="http://schemas.microsoft.com/office/drawing/2017/decorative" val="1"/>
              </a:ext>
            </a:extLst>
          </p:cNvPr>
          <p:cNvGrpSpPr/>
          <p:nvPr/>
        </p:nvGrpSpPr>
        <p:grpSpPr>
          <a:xfrm>
            <a:off x="7434523" y="2996926"/>
            <a:ext cx="142852" cy="47312"/>
            <a:chOff x="3845953" y="3735365"/>
            <a:chExt cx="142873" cy="47319"/>
          </a:xfrm>
          <a:solidFill>
            <a:srgbClr val="0078D7"/>
          </a:solidFill>
        </p:grpSpPr>
        <p:sp>
          <p:nvSpPr>
            <p:cNvPr id="407" name="Freeform: Shape 406">
              <a:extLst>
                <a:ext uri="{FF2B5EF4-FFF2-40B4-BE49-F238E27FC236}">
                  <a16:creationId xmlns:a16="http://schemas.microsoft.com/office/drawing/2014/main" id="{46E1E544-BE2C-4086-B792-A9984726221E}"/>
                </a:ext>
              </a:extLst>
            </p:cNvPr>
            <p:cNvSpPr/>
            <p:nvPr/>
          </p:nvSpPr>
          <p:spPr>
            <a:xfrm>
              <a:off x="3864127" y="3750853"/>
              <a:ext cx="106583" cy="16287"/>
            </a:xfrm>
            <a:custGeom>
              <a:avLst/>
              <a:gdLst>
                <a:gd name="connsiteX0" fmla="*/ 103783 w 106583"/>
                <a:gd name="connsiteY0" fmla="*/ 0 h 16287"/>
                <a:gd name="connsiteX1" fmla="*/ 106583 w 106583"/>
                <a:gd name="connsiteY1" fmla="*/ 0 h 16287"/>
                <a:gd name="connsiteX2" fmla="*/ 106583 w 106583"/>
                <a:gd name="connsiteY2" fmla="*/ 16287 h 16287"/>
                <a:gd name="connsiteX3" fmla="*/ 103783 w 106583"/>
                <a:gd name="connsiteY3" fmla="*/ 16287 h 16287"/>
                <a:gd name="connsiteX4" fmla="*/ 2800 w 106583"/>
                <a:gd name="connsiteY4" fmla="*/ 16287 h 16287"/>
                <a:gd name="connsiteX5" fmla="*/ 2800 w 106583"/>
                <a:gd name="connsiteY5" fmla="*/ 0 h 16287"/>
                <a:gd name="connsiteX6" fmla="*/ 0 w 106583"/>
                <a:gd name="connsiteY6" fmla="*/ 0 h 16287"/>
                <a:gd name="connsiteX7" fmla="*/ 2800 w 106583"/>
                <a:gd name="connsiteY7" fmla="*/ 0 h 1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583" h="16287">
                  <a:moveTo>
                    <a:pt x="103783" y="0"/>
                  </a:moveTo>
                  <a:cubicBezTo>
                    <a:pt x="105330" y="0"/>
                    <a:pt x="106583" y="0"/>
                    <a:pt x="106583" y="0"/>
                  </a:cubicBezTo>
                  <a:lnTo>
                    <a:pt x="106583" y="16287"/>
                  </a:lnTo>
                  <a:cubicBezTo>
                    <a:pt x="106583" y="16287"/>
                    <a:pt x="105330" y="16287"/>
                    <a:pt x="103783" y="16287"/>
                  </a:cubicBezTo>
                  <a:lnTo>
                    <a:pt x="2800" y="16287"/>
                  </a:lnTo>
                  <a:lnTo>
                    <a:pt x="2800" y="0"/>
                  </a:lnTo>
                  <a:cubicBezTo>
                    <a:pt x="1254" y="0"/>
                    <a:pt x="0" y="0"/>
                    <a:pt x="0" y="0"/>
                  </a:cubicBezTo>
                  <a:cubicBezTo>
                    <a:pt x="0" y="0"/>
                    <a:pt x="1254" y="0"/>
                    <a:pt x="2800" y="0"/>
                  </a:cubicBezTo>
                  <a:close/>
                </a:path>
              </a:pathLst>
            </a:custGeom>
            <a:solidFill>
              <a:srgbClr val="0078D7"/>
            </a:solidFill>
            <a:ln w="5334" cap="flat">
              <a:noFill/>
              <a:prstDash val="solid"/>
              <a:miter/>
            </a:ln>
          </p:spPr>
          <p:txBody>
            <a:bodyPr rtlCol="0" anchor="ctr"/>
            <a:lstStyle/>
            <a:p>
              <a:endParaRPr lang="en-US"/>
            </a:p>
          </p:txBody>
        </p:sp>
        <p:sp>
          <p:nvSpPr>
            <p:cNvPr id="408" name="Freeform: Shape 407">
              <a:extLst>
                <a:ext uri="{FF2B5EF4-FFF2-40B4-BE49-F238E27FC236}">
                  <a16:creationId xmlns:a16="http://schemas.microsoft.com/office/drawing/2014/main" id="{26DE4E43-237E-4B2E-8481-298A84E65570}"/>
                </a:ext>
              </a:extLst>
            </p:cNvPr>
            <p:cNvSpPr/>
            <p:nvPr/>
          </p:nvSpPr>
          <p:spPr>
            <a:xfrm>
              <a:off x="3845953" y="3735365"/>
              <a:ext cx="142873" cy="47319"/>
            </a:xfrm>
            <a:custGeom>
              <a:avLst/>
              <a:gdLst>
                <a:gd name="connsiteX0" fmla="*/ 119213 w 142873"/>
                <a:gd name="connsiteY0" fmla="*/ 0 h 47319"/>
                <a:gd name="connsiteX1" fmla="*/ 23660 w 142873"/>
                <a:gd name="connsiteY1" fmla="*/ 0 h 47319"/>
                <a:gd name="connsiteX2" fmla="*/ 0 w 142873"/>
                <a:gd name="connsiteY2" fmla="*/ 23660 h 47319"/>
                <a:gd name="connsiteX3" fmla="*/ 23660 w 142873"/>
                <a:gd name="connsiteY3" fmla="*/ 47319 h 47319"/>
                <a:gd name="connsiteX4" fmla="*/ 119213 w 142873"/>
                <a:gd name="connsiteY4" fmla="*/ 47319 h 47319"/>
                <a:gd name="connsiteX5" fmla="*/ 142873 w 142873"/>
                <a:gd name="connsiteY5" fmla="*/ 23660 h 47319"/>
                <a:gd name="connsiteX6" fmla="*/ 119213 w 142873"/>
                <a:gd name="connsiteY6" fmla="*/ 0 h 47319"/>
                <a:gd name="connsiteX7" fmla="*/ 133272 w 142873"/>
                <a:gd name="connsiteY7" fmla="*/ 28974 h 47319"/>
                <a:gd name="connsiteX8" fmla="*/ 121842 w 142873"/>
                <a:gd name="connsiteY8" fmla="*/ 40404 h 47319"/>
                <a:gd name="connsiteX9" fmla="*/ 20917 w 142873"/>
                <a:gd name="connsiteY9" fmla="*/ 40404 h 47319"/>
                <a:gd name="connsiteX10" fmla="*/ 9487 w 142873"/>
                <a:gd name="connsiteY10" fmla="*/ 28974 h 47319"/>
                <a:gd name="connsiteX11" fmla="*/ 9487 w 142873"/>
                <a:gd name="connsiteY11" fmla="*/ 18288 h 47319"/>
                <a:gd name="connsiteX12" fmla="*/ 20917 w 142873"/>
                <a:gd name="connsiteY12" fmla="*/ 6858 h 47319"/>
                <a:gd name="connsiteX13" fmla="*/ 121899 w 142873"/>
                <a:gd name="connsiteY13" fmla="*/ 6858 h 47319"/>
                <a:gd name="connsiteX14" fmla="*/ 133329 w 142873"/>
                <a:gd name="connsiteY14" fmla="*/ 18288 h 47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873" h="47319">
                  <a:moveTo>
                    <a:pt x="119213" y="0"/>
                  </a:moveTo>
                  <a:lnTo>
                    <a:pt x="23660" y="0"/>
                  </a:lnTo>
                  <a:cubicBezTo>
                    <a:pt x="10593" y="0"/>
                    <a:pt x="0" y="10593"/>
                    <a:pt x="0" y="23660"/>
                  </a:cubicBezTo>
                  <a:cubicBezTo>
                    <a:pt x="0" y="36726"/>
                    <a:pt x="10593" y="47319"/>
                    <a:pt x="23660" y="47319"/>
                  </a:cubicBezTo>
                  <a:lnTo>
                    <a:pt x="119213" y="47319"/>
                  </a:lnTo>
                  <a:cubicBezTo>
                    <a:pt x="132280" y="47319"/>
                    <a:pt x="142873" y="36726"/>
                    <a:pt x="142873" y="23660"/>
                  </a:cubicBezTo>
                  <a:cubicBezTo>
                    <a:pt x="142873" y="10593"/>
                    <a:pt x="132280" y="0"/>
                    <a:pt x="119213" y="0"/>
                  </a:cubicBezTo>
                  <a:close/>
                  <a:moveTo>
                    <a:pt x="133272" y="28974"/>
                  </a:moveTo>
                  <a:cubicBezTo>
                    <a:pt x="133272" y="35287"/>
                    <a:pt x="128155" y="40404"/>
                    <a:pt x="121842" y="40404"/>
                  </a:cubicBezTo>
                  <a:lnTo>
                    <a:pt x="20917" y="40404"/>
                  </a:lnTo>
                  <a:cubicBezTo>
                    <a:pt x="14604" y="40404"/>
                    <a:pt x="9487" y="35287"/>
                    <a:pt x="9487" y="28974"/>
                  </a:cubicBezTo>
                  <a:lnTo>
                    <a:pt x="9487" y="18288"/>
                  </a:lnTo>
                  <a:cubicBezTo>
                    <a:pt x="9487" y="11975"/>
                    <a:pt x="14604" y="6858"/>
                    <a:pt x="20917" y="6858"/>
                  </a:cubicBezTo>
                  <a:lnTo>
                    <a:pt x="121899" y="6858"/>
                  </a:lnTo>
                  <a:cubicBezTo>
                    <a:pt x="128212" y="6858"/>
                    <a:pt x="133329" y="11975"/>
                    <a:pt x="133329" y="18288"/>
                  </a:cubicBezTo>
                  <a:close/>
                </a:path>
              </a:pathLst>
            </a:custGeom>
            <a:solidFill>
              <a:srgbClr val="0078D7"/>
            </a:solidFill>
            <a:ln w="5334" cap="flat">
              <a:noFill/>
              <a:prstDash val="solid"/>
              <a:miter/>
            </a:ln>
          </p:spPr>
          <p:txBody>
            <a:bodyPr rtlCol="0" anchor="ctr"/>
            <a:lstStyle/>
            <a:p>
              <a:endParaRPr lang="en-US"/>
            </a:p>
          </p:txBody>
        </p:sp>
      </p:grpSp>
      <p:sp>
        <p:nvSpPr>
          <p:cNvPr id="409" name="Graphic 7">
            <a:extLst>
              <a:ext uri="{FF2B5EF4-FFF2-40B4-BE49-F238E27FC236}">
                <a16:creationId xmlns:a16="http://schemas.microsoft.com/office/drawing/2014/main" id="{982E609C-BEF2-4A28-8FE1-11BCE5A00430}"/>
              </a:ext>
              <a:ext uri="{C183D7F6-B498-43B3-948B-1728B52AA6E4}">
                <adec:decorative xmlns:adec="http://schemas.microsoft.com/office/drawing/2017/decorative" val="1"/>
              </a:ext>
            </a:extLst>
          </p:cNvPr>
          <p:cNvSpPr/>
          <p:nvPr/>
        </p:nvSpPr>
        <p:spPr>
          <a:xfrm>
            <a:off x="7621509" y="2934592"/>
            <a:ext cx="158790" cy="169376"/>
          </a:xfrm>
          <a:custGeom>
            <a:avLst/>
            <a:gdLst>
              <a:gd name="connsiteX0" fmla="*/ 109728 w 205740"/>
              <a:gd name="connsiteY0" fmla="*/ 27432 h 219456"/>
              <a:gd name="connsiteX1" fmla="*/ 96012 w 205740"/>
              <a:gd name="connsiteY1" fmla="*/ 27432 h 219456"/>
              <a:gd name="connsiteX2" fmla="*/ 96012 w 205740"/>
              <a:gd name="connsiteY2" fmla="*/ 0 h 219456"/>
              <a:gd name="connsiteX3" fmla="*/ 109728 w 205740"/>
              <a:gd name="connsiteY3" fmla="*/ 0 h 219456"/>
              <a:gd name="connsiteX4" fmla="*/ 44714 w 205740"/>
              <a:gd name="connsiteY4" fmla="*/ 54315 h 219456"/>
              <a:gd name="connsiteX5" fmla="*/ 25306 w 205740"/>
              <a:gd name="connsiteY5" fmla="*/ 34907 h 219456"/>
              <a:gd name="connsiteX6" fmla="*/ 34907 w 205740"/>
              <a:gd name="connsiteY6" fmla="*/ 25306 h 219456"/>
              <a:gd name="connsiteX7" fmla="*/ 54315 w 205740"/>
              <a:gd name="connsiteY7" fmla="*/ 44714 h 219456"/>
              <a:gd name="connsiteX8" fmla="*/ 0 w 205740"/>
              <a:gd name="connsiteY8" fmla="*/ 96012 h 219456"/>
              <a:gd name="connsiteX9" fmla="*/ 27432 w 205740"/>
              <a:gd name="connsiteY9" fmla="*/ 96012 h 219456"/>
              <a:gd name="connsiteX10" fmla="*/ 27432 w 205740"/>
              <a:gd name="connsiteY10" fmla="*/ 109728 h 219456"/>
              <a:gd name="connsiteX11" fmla="*/ 0 w 205740"/>
              <a:gd name="connsiteY11" fmla="*/ 109728 h 219456"/>
              <a:gd name="connsiteX12" fmla="*/ 205740 w 205740"/>
              <a:gd name="connsiteY12" fmla="*/ 96012 h 219456"/>
              <a:gd name="connsiteX13" fmla="*/ 205740 w 205740"/>
              <a:gd name="connsiteY13" fmla="*/ 109728 h 219456"/>
              <a:gd name="connsiteX14" fmla="*/ 178308 w 205740"/>
              <a:gd name="connsiteY14" fmla="*/ 109728 h 219456"/>
              <a:gd name="connsiteX15" fmla="*/ 178308 w 205740"/>
              <a:gd name="connsiteY15" fmla="*/ 96012 h 219456"/>
              <a:gd name="connsiteX16" fmla="*/ 161026 w 205740"/>
              <a:gd name="connsiteY16" fmla="*/ 54315 h 219456"/>
              <a:gd name="connsiteX17" fmla="*/ 151425 w 205740"/>
              <a:gd name="connsiteY17" fmla="*/ 44714 h 219456"/>
              <a:gd name="connsiteX18" fmla="*/ 170833 w 205740"/>
              <a:gd name="connsiteY18" fmla="*/ 25306 h 219456"/>
              <a:gd name="connsiteX19" fmla="*/ 180434 w 205740"/>
              <a:gd name="connsiteY19" fmla="*/ 34907 h 219456"/>
              <a:gd name="connsiteX20" fmla="*/ 102870 w 205740"/>
              <a:gd name="connsiteY20" fmla="*/ 54864 h 219456"/>
              <a:gd name="connsiteX21" fmla="*/ 121524 w 205740"/>
              <a:gd name="connsiteY21" fmla="*/ 58636 h 219456"/>
              <a:gd name="connsiteX22" fmla="*/ 136749 w 205740"/>
              <a:gd name="connsiteY22" fmla="*/ 68923 h 219456"/>
              <a:gd name="connsiteX23" fmla="*/ 147036 w 205740"/>
              <a:gd name="connsiteY23" fmla="*/ 84148 h 219456"/>
              <a:gd name="connsiteX24" fmla="*/ 150876 w 205740"/>
              <a:gd name="connsiteY24" fmla="*/ 102870 h 219456"/>
              <a:gd name="connsiteX25" fmla="*/ 150876 w 205740"/>
              <a:gd name="connsiteY25" fmla="*/ 178308 h 219456"/>
              <a:gd name="connsiteX26" fmla="*/ 164592 w 205740"/>
              <a:gd name="connsiteY26" fmla="*/ 178308 h 219456"/>
              <a:gd name="connsiteX27" fmla="*/ 164592 w 205740"/>
              <a:gd name="connsiteY27" fmla="*/ 192024 h 219456"/>
              <a:gd name="connsiteX28" fmla="*/ 137160 w 205740"/>
              <a:gd name="connsiteY28" fmla="*/ 192024 h 219456"/>
              <a:gd name="connsiteX29" fmla="*/ 137160 w 205740"/>
              <a:gd name="connsiteY29" fmla="*/ 219456 h 219456"/>
              <a:gd name="connsiteX30" fmla="*/ 123444 w 205740"/>
              <a:gd name="connsiteY30" fmla="*/ 219456 h 219456"/>
              <a:gd name="connsiteX31" fmla="*/ 123444 w 205740"/>
              <a:gd name="connsiteY31" fmla="*/ 192024 h 219456"/>
              <a:gd name="connsiteX32" fmla="*/ 82296 w 205740"/>
              <a:gd name="connsiteY32" fmla="*/ 192024 h 219456"/>
              <a:gd name="connsiteX33" fmla="*/ 82296 w 205740"/>
              <a:gd name="connsiteY33" fmla="*/ 219456 h 219456"/>
              <a:gd name="connsiteX34" fmla="*/ 68580 w 205740"/>
              <a:gd name="connsiteY34" fmla="*/ 219456 h 219456"/>
              <a:gd name="connsiteX35" fmla="*/ 68580 w 205740"/>
              <a:gd name="connsiteY35" fmla="*/ 192024 h 219456"/>
              <a:gd name="connsiteX36" fmla="*/ 41148 w 205740"/>
              <a:gd name="connsiteY36" fmla="*/ 192024 h 219456"/>
              <a:gd name="connsiteX37" fmla="*/ 41148 w 205740"/>
              <a:gd name="connsiteY37" fmla="*/ 178308 h 219456"/>
              <a:gd name="connsiteX38" fmla="*/ 54864 w 205740"/>
              <a:gd name="connsiteY38" fmla="*/ 178308 h 219456"/>
              <a:gd name="connsiteX39" fmla="*/ 54864 w 205740"/>
              <a:gd name="connsiteY39" fmla="*/ 102870 h 219456"/>
              <a:gd name="connsiteX40" fmla="*/ 58636 w 205740"/>
              <a:gd name="connsiteY40" fmla="*/ 84216 h 219456"/>
              <a:gd name="connsiteX41" fmla="*/ 68923 w 205740"/>
              <a:gd name="connsiteY41" fmla="*/ 68991 h 219456"/>
              <a:gd name="connsiteX42" fmla="*/ 84148 w 205740"/>
              <a:gd name="connsiteY42" fmla="*/ 58704 h 219456"/>
              <a:gd name="connsiteX43" fmla="*/ 102870 w 205740"/>
              <a:gd name="connsiteY43" fmla="*/ 54864 h 219456"/>
              <a:gd name="connsiteX44" fmla="*/ 137160 w 205740"/>
              <a:gd name="connsiteY44" fmla="*/ 178308 h 219456"/>
              <a:gd name="connsiteX45" fmla="*/ 137160 w 205740"/>
              <a:gd name="connsiteY45" fmla="*/ 102870 h 219456"/>
              <a:gd name="connsiteX46" fmla="*/ 134485 w 205740"/>
              <a:gd name="connsiteY46" fmla="*/ 89565 h 219456"/>
              <a:gd name="connsiteX47" fmla="*/ 127079 w 205740"/>
              <a:gd name="connsiteY47" fmla="*/ 78730 h 219456"/>
              <a:gd name="connsiteX48" fmla="*/ 116175 w 205740"/>
              <a:gd name="connsiteY48" fmla="*/ 71392 h 219456"/>
              <a:gd name="connsiteX49" fmla="*/ 102870 w 205740"/>
              <a:gd name="connsiteY49" fmla="*/ 68580 h 219456"/>
              <a:gd name="connsiteX50" fmla="*/ 89565 w 205740"/>
              <a:gd name="connsiteY50" fmla="*/ 71255 h 219456"/>
              <a:gd name="connsiteX51" fmla="*/ 78730 w 205740"/>
              <a:gd name="connsiteY51" fmla="*/ 78661 h 219456"/>
              <a:gd name="connsiteX52" fmla="*/ 71392 w 205740"/>
              <a:gd name="connsiteY52" fmla="*/ 89565 h 219456"/>
              <a:gd name="connsiteX53" fmla="*/ 68580 w 205740"/>
              <a:gd name="connsiteY53" fmla="*/ 102870 h 219456"/>
              <a:gd name="connsiteX54" fmla="*/ 68580 w 205740"/>
              <a:gd name="connsiteY54" fmla="*/ 178308 h 21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05740" h="219456">
                <a:moveTo>
                  <a:pt x="109728" y="27432"/>
                </a:moveTo>
                <a:lnTo>
                  <a:pt x="96012" y="27432"/>
                </a:lnTo>
                <a:lnTo>
                  <a:pt x="96012" y="0"/>
                </a:lnTo>
                <a:lnTo>
                  <a:pt x="109728" y="0"/>
                </a:lnTo>
                <a:close/>
                <a:moveTo>
                  <a:pt x="44714" y="54315"/>
                </a:moveTo>
                <a:lnTo>
                  <a:pt x="25306" y="34907"/>
                </a:lnTo>
                <a:lnTo>
                  <a:pt x="34907" y="25306"/>
                </a:lnTo>
                <a:lnTo>
                  <a:pt x="54315" y="44714"/>
                </a:lnTo>
                <a:close/>
                <a:moveTo>
                  <a:pt x="0" y="96012"/>
                </a:moveTo>
                <a:lnTo>
                  <a:pt x="27432" y="96012"/>
                </a:lnTo>
                <a:lnTo>
                  <a:pt x="27432" y="109728"/>
                </a:lnTo>
                <a:lnTo>
                  <a:pt x="0" y="109728"/>
                </a:lnTo>
                <a:close/>
                <a:moveTo>
                  <a:pt x="205740" y="96012"/>
                </a:moveTo>
                <a:lnTo>
                  <a:pt x="205740" y="109728"/>
                </a:lnTo>
                <a:lnTo>
                  <a:pt x="178308" y="109728"/>
                </a:lnTo>
                <a:lnTo>
                  <a:pt x="178308" y="96012"/>
                </a:lnTo>
                <a:close/>
                <a:moveTo>
                  <a:pt x="161026" y="54315"/>
                </a:moveTo>
                <a:lnTo>
                  <a:pt x="151425" y="44714"/>
                </a:lnTo>
                <a:lnTo>
                  <a:pt x="170833" y="25306"/>
                </a:lnTo>
                <a:lnTo>
                  <a:pt x="180434" y="34907"/>
                </a:lnTo>
                <a:close/>
                <a:moveTo>
                  <a:pt x="102870" y="54864"/>
                </a:moveTo>
                <a:cubicBezTo>
                  <a:pt x="109284" y="54802"/>
                  <a:pt x="115638" y="56087"/>
                  <a:pt x="121524" y="58636"/>
                </a:cubicBezTo>
                <a:cubicBezTo>
                  <a:pt x="127214" y="61053"/>
                  <a:pt x="132383" y="64546"/>
                  <a:pt x="136749" y="68923"/>
                </a:cubicBezTo>
                <a:cubicBezTo>
                  <a:pt x="141109" y="73302"/>
                  <a:pt x="144600" y="78469"/>
                  <a:pt x="147036" y="84148"/>
                </a:cubicBezTo>
                <a:cubicBezTo>
                  <a:pt x="149558" y="90068"/>
                  <a:pt x="150864" y="96435"/>
                  <a:pt x="150876" y="102870"/>
                </a:cubicBezTo>
                <a:lnTo>
                  <a:pt x="150876" y="178308"/>
                </a:lnTo>
                <a:lnTo>
                  <a:pt x="164592" y="178308"/>
                </a:lnTo>
                <a:lnTo>
                  <a:pt x="164592" y="192024"/>
                </a:lnTo>
                <a:lnTo>
                  <a:pt x="137160" y="192024"/>
                </a:lnTo>
                <a:lnTo>
                  <a:pt x="137160" y="219456"/>
                </a:lnTo>
                <a:lnTo>
                  <a:pt x="123444" y="219456"/>
                </a:lnTo>
                <a:lnTo>
                  <a:pt x="123444" y="192024"/>
                </a:lnTo>
                <a:lnTo>
                  <a:pt x="82296" y="192024"/>
                </a:lnTo>
                <a:lnTo>
                  <a:pt x="82296" y="219456"/>
                </a:lnTo>
                <a:lnTo>
                  <a:pt x="68580" y="219456"/>
                </a:lnTo>
                <a:lnTo>
                  <a:pt x="68580" y="192024"/>
                </a:lnTo>
                <a:lnTo>
                  <a:pt x="41148" y="192024"/>
                </a:lnTo>
                <a:lnTo>
                  <a:pt x="41148" y="178308"/>
                </a:lnTo>
                <a:lnTo>
                  <a:pt x="54864" y="178308"/>
                </a:lnTo>
                <a:lnTo>
                  <a:pt x="54864" y="102870"/>
                </a:lnTo>
                <a:cubicBezTo>
                  <a:pt x="54808" y="96457"/>
                  <a:pt x="56093" y="90103"/>
                  <a:pt x="58636" y="84216"/>
                </a:cubicBezTo>
                <a:cubicBezTo>
                  <a:pt x="61053" y="78526"/>
                  <a:pt x="64546" y="73357"/>
                  <a:pt x="68923" y="68991"/>
                </a:cubicBezTo>
                <a:cubicBezTo>
                  <a:pt x="73302" y="64631"/>
                  <a:pt x="78469" y="61141"/>
                  <a:pt x="84148" y="58704"/>
                </a:cubicBezTo>
                <a:cubicBezTo>
                  <a:pt x="90068" y="56182"/>
                  <a:pt x="96435" y="54876"/>
                  <a:pt x="102870" y="54864"/>
                </a:cubicBezTo>
                <a:close/>
                <a:moveTo>
                  <a:pt x="137160" y="178308"/>
                </a:moveTo>
                <a:lnTo>
                  <a:pt x="137160" y="102870"/>
                </a:lnTo>
                <a:cubicBezTo>
                  <a:pt x="137188" y="98299"/>
                  <a:pt x="136278" y="93771"/>
                  <a:pt x="134485" y="89565"/>
                </a:cubicBezTo>
                <a:cubicBezTo>
                  <a:pt x="132746" y="85506"/>
                  <a:pt x="130231" y="81824"/>
                  <a:pt x="127079" y="78730"/>
                </a:cubicBezTo>
                <a:cubicBezTo>
                  <a:pt x="123890" y="75679"/>
                  <a:pt x="120202" y="73197"/>
                  <a:pt x="116175" y="71392"/>
                </a:cubicBezTo>
                <a:cubicBezTo>
                  <a:pt x="111989" y="69523"/>
                  <a:pt x="107454" y="68565"/>
                  <a:pt x="102870" y="68580"/>
                </a:cubicBezTo>
                <a:cubicBezTo>
                  <a:pt x="98299" y="68552"/>
                  <a:pt x="93771" y="69462"/>
                  <a:pt x="89565" y="71255"/>
                </a:cubicBezTo>
                <a:cubicBezTo>
                  <a:pt x="85506" y="72994"/>
                  <a:pt x="81824" y="75509"/>
                  <a:pt x="78730" y="78661"/>
                </a:cubicBezTo>
                <a:cubicBezTo>
                  <a:pt x="75679" y="81850"/>
                  <a:pt x="73197" y="85538"/>
                  <a:pt x="71392" y="89565"/>
                </a:cubicBezTo>
                <a:cubicBezTo>
                  <a:pt x="69523" y="93751"/>
                  <a:pt x="68565" y="98286"/>
                  <a:pt x="68580" y="102870"/>
                </a:cubicBezTo>
                <a:lnTo>
                  <a:pt x="68580" y="178308"/>
                </a:lnTo>
                <a:close/>
              </a:path>
            </a:pathLst>
          </a:custGeom>
          <a:solidFill>
            <a:srgbClr val="0078D7"/>
          </a:solidFill>
          <a:ln w="3175" cap="flat">
            <a:solidFill>
              <a:schemeClr val="bg1"/>
            </a:solidFill>
            <a:prstDash val="solid"/>
            <a:miter/>
          </a:ln>
        </p:spPr>
        <p:txBody>
          <a:bodyPr rtlCol="0" anchor="ctr"/>
          <a:lstStyle/>
          <a:p>
            <a:endParaRPr lang="en-US"/>
          </a:p>
        </p:txBody>
      </p:sp>
      <p:grpSp>
        <p:nvGrpSpPr>
          <p:cNvPr id="410" name="Group 409">
            <a:extLst>
              <a:ext uri="{FF2B5EF4-FFF2-40B4-BE49-F238E27FC236}">
                <a16:creationId xmlns:a16="http://schemas.microsoft.com/office/drawing/2014/main" id="{68C85B14-4D96-450C-B4EB-93BF0B12384A}"/>
              </a:ext>
              <a:ext uri="{C183D7F6-B498-43B3-948B-1728B52AA6E4}">
                <adec:decorative xmlns:adec="http://schemas.microsoft.com/office/drawing/2017/decorative" val="1"/>
              </a:ext>
            </a:extLst>
          </p:cNvPr>
          <p:cNvGrpSpPr/>
          <p:nvPr/>
        </p:nvGrpSpPr>
        <p:grpSpPr>
          <a:xfrm>
            <a:off x="8198473" y="2972793"/>
            <a:ext cx="231162" cy="131704"/>
            <a:chOff x="1290799" y="6111564"/>
            <a:chExt cx="231195" cy="131722"/>
          </a:xfrm>
        </p:grpSpPr>
        <p:grpSp>
          <p:nvGrpSpPr>
            <p:cNvPr id="411" name="Graphic 54" descr="Camera">
              <a:extLst>
                <a:ext uri="{FF2B5EF4-FFF2-40B4-BE49-F238E27FC236}">
                  <a16:creationId xmlns:a16="http://schemas.microsoft.com/office/drawing/2014/main" id="{543C1695-6DBF-484B-8590-A9FDC15E1C20}"/>
                </a:ext>
              </a:extLst>
            </p:cNvPr>
            <p:cNvGrpSpPr/>
            <p:nvPr/>
          </p:nvGrpSpPr>
          <p:grpSpPr>
            <a:xfrm>
              <a:off x="1290799" y="6111564"/>
              <a:ext cx="158841" cy="131722"/>
              <a:chOff x="1290799" y="6111564"/>
              <a:chExt cx="158841" cy="131722"/>
            </a:xfrm>
            <a:solidFill>
              <a:srgbClr val="0078D7"/>
            </a:solidFill>
          </p:grpSpPr>
          <p:sp>
            <p:nvSpPr>
              <p:cNvPr id="413" name="Freeform: Shape 412">
                <a:extLst>
                  <a:ext uri="{FF2B5EF4-FFF2-40B4-BE49-F238E27FC236}">
                    <a16:creationId xmlns:a16="http://schemas.microsoft.com/office/drawing/2014/main" id="{2F4011AB-67A5-4777-90DB-492D234098F7}"/>
                  </a:ext>
                </a:extLst>
              </p:cNvPr>
              <p:cNvSpPr/>
              <p:nvPr/>
            </p:nvSpPr>
            <p:spPr>
              <a:xfrm>
                <a:off x="1290799" y="6111564"/>
                <a:ext cx="158841" cy="131722"/>
              </a:xfrm>
              <a:custGeom>
                <a:avLst/>
                <a:gdLst>
                  <a:gd name="connsiteX0" fmla="*/ 149156 w 158841"/>
                  <a:gd name="connsiteY0" fmla="*/ 19371 h 131722"/>
                  <a:gd name="connsiteX1" fmla="*/ 111511 w 158841"/>
                  <a:gd name="connsiteY1" fmla="*/ 19371 h 131722"/>
                  <a:gd name="connsiteX2" fmla="*/ 99888 w 158841"/>
                  <a:gd name="connsiteY2" fmla="*/ 0 h 131722"/>
                  <a:gd name="connsiteX3" fmla="*/ 58954 w 158841"/>
                  <a:gd name="connsiteY3" fmla="*/ 0 h 131722"/>
                  <a:gd name="connsiteX4" fmla="*/ 47331 w 158841"/>
                  <a:gd name="connsiteY4" fmla="*/ 19371 h 131722"/>
                  <a:gd name="connsiteX5" fmla="*/ 9685 w 158841"/>
                  <a:gd name="connsiteY5" fmla="*/ 19371 h 131722"/>
                  <a:gd name="connsiteX6" fmla="*/ 0 w 158841"/>
                  <a:gd name="connsiteY6" fmla="*/ 29056 h 131722"/>
                  <a:gd name="connsiteX7" fmla="*/ 0 w 158841"/>
                  <a:gd name="connsiteY7" fmla="*/ 122037 h 131722"/>
                  <a:gd name="connsiteX8" fmla="*/ 9685 w 158841"/>
                  <a:gd name="connsiteY8" fmla="*/ 131722 h 131722"/>
                  <a:gd name="connsiteX9" fmla="*/ 149156 w 158841"/>
                  <a:gd name="connsiteY9" fmla="*/ 131722 h 131722"/>
                  <a:gd name="connsiteX10" fmla="*/ 158842 w 158841"/>
                  <a:gd name="connsiteY10" fmla="*/ 122037 h 131722"/>
                  <a:gd name="connsiteX11" fmla="*/ 158842 w 158841"/>
                  <a:gd name="connsiteY11" fmla="*/ 29056 h 131722"/>
                  <a:gd name="connsiteX12" fmla="*/ 149156 w 158841"/>
                  <a:gd name="connsiteY12" fmla="*/ 19371 h 131722"/>
                  <a:gd name="connsiteX13" fmla="*/ 61146 w 158841"/>
                  <a:gd name="connsiteY13" fmla="*/ 3874 h 131722"/>
                  <a:gd name="connsiteX14" fmla="*/ 97695 w 158841"/>
                  <a:gd name="connsiteY14" fmla="*/ 3874 h 131722"/>
                  <a:gd name="connsiteX15" fmla="*/ 106993 w 158841"/>
                  <a:gd name="connsiteY15" fmla="*/ 19371 h 131722"/>
                  <a:gd name="connsiteX16" fmla="*/ 51848 w 158841"/>
                  <a:gd name="connsiteY16" fmla="*/ 19371 h 131722"/>
                  <a:gd name="connsiteX17" fmla="*/ 149156 w 158841"/>
                  <a:gd name="connsiteY17" fmla="*/ 23245 h 131722"/>
                  <a:gd name="connsiteX18" fmla="*/ 154968 w 158841"/>
                  <a:gd name="connsiteY18" fmla="*/ 29056 h 131722"/>
                  <a:gd name="connsiteX19" fmla="*/ 154968 w 158841"/>
                  <a:gd name="connsiteY19" fmla="*/ 122037 h 131722"/>
                  <a:gd name="connsiteX20" fmla="*/ 149156 w 158841"/>
                  <a:gd name="connsiteY20" fmla="*/ 127848 h 131722"/>
                  <a:gd name="connsiteX21" fmla="*/ 9685 w 158841"/>
                  <a:gd name="connsiteY21" fmla="*/ 127848 h 131722"/>
                  <a:gd name="connsiteX22" fmla="*/ 3874 w 158841"/>
                  <a:gd name="connsiteY22" fmla="*/ 122037 h 131722"/>
                  <a:gd name="connsiteX23" fmla="*/ 3874 w 158841"/>
                  <a:gd name="connsiteY23" fmla="*/ 29056 h 131722"/>
                  <a:gd name="connsiteX24" fmla="*/ 9685 w 158841"/>
                  <a:gd name="connsiteY24" fmla="*/ 23245 h 13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841" h="131722">
                    <a:moveTo>
                      <a:pt x="149156" y="19371"/>
                    </a:moveTo>
                    <a:lnTo>
                      <a:pt x="111511" y="19371"/>
                    </a:lnTo>
                    <a:lnTo>
                      <a:pt x="99888" y="0"/>
                    </a:lnTo>
                    <a:lnTo>
                      <a:pt x="58954" y="0"/>
                    </a:lnTo>
                    <a:lnTo>
                      <a:pt x="47331" y="19371"/>
                    </a:lnTo>
                    <a:lnTo>
                      <a:pt x="9685" y="19371"/>
                    </a:lnTo>
                    <a:cubicBezTo>
                      <a:pt x="4339" y="19377"/>
                      <a:pt x="6" y="23710"/>
                      <a:pt x="0" y="29056"/>
                    </a:cubicBezTo>
                    <a:lnTo>
                      <a:pt x="0" y="122037"/>
                    </a:lnTo>
                    <a:cubicBezTo>
                      <a:pt x="6" y="127383"/>
                      <a:pt x="4339" y="131716"/>
                      <a:pt x="9685" y="131722"/>
                    </a:cubicBezTo>
                    <a:lnTo>
                      <a:pt x="149156" y="131722"/>
                    </a:lnTo>
                    <a:cubicBezTo>
                      <a:pt x="154503" y="131716"/>
                      <a:pt x="158835" y="127383"/>
                      <a:pt x="158842" y="122037"/>
                    </a:cubicBezTo>
                    <a:lnTo>
                      <a:pt x="158842" y="29056"/>
                    </a:lnTo>
                    <a:cubicBezTo>
                      <a:pt x="158835" y="23710"/>
                      <a:pt x="154503" y="19377"/>
                      <a:pt x="149156" y="19371"/>
                    </a:cubicBezTo>
                    <a:close/>
                    <a:moveTo>
                      <a:pt x="61146" y="3874"/>
                    </a:moveTo>
                    <a:lnTo>
                      <a:pt x="97695" y="3874"/>
                    </a:lnTo>
                    <a:lnTo>
                      <a:pt x="106993" y="19371"/>
                    </a:lnTo>
                    <a:lnTo>
                      <a:pt x="51848" y="19371"/>
                    </a:lnTo>
                    <a:close/>
                    <a:moveTo>
                      <a:pt x="149156" y="23245"/>
                    </a:moveTo>
                    <a:cubicBezTo>
                      <a:pt x="152366" y="23245"/>
                      <a:pt x="154968" y="25847"/>
                      <a:pt x="154968" y="29056"/>
                    </a:cubicBezTo>
                    <a:lnTo>
                      <a:pt x="154968" y="122037"/>
                    </a:lnTo>
                    <a:cubicBezTo>
                      <a:pt x="154968" y="125246"/>
                      <a:pt x="152366" y="127848"/>
                      <a:pt x="149156" y="127848"/>
                    </a:cubicBezTo>
                    <a:lnTo>
                      <a:pt x="9685" y="127848"/>
                    </a:lnTo>
                    <a:cubicBezTo>
                      <a:pt x="6476" y="127848"/>
                      <a:pt x="3874" y="125246"/>
                      <a:pt x="3874" y="122037"/>
                    </a:cubicBezTo>
                    <a:lnTo>
                      <a:pt x="3874" y="29056"/>
                    </a:lnTo>
                    <a:cubicBezTo>
                      <a:pt x="3874" y="25847"/>
                      <a:pt x="6476" y="23245"/>
                      <a:pt x="9685" y="23245"/>
                    </a:cubicBezTo>
                    <a:close/>
                  </a:path>
                </a:pathLst>
              </a:custGeom>
              <a:solidFill>
                <a:srgbClr val="0078D7"/>
              </a:solidFill>
              <a:ln w="1885" cap="flat">
                <a:solidFill>
                  <a:srgbClr val="0078D7"/>
                </a:solidFill>
                <a:prstDash val="solid"/>
                <a:miter/>
              </a:ln>
            </p:spPr>
            <p:txBody>
              <a:bodyPr rtlCol="0" anchor="ctr"/>
              <a:lstStyle/>
              <a:p>
                <a:endParaRPr lang="en-US"/>
              </a:p>
            </p:txBody>
          </p:sp>
          <p:sp>
            <p:nvSpPr>
              <p:cNvPr id="414" name="Freeform: Shape 413">
                <a:extLst>
                  <a:ext uri="{FF2B5EF4-FFF2-40B4-BE49-F238E27FC236}">
                    <a16:creationId xmlns:a16="http://schemas.microsoft.com/office/drawing/2014/main" id="{4D575C2C-9730-4081-8396-385A57F8A1CB}"/>
                  </a:ext>
                </a:extLst>
              </p:cNvPr>
              <p:cNvSpPr/>
              <p:nvPr/>
            </p:nvSpPr>
            <p:spPr>
              <a:xfrm>
                <a:off x="1306296" y="6146432"/>
                <a:ext cx="25182" cy="17433"/>
              </a:xfrm>
              <a:custGeom>
                <a:avLst/>
                <a:gdLst>
                  <a:gd name="connsiteX0" fmla="*/ 0 w 25182"/>
                  <a:gd name="connsiteY0" fmla="*/ 17434 h 17433"/>
                  <a:gd name="connsiteX1" fmla="*/ 25182 w 25182"/>
                  <a:gd name="connsiteY1" fmla="*/ 17434 h 17433"/>
                  <a:gd name="connsiteX2" fmla="*/ 25182 w 25182"/>
                  <a:gd name="connsiteY2" fmla="*/ 0 h 17433"/>
                  <a:gd name="connsiteX3" fmla="*/ 0 w 25182"/>
                  <a:gd name="connsiteY3" fmla="*/ 0 h 17433"/>
                  <a:gd name="connsiteX4" fmla="*/ 3874 w 25182"/>
                  <a:gd name="connsiteY4" fmla="*/ 3874 h 17433"/>
                  <a:gd name="connsiteX5" fmla="*/ 21308 w 25182"/>
                  <a:gd name="connsiteY5" fmla="*/ 3874 h 17433"/>
                  <a:gd name="connsiteX6" fmla="*/ 21308 w 25182"/>
                  <a:gd name="connsiteY6" fmla="*/ 13560 h 17433"/>
                  <a:gd name="connsiteX7" fmla="*/ 3874 w 25182"/>
                  <a:gd name="connsiteY7" fmla="*/ 13560 h 17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17433">
                    <a:moveTo>
                      <a:pt x="0" y="17434"/>
                    </a:moveTo>
                    <a:lnTo>
                      <a:pt x="25182" y="17434"/>
                    </a:lnTo>
                    <a:lnTo>
                      <a:pt x="25182" y="0"/>
                    </a:lnTo>
                    <a:lnTo>
                      <a:pt x="0" y="0"/>
                    </a:lnTo>
                    <a:close/>
                    <a:moveTo>
                      <a:pt x="3874" y="3874"/>
                    </a:moveTo>
                    <a:lnTo>
                      <a:pt x="21308" y="3874"/>
                    </a:lnTo>
                    <a:lnTo>
                      <a:pt x="21308" y="13560"/>
                    </a:lnTo>
                    <a:lnTo>
                      <a:pt x="3874" y="13560"/>
                    </a:lnTo>
                    <a:close/>
                  </a:path>
                </a:pathLst>
              </a:custGeom>
              <a:solidFill>
                <a:srgbClr val="0078D7"/>
              </a:solidFill>
              <a:ln w="1885" cap="flat">
                <a:solidFill>
                  <a:srgbClr val="0078D7"/>
                </a:solidFill>
                <a:prstDash val="solid"/>
                <a:miter/>
              </a:ln>
            </p:spPr>
            <p:txBody>
              <a:bodyPr rtlCol="0" anchor="ctr"/>
              <a:lstStyle/>
              <a:p>
                <a:endParaRPr lang="en-US"/>
              </a:p>
            </p:txBody>
          </p:sp>
          <p:sp>
            <p:nvSpPr>
              <p:cNvPr id="415" name="Freeform: Shape 414">
                <a:extLst>
                  <a:ext uri="{FF2B5EF4-FFF2-40B4-BE49-F238E27FC236}">
                    <a16:creationId xmlns:a16="http://schemas.microsoft.com/office/drawing/2014/main" id="{02FF6B06-A1F8-4AE9-9F09-FCD9672E0A86}"/>
                  </a:ext>
                </a:extLst>
              </p:cNvPr>
              <p:cNvSpPr/>
              <p:nvPr/>
            </p:nvSpPr>
            <p:spPr>
              <a:xfrm>
                <a:off x="1335352" y="6156117"/>
                <a:ext cx="69735" cy="69735"/>
              </a:xfrm>
              <a:custGeom>
                <a:avLst/>
                <a:gdLst>
                  <a:gd name="connsiteX0" fmla="*/ 34868 w 69735"/>
                  <a:gd name="connsiteY0" fmla="*/ 0 h 69735"/>
                  <a:gd name="connsiteX1" fmla="*/ 0 w 69735"/>
                  <a:gd name="connsiteY1" fmla="*/ 34868 h 69735"/>
                  <a:gd name="connsiteX2" fmla="*/ 34868 w 69735"/>
                  <a:gd name="connsiteY2" fmla="*/ 69735 h 69735"/>
                  <a:gd name="connsiteX3" fmla="*/ 69735 w 69735"/>
                  <a:gd name="connsiteY3" fmla="*/ 34868 h 69735"/>
                  <a:gd name="connsiteX4" fmla="*/ 34868 w 69735"/>
                  <a:gd name="connsiteY4" fmla="*/ 0 h 69735"/>
                  <a:gd name="connsiteX5" fmla="*/ 34868 w 69735"/>
                  <a:gd name="connsiteY5" fmla="*/ 65861 h 69735"/>
                  <a:gd name="connsiteX6" fmla="*/ 3874 w 69735"/>
                  <a:gd name="connsiteY6" fmla="*/ 34868 h 69735"/>
                  <a:gd name="connsiteX7" fmla="*/ 34868 w 69735"/>
                  <a:gd name="connsiteY7" fmla="*/ 3874 h 69735"/>
                  <a:gd name="connsiteX8" fmla="*/ 65861 w 69735"/>
                  <a:gd name="connsiteY8" fmla="*/ 34868 h 69735"/>
                  <a:gd name="connsiteX9" fmla="*/ 34868 w 69735"/>
                  <a:gd name="connsiteY9" fmla="*/ 65861 h 69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735" h="69735">
                    <a:moveTo>
                      <a:pt x="34868" y="0"/>
                    </a:moveTo>
                    <a:cubicBezTo>
                      <a:pt x="15611" y="0"/>
                      <a:pt x="0" y="15611"/>
                      <a:pt x="0" y="34868"/>
                    </a:cubicBezTo>
                    <a:cubicBezTo>
                      <a:pt x="0" y="54125"/>
                      <a:pt x="15611" y="69735"/>
                      <a:pt x="34868" y="69735"/>
                    </a:cubicBezTo>
                    <a:cubicBezTo>
                      <a:pt x="54125" y="69735"/>
                      <a:pt x="69735" y="54125"/>
                      <a:pt x="69735" y="34868"/>
                    </a:cubicBezTo>
                    <a:cubicBezTo>
                      <a:pt x="69713" y="15620"/>
                      <a:pt x="54115" y="22"/>
                      <a:pt x="34868" y="0"/>
                    </a:cubicBezTo>
                    <a:close/>
                    <a:moveTo>
                      <a:pt x="34868" y="65861"/>
                    </a:moveTo>
                    <a:cubicBezTo>
                      <a:pt x="17750" y="65861"/>
                      <a:pt x="3874" y="51985"/>
                      <a:pt x="3874" y="34868"/>
                    </a:cubicBezTo>
                    <a:cubicBezTo>
                      <a:pt x="3874" y="17750"/>
                      <a:pt x="17750" y="3874"/>
                      <a:pt x="34868" y="3874"/>
                    </a:cubicBezTo>
                    <a:cubicBezTo>
                      <a:pt x="51985" y="3874"/>
                      <a:pt x="65861" y="17750"/>
                      <a:pt x="65861" y="34868"/>
                    </a:cubicBezTo>
                    <a:cubicBezTo>
                      <a:pt x="65841" y="51976"/>
                      <a:pt x="51976" y="65841"/>
                      <a:pt x="34868" y="65861"/>
                    </a:cubicBezTo>
                    <a:close/>
                  </a:path>
                </a:pathLst>
              </a:custGeom>
              <a:solidFill>
                <a:srgbClr val="0078D7"/>
              </a:solidFill>
              <a:ln w="1885" cap="flat">
                <a:solidFill>
                  <a:srgbClr val="0078D7"/>
                </a:solidFill>
                <a:prstDash val="solid"/>
                <a:miter/>
              </a:ln>
            </p:spPr>
            <p:txBody>
              <a:bodyPr rtlCol="0" anchor="ctr"/>
              <a:lstStyle/>
              <a:p>
                <a:endParaRPr lang="en-US"/>
              </a:p>
            </p:txBody>
          </p:sp>
        </p:grpSp>
        <p:sp>
          <p:nvSpPr>
            <p:cNvPr id="412" name="Rectangle 411">
              <a:extLst>
                <a:ext uri="{FF2B5EF4-FFF2-40B4-BE49-F238E27FC236}">
                  <a16:creationId xmlns:a16="http://schemas.microsoft.com/office/drawing/2014/main" id="{B63446D4-37EC-4B05-A4D9-84F25974F80E}"/>
                </a:ext>
              </a:extLst>
            </p:cNvPr>
            <p:cNvSpPr/>
            <p:nvPr/>
          </p:nvSpPr>
          <p:spPr bwMode="auto">
            <a:xfrm>
              <a:off x="1422947" y="6157764"/>
              <a:ext cx="99047" cy="56180"/>
            </a:xfrm>
            <a:prstGeom prst="rect">
              <a:avLst/>
            </a:prstGeom>
            <a:solidFill>
              <a:schemeClr val="bg1"/>
            </a:solidFill>
            <a:ln w="63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400" b="1">
                  <a:solidFill>
                    <a:srgbClr val="0078D7"/>
                  </a:solidFill>
                  <a:latin typeface="Segoe UI Black" panose="020B0A02040204020203" pitchFamily="34" charset="0"/>
                  <a:ea typeface="Segoe UI Black" panose="020B0A02040204020203" pitchFamily="34" charset="0"/>
                  <a:cs typeface="Segoe UI" pitchFamily="34" charset="0"/>
                </a:rPr>
                <a:t>HD</a:t>
              </a:r>
            </a:p>
          </p:txBody>
        </p:sp>
      </p:grpSp>
      <p:sp>
        <p:nvSpPr>
          <p:cNvPr id="416" name="Microphone_E720">
            <a:extLst>
              <a:ext uri="{FF2B5EF4-FFF2-40B4-BE49-F238E27FC236}">
                <a16:creationId xmlns:a16="http://schemas.microsoft.com/office/drawing/2014/main" id="{53FD28BA-728F-48DD-AA0F-28BBD5EE86FC}"/>
              </a:ext>
              <a:ext uri="{C183D7F6-B498-43B3-948B-1728B52AA6E4}">
                <adec:decorative xmlns:adec="http://schemas.microsoft.com/office/drawing/2017/decorative" val="1"/>
              </a:ext>
            </a:extLst>
          </p:cNvPr>
          <p:cNvSpPr>
            <a:spLocks noChangeAspect="1" noEditPoints="1"/>
          </p:cNvSpPr>
          <p:nvPr/>
        </p:nvSpPr>
        <p:spPr bwMode="auto">
          <a:xfrm>
            <a:off x="8028138" y="2952440"/>
            <a:ext cx="99032" cy="148619"/>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6350" cap="flat">
            <a:solidFill>
              <a:srgbClr val="0078D7"/>
            </a:solidFill>
            <a:prstDash val="solid"/>
            <a:miter/>
          </a:ln>
        </p:spPr>
        <p:txBody>
          <a:bodyPr vert="horz" wrap="square" lIns="91427" tIns="45713" rIns="91427" bIns="45713" numCol="1" anchor="t" anchorCtr="0" compatLnSpc="1">
            <a:prstTxWarp prst="textNoShape">
              <a:avLst/>
            </a:prstTxWarp>
          </a:bodyPr>
          <a:lstStyle/>
          <a:p>
            <a:endParaRPr lang="en-US"/>
          </a:p>
        </p:txBody>
      </p:sp>
      <p:sp>
        <p:nvSpPr>
          <p:cNvPr id="417" name="Stopwatch_E916">
            <a:extLst>
              <a:ext uri="{FF2B5EF4-FFF2-40B4-BE49-F238E27FC236}">
                <a16:creationId xmlns:a16="http://schemas.microsoft.com/office/drawing/2014/main" id="{4F1587C8-E440-4E77-9EBB-FC1AD659908B}"/>
              </a:ext>
              <a:ext uri="{C183D7F6-B498-43B3-948B-1728B52AA6E4}">
                <adec:decorative xmlns:adec="http://schemas.microsoft.com/office/drawing/2017/decorative" val="1"/>
              </a:ext>
            </a:extLst>
          </p:cNvPr>
          <p:cNvSpPr>
            <a:spLocks noChangeAspect="1" noEditPoints="1"/>
          </p:cNvSpPr>
          <p:nvPr/>
        </p:nvSpPr>
        <p:spPr bwMode="auto">
          <a:xfrm>
            <a:off x="1230625" y="2934435"/>
            <a:ext cx="135176" cy="152317"/>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6350" cap="sq">
            <a:solidFill>
              <a:srgbClr val="0078D7"/>
            </a:solidFill>
            <a:prstDash val="solid"/>
            <a:miter lim="800000"/>
            <a:headEnd/>
            <a:tailEnd/>
          </a:ln>
        </p:spPr>
        <p:txBody>
          <a:bodyPr vert="horz" wrap="square" lIns="89591" tIns="44795" rIns="89591" bIns="44795" numCol="1" anchor="t" anchorCtr="0" compatLnSpc="1">
            <a:prstTxWarp prst="textNoShape">
              <a:avLst/>
            </a:prstTxWarp>
          </a:bodyPr>
          <a:lstStyle/>
          <a:p>
            <a:pPr defTabSz="913791">
              <a:defRPr/>
            </a:pPr>
            <a:endParaRPr lang="en-US" sz="1960">
              <a:latin typeface="Segoe UI Semibold"/>
            </a:endParaRPr>
          </a:p>
        </p:txBody>
      </p:sp>
      <p:sp>
        <p:nvSpPr>
          <p:cNvPr id="418" name="Freeform 110">
            <a:extLst>
              <a:ext uri="{FF2B5EF4-FFF2-40B4-BE49-F238E27FC236}">
                <a16:creationId xmlns:a16="http://schemas.microsoft.com/office/drawing/2014/main" id="{23EC3374-CE3E-4142-8AF6-403121EAC333}"/>
              </a:ext>
              <a:ext uri="{C183D7F6-B498-43B3-948B-1728B52AA6E4}">
                <adec:decorative xmlns:adec="http://schemas.microsoft.com/office/drawing/2017/decorative" val="1"/>
              </a:ext>
            </a:extLst>
          </p:cNvPr>
          <p:cNvSpPr>
            <a:spLocks noChangeAspect="1" noEditPoints="1"/>
          </p:cNvSpPr>
          <p:nvPr/>
        </p:nvSpPr>
        <p:spPr bwMode="black">
          <a:xfrm>
            <a:off x="804413" y="2934435"/>
            <a:ext cx="87595" cy="164280"/>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rgbClr val="0078D7"/>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36" tIns="140509" rIns="175636" bIns="140509" numCol="1" spcCol="0" rtlCol="0" fromWordArt="0" anchor="t" anchorCtr="0" forceAA="0" compatLnSpc="1">
            <a:prstTxWarp prst="textNoShape">
              <a:avLst/>
            </a:prstTxWarp>
            <a:noAutofit/>
          </a:bodyPr>
          <a:lstStyle/>
          <a:p>
            <a:pPr algn="ctr" defTabSz="895235" fontAlgn="base">
              <a:spcBef>
                <a:spcPct val="0"/>
              </a:spcBef>
              <a:spcAft>
                <a:spcPct val="0"/>
              </a:spcAft>
              <a:defRPr/>
            </a:pPr>
            <a:endParaRPr lang="en-US" sz="1960">
              <a:solidFill>
                <a:schemeClr val="tx1"/>
              </a:solidFill>
              <a:latin typeface="Segoe UI"/>
              <a:ea typeface="Segoe UI" pitchFamily="34" charset="0"/>
              <a:cs typeface="Segoe UI" pitchFamily="34" charset="0"/>
            </a:endParaRPr>
          </a:p>
        </p:txBody>
      </p:sp>
      <p:pic>
        <p:nvPicPr>
          <p:cNvPr id="419" name="Graphic 418">
            <a:extLst>
              <a:ext uri="{FF2B5EF4-FFF2-40B4-BE49-F238E27FC236}">
                <a16:creationId xmlns:a16="http://schemas.microsoft.com/office/drawing/2014/main" id="{A910B0C6-B233-45CD-805E-46218BDF432D}"/>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70115" y="2934434"/>
            <a:ext cx="178252" cy="169274"/>
          </a:xfrm>
          <a:prstGeom prst="rect">
            <a:avLst/>
          </a:prstGeom>
        </p:spPr>
      </p:pic>
      <p:grpSp>
        <p:nvGrpSpPr>
          <p:cNvPr id="420" name="Group 419">
            <a:extLst>
              <a:ext uri="{FF2B5EF4-FFF2-40B4-BE49-F238E27FC236}">
                <a16:creationId xmlns:a16="http://schemas.microsoft.com/office/drawing/2014/main" id="{428813FF-4A96-4BEA-860D-5F49E87DF1AA}"/>
              </a:ext>
              <a:ext uri="{C183D7F6-B498-43B3-948B-1728B52AA6E4}">
                <adec:decorative xmlns:adec="http://schemas.microsoft.com/office/drawing/2017/decorative" val="1"/>
              </a:ext>
            </a:extLst>
          </p:cNvPr>
          <p:cNvGrpSpPr/>
          <p:nvPr/>
        </p:nvGrpSpPr>
        <p:grpSpPr>
          <a:xfrm>
            <a:off x="4125338" y="2953995"/>
            <a:ext cx="171923" cy="141585"/>
            <a:chOff x="1784728" y="3563937"/>
            <a:chExt cx="512763" cy="422275"/>
          </a:xfrm>
          <a:solidFill>
            <a:srgbClr val="0078D7"/>
          </a:solidFill>
        </p:grpSpPr>
        <p:sp>
          <p:nvSpPr>
            <p:cNvPr id="421" name="Freeform 131">
              <a:extLst>
                <a:ext uri="{FF2B5EF4-FFF2-40B4-BE49-F238E27FC236}">
                  <a16:creationId xmlns:a16="http://schemas.microsoft.com/office/drawing/2014/main" id="{0DB92738-04A6-4FE0-89EF-A578C677D506}"/>
                </a:ext>
              </a:extLst>
            </p:cNvPr>
            <p:cNvSpPr>
              <a:spLocks noChangeArrowheads="1"/>
            </p:cNvSpPr>
            <p:nvPr/>
          </p:nvSpPr>
          <p:spPr bwMode="auto">
            <a:xfrm>
              <a:off x="1784728" y="3790949"/>
              <a:ext cx="512763" cy="195263"/>
            </a:xfrm>
            <a:custGeom>
              <a:avLst/>
              <a:gdLst>
                <a:gd name="T0" fmla="*/ 708 w 1426"/>
                <a:gd name="T1" fmla="*/ 542 h 543"/>
                <a:gd name="T2" fmla="*/ 31 w 1426"/>
                <a:gd name="T3" fmla="*/ 184 h 543"/>
                <a:gd name="T4" fmla="*/ 53 w 1426"/>
                <a:gd name="T5" fmla="*/ 51 h 543"/>
                <a:gd name="T6" fmla="*/ 186 w 1426"/>
                <a:gd name="T7" fmla="*/ 74 h 543"/>
                <a:gd name="T8" fmla="*/ 705 w 1426"/>
                <a:gd name="T9" fmla="*/ 350 h 543"/>
                <a:gd name="T10" fmla="*/ 1236 w 1426"/>
                <a:gd name="T11" fmla="*/ 57 h 543"/>
                <a:gd name="T12" fmla="*/ 1368 w 1426"/>
                <a:gd name="T13" fmla="*/ 29 h 543"/>
                <a:gd name="T14" fmla="*/ 1396 w 1426"/>
                <a:gd name="T15" fmla="*/ 161 h 543"/>
                <a:gd name="T16" fmla="*/ 708 w 1426"/>
                <a:gd name="T17" fmla="*/ 54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6" h="543">
                  <a:moveTo>
                    <a:pt x="708" y="542"/>
                  </a:moveTo>
                  <a:cubicBezTo>
                    <a:pt x="440" y="542"/>
                    <a:pt x="186" y="407"/>
                    <a:pt x="31" y="184"/>
                  </a:cubicBezTo>
                  <a:cubicBezTo>
                    <a:pt x="0" y="141"/>
                    <a:pt x="11" y="79"/>
                    <a:pt x="53" y="51"/>
                  </a:cubicBezTo>
                  <a:cubicBezTo>
                    <a:pt x="96" y="20"/>
                    <a:pt x="158" y="31"/>
                    <a:pt x="186" y="74"/>
                  </a:cubicBezTo>
                  <a:cubicBezTo>
                    <a:pt x="307" y="246"/>
                    <a:pt x="502" y="350"/>
                    <a:pt x="705" y="350"/>
                  </a:cubicBezTo>
                  <a:cubicBezTo>
                    <a:pt x="917" y="350"/>
                    <a:pt x="1117" y="240"/>
                    <a:pt x="1236" y="57"/>
                  </a:cubicBezTo>
                  <a:cubicBezTo>
                    <a:pt x="1264" y="12"/>
                    <a:pt x="1323" y="0"/>
                    <a:pt x="1368" y="29"/>
                  </a:cubicBezTo>
                  <a:cubicBezTo>
                    <a:pt x="1413" y="57"/>
                    <a:pt x="1425" y="116"/>
                    <a:pt x="1396" y="161"/>
                  </a:cubicBezTo>
                  <a:cubicBezTo>
                    <a:pt x="1244" y="398"/>
                    <a:pt x="984" y="542"/>
                    <a:pt x="708" y="542"/>
                  </a:cubicBezTo>
                </a:path>
              </a:pathLst>
            </a:custGeom>
            <a:grpFill/>
            <a:ln w="12700">
              <a:solidFill>
                <a:schemeClr val="bg1"/>
              </a:solidFill>
            </a:ln>
            <a:effectLst/>
          </p:spPr>
          <p:txBody>
            <a:bodyPr wrap="none" anchor="ctr"/>
            <a:lstStyle/>
            <a:p>
              <a:pPr algn="ctr" defTabSz="895354">
                <a:defRPr/>
              </a:pPr>
              <a:endParaRPr lang="en-US" sz="2353" kern="0">
                <a:latin typeface="+mj-lt"/>
              </a:endParaRPr>
            </a:p>
          </p:txBody>
        </p:sp>
        <p:sp>
          <p:nvSpPr>
            <p:cNvPr id="422" name="Freeform 132">
              <a:extLst>
                <a:ext uri="{FF2B5EF4-FFF2-40B4-BE49-F238E27FC236}">
                  <a16:creationId xmlns:a16="http://schemas.microsoft.com/office/drawing/2014/main" id="{CAED99D9-EB0C-4A62-A1DB-F1EB5B3AD6F0}"/>
                </a:ext>
              </a:extLst>
            </p:cNvPr>
            <p:cNvSpPr>
              <a:spLocks noChangeArrowheads="1"/>
            </p:cNvSpPr>
            <p:nvPr/>
          </p:nvSpPr>
          <p:spPr bwMode="auto">
            <a:xfrm>
              <a:off x="1845051" y="3563940"/>
              <a:ext cx="128586" cy="128588"/>
            </a:xfrm>
            <a:custGeom>
              <a:avLst/>
              <a:gdLst>
                <a:gd name="T0" fmla="*/ 356 w 357"/>
                <a:gd name="T1" fmla="*/ 178 h 357"/>
                <a:gd name="T2" fmla="*/ 332 w 357"/>
                <a:gd name="T3" fmla="*/ 267 h 357"/>
                <a:gd name="T4" fmla="*/ 267 w 357"/>
                <a:gd name="T5" fmla="*/ 332 h 357"/>
                <a:gd name="T6" fmla="*/ 178 w 357"/>
                <a:gd name="T7" fmla="*/ 356 h 357"/>
                <a:gd name="T8" fmla="*/ 89 w 357"/>
                <a:gd name="T9" fmla="*/ 332 h 357"/>
                <a:gd name="T10" fmla="*/ 24 w 357"/>
                <a:gd name="T11" fmla="*/ 267 h 357"/>
                <a:gd name="T12" fmla="*/ 0 w 357"/>
                <a:gd name="T13" fmla="*/ 178 h 357"/>
                <a:gd name="T14" fmla="*/ 24 w 357"/>
                <a:gd name="T15" fmla="*/ 89 h 357"/>
                <a:gd name="T16" fmla="*/ 89 w 357"/>
                <a:gd name="T17" fmla="*/ 24 h 357"/>
                <a:gd name="T18" fmla="*/ 178 w 357"/>
                <a:gd name="T19" fmla="*/ 0 h 357"/>
                <a:gd name="T20" fmla="*/ 267 w 357"/>
                <a:gd name="T21" fmla="*/ 24 h 357"/>
                <a:gd name="T22" fmla="*/ 332 w 357"/>
                <a:gd name="T23" fmla="*/ 89 h 357"/>
                <a:gd name="T24" fmla="*/ 356 w 357"/>
                <a:gd name="T25" fmla="*/ 178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7">
                  <a:moveTo>
                    <a:pt x="356" y="178"/>
                  </a:moveTo>
                  <a:cubicBezTo>
                    <a:pt x="356" y="211"/>
                    <a:pt x="348" y="239"/>
                    <a:pt x="332" y="267"/>
                  </a:cubicBezTo>
                  <a:cubicBezTo>
                    <a:pt x="315" y="295"/>
                    <a:pt x="295" y="316"/>
                    <a:pt x="267" y="332"/>
                  </a:cubicBezTo>
                  <a:cubicBezTo>
                    <a:pt x="238" y="348"/>
                    <a:pt x="211" y="356"/>
                    <a:pt x="178" y="356"/>
                  </a:cubicBezTo>
                  <a:cubicBezTo>
                    <a:pt x="145" y="356"/>
                    <a:pt x="117" y="348"/>
                    <a:pt x="89" y="332"/>
                  </a:cubicBezTo>
                  <a:cubicBezTo>
                    <a:pt x="61" y="316"/>
                    <a:pt x="40" y="295"/>
                    <a:pt x="24" y="267"/>
                  </a:cubicBezTo>
                  <a:cubicBezTo>
                    <a:pt x="8" y="239"/>
                    <a:pt x="0" y="211"/>
                    <a:pt x="0" y="178"/>
                  </a:cubicBezTo>
                  <a:cubicBezTo>
                    <a:pt x="0" y="145"/>
                    <a:pt x="8" y="117"/>
                    <a:pt x="24" y="89"/>
                  </a:cubicBezTo>
                  <a:cubicBezTo>
                    <a:pt x="40" y="61"/>
                    <a:pt x="61" y="40"/>
                    <a:pt x="89" y="24"/>
                  </a:cubicBezTo>
                  <a:cubicBezTo>
                    <a:pt x="117" y="8"/>
                    <a:pt x="145" y="0"/>
                    <a:pt x="178" y="0"/>
                  </a:cubicBezTo>
                  <a:cubicBezTo>
                    <a:pt x="211" y="0"/>
                    <a:pt x="238" y="8"/>
                    <a:pt x="267" y="24"/>
                  </a:cubicBezTo>
                  <a:cubicBezTo>
                    <a:pt x="295" y="40"/>
                    <a:pt x="315" y="61"/>
                    <a:pt x="332" y="89"/>
                  </a:cubicBezTo>
                  <a:cubicBezTo>
                    <a:pt x="348" y="117"/>
                    <a:pt x="356" y="145"/>
                    <a:pt x="356" y="178"/>
                  </a:cubicBezTo>
                </a:path>
              </a:pathLst>
            </a:custGeom>
            <a:grpFill/>
            <a:ln w="12700">
              <a:solidFill>
                <a:schemeClr val="bg1"/>
              </a:solidFill>
            </a:ln>
            <a:effectLst/>
          </p:spPr>
          <p:txBody>
            <a:bodyPr wrap="none" anchor="ctr"/>
            <a:lstStyle/>
            <a:p>
              <a:pPr algn="ctr" defTabSz="895354">
                <a:defRPr/>
              </a:pPr>
              <a:endParaRPr lang="en-US" sz="2353" kern="0">
                <a:latin typeface="+mj-lt"/>
              </a:endParaRPr>
            </a:p>
          </p:txBody>
        </p:sp>
        <p:sp>
          <p:nvSpPr>
            <p:cNvPr id="423" name="Freeform 134">
              <a:extLst>
                <a:ext uri="{FF2B5EF4-FFF2-40B4-BE49-F238E27FC236}">
                  <a16:creationId xmlns:a16="http://schemas.microsoft.com/office/drawing/2014/main" id="{ECEEA9BA-63F6-4B4B-A65B-70E2DC5903B4}"/>
                </a:ext>
              </a:extLst>
            </p:cNvPr>
            <p:cNvSpPr>
              <a:spLocks noChangeArrowheads="1"/>
            </p:cNvSpPr>
            <p:nvPr/>
          </p:nvSpPr>
          <p:spPr bwMode="auto">
            <a:xfrm>
              <a:off x="2111748" y="3563937"/>
              <a:ext cx="128586" cy="128588"/>
            </a:xfrm>
            <a:custGeom>
              <a:avLst/>
              <a:gdLst>
                <a:gd name="T0" fmla="*/ 356 w 357"/>
                <a:gd name="T1" fmla="*/ 178 h 357"/>
                <a:gd name="T2" fmla="*/ 332 w 357"/>
                <a:gd name="T3" fmla="*/ 267 h 357"/>
                <a:gd name="T4" fmla="*/ 267 w 357"/>
                <a:gd name="T5" fmla="*/ 332 h 357"/>
                <a:gd name="T6" fmla="*/ 178 w 357"/>
                <a:gd name="T7" fmla="*/ 356 h 357"/>
                <a:gd name="T8" fmla="*/ 89 w 357"/>
                <a:gd name="T9" fmla="*/ 332 h 357"/>
                <a:gd name="T10" fmla="*/ 24 w 357"/>
                <a:gd name="T11" fmla="*/ 267 h 357"/>
                <a:gd name="T12" fmla="*/ 0 w 357"/>
                <a:gd name="T13" fmla="*/ 178 h 357"/>
                <a:gd name="T14" fmla="*/ 24 w 357"/>
                <a:gd name="T15" fmla="*/ 89 h 357"/>
                <a:gd name="T16" fmla="*/ 89 w 357"/>
                <a:gd name="T17" fmla="*/ 24 h 357"/>
                <a:gd name="T18" fmla="*/ 178 w 357"/>
                <a:gd name="T19" fmla="*/ 0 h 357"/>
                <a:gd name="T20" fmla="*/ 267 w 357"/>
                <a:gd name="T21" fmla="*/ 24 h 357"/>
                <a:gd name="T22" fmla="*/ 332 w 357"/>
                <a:gd name="T23" fmla="*/ 89 h 357"/>
                <a:gd name="T24" fmla="*/ 356 w 357"/>
                <a:gd name="T25" fmla="*/ 178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7">
                  <a:moveTo>
                    <a:pt x="356" y="178"/>
                  </a:moveTo>
                  <a:cubicBezTo>
                    <a:pt x="356" y="211"/>
                    <a:pt x="348" y="239"/>
                    <a:pt x="332" y="267"/>
                  </a:cubicBezTo>
                  <a:cubicBezTo>
                    <a:pt x="315" y="295"/>
                    <a:pt x="295" y="316"/>
                    <a:pt x="267" y="332"/>
                  </a:cubicBezTo>
                  <a:cubicBezTo>
                    <a:pt x="239" y="348"/>
                    <a:pt x="210" y="356"/>
                    <a:pt x="178" y="356"/>
                  </a:cubicBezTo>
                  <a:cubicBezTo>
                    <a:pt x="145" y="356"/>
                    <a:pt x="117" y="348"/>
                    <a:pt x="89" y="332"/>
                  </a:cubicBezTo>
                  <a:cubicBezTo>
                    <a:pt x="60" y="316"/>
                    <a:pt x="40" y="295"/>
                    <a:pt x="24" y="267"/>
                  </a:cubicBezTo>
                  <a:cubicBezTo>
                    <a:pt x="7" y="239"/>
                    <a:pt x="0" y="211"/>
                    <a:pt x="0" y="178"/>
                  </a:cubicBezTo>
                  <a:cubicBezTo>
                    <a:pt x="0" y="145"/>
                    <a:pt x="7" y="117"/>
                    <a:pt x="24" y="89"/>
                  </a:cubicBezTo>
                  <a:cubicBezTo>
                    <a:pt x="40" y="61"/>
                    <a:pt x="60" y="40"/>
                    <a:pt x="89" y="24"/>
                  </a:cubicBezTo>
                  <a:cubicBezTo>
                    <a:pt x="117" y="8"/>
                    <a:pt x="146" y="0"/>
                    <a:pt x="178" y="0"/>
                  </a:cubicBezTo>
                  <a:cubicBezTo>
                    <a:pt x="211" y="0"/>
                    <a:pt x="239" y="8"/>
                    <a:pt x="267" y="24"/>
                  </a:cubicBezTo>
                  <a:cubicBezTo>
                    <a:pt x="295" y="40"/>
                    <a:pt x="315" y="61"/>
                    <a:pt x="332" y="89"/>
                  </a:cubicBezTo>
                  <a:cubicBezTo>
                    <a:pt x="348" y="117"/>
                    <a:pt x="356" y="145"/>
                    <a:pt x="356" y="178"/>
                  </a:cubicBezTo>
                </a:path>
              </a:pathLst>
            </a:custGeom>
            <a:grpFill/>
            <a:ln w="12700">
              <a:solidFill>
                <a:schemeClr val="bg1"/>
              </a:solidFill>
            </a:ln>
            <a:effectLst/>
          </p:spPr>
          <p:txBody>
            <a:bodyPr wrap="none" anchor="ctr"/>
            <a:lstStyle/>
            <a:p>
              <a:pPr algn="ctr" defTabSz="895354">
                <a:defRPr/>
              </a:pPr>
              <a:endParaRPr lang="en-US" sz="2353" kern="0">
                <a:latin typeface="+mj-lt"/>
              </a:endParaRPr>
            </a:p>
          </p:txBody>
        </p:sp>
      </p:grpSp>
      <p:sp>
        <p:nvSpPr>
          <p:cNvPr id="424" name="Stopwatch_E916">
            <a:extLst>
              <a:ext uri="{FF2B5EF4-FFF2-40B4-BE49-F238E27FC236}">
                <a16:creationId xmlns:a16="http://schemas.microsoft.com/office/drawing/2014/main" id="{52B52A3D-DC28-4948-BFEE-B16BEB59336D}"/>
              </a:ext>
              <a:ext uri="{C183D7F6-B498-43B3-948B-1728B52AA6E4}">
                <adec:decorative xmlns:adec="http://schemas.microsoft.com/office/drawing/2017/decorative" val="1"/>
              </a:ext>
            </a:extLst>
          </p:cNvPr>
          <p:cNvSpPr>
            <a:spLocks noChangeAspect="1" noEditPoints="1"/>
          </p:cNvSpPr>
          <p:nvPr/>
        </p:nvSpPr>
        <p:spPr bwMode="auto">
          <a:xfrm>
            <a:off x="3930362" y="2948236"/>
            <a:ext cx="135176" cy="152317"/>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6350" cap="sq">
            <a:solidFill>
              <a:srgbClr val="0078D7"/>
            </a:solidFill>
            <a:prstDash val="solid"/>
            <a:miter lim="800000"/>
            <a:headEnd/>
            <a:tailEnd/>
          </a:ln>
        </p:spPr>
        <p:txBody>
          <a:bodyPr vert="horz" wrap="square" lIns="89591" tIns="44795" rIns="89591" bIns="44795" numCol="1" anchor="t" anchorCtr="0" compatLnSpc="1">
            <a:prstTxWarp prst="textNoShape">
              <a:avLst/>
            </a:prstTxWarp>
          </a:bodyPr>
          <a:lstStyle/>
          <a:p>
            <a:pPr defTabSz="913791">
              <a:defRPr/>
            </a:pPr>
            <a:endParaRPr lang="en-US" sz="1960">
              <a:latin typeface="Segoe UI Semibold"/>
            </a:endParaRPr>
          </a:p>
        </p:txBody>
      </p:sp>
      <p:sp>
        <p:nvSpPr>
          <p:cNvPr id="425" name="Freeform 110">
            <a:extLst>
              <a:ext uri="{FF2B5EF4-FFF2-40B4-BE49-F238E27FC236}">
                <a16:creationId xmlns:a16="http://schemas.microsoft.com/office/drawing/2014/main" id="{FC0FCAC1-C644-413C-99CF-74E36F488B1D}"/>
              </a:ext>
              <a:ext uri="{C183D7F6-B498-43B3-948B-1728B52AA6E4}">
                <adec:decorative xmlns:adec="http://schemas.microsoft.com/office/drawing/2017/decorative" val="1"/>
              </a:ext>
            </a:extLst>
          </p:cNvPr>
          <p:cNvSpPr>
            <a:spLocks noChangeAspect="1" noEditPoints="1"/>
          </p:cNvSpPr>
          <p:nvPr/>
        </p:nvSpPr>
        <p:spPr bwMode="black">
          <a:xfrm>
            <a:off x="3504150" y="2948237"/>
            <a:ext cx="87595" cy="164280"/>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rgbClr val="0078D7"/>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36" tIns="140509" rIns="175636" bIns="140509" numCol="1" spcCol="0" rtlCol="0" fromWordArt="0" anchor="t" anchorCtr="0" forceAA="0" compatLnSpc="1">
            <a:prstTxWarp prst="textNoShape">
              <a:avLst/>
            </a:prstTxWarp>
            <a:noAutofit/>
          </a:bodyPr>
          <a:lstStyle/>
          <a:p>
            <a:pPr algn="ctr" defTabSz="895235" fontAlgn="base">
              <a:spcBef>
                <a:spcPct val="0"/>
              </a:spcBef>
              <a:spcAft>
                <a:spcPct val="0"/>
              </a:spcAft>
              <a:defRPr/>
            </a:pPr>
            <a:endParaRPr lang="en-US" sz="1960">
              <a:solidFill>
                <a:schemeClr val="tx1"/>
              </a:solidFill>
              <a:latin typeface="Segoe UI"/>
              <a:ea typeface="Segoe UI" pitchFamily="34" charset="0"/>
              <a:cs typeface="Segoe UI" pitchFamily="34" charset="0"/>
            </a:endParaRPr>
          </a:p>
        </p:txBody>
      </p:sp>
      <p:pic>
        <p:nvPicPr>
          <p:cNvPr id="426" name="Graphic 425">
            <a:extLst>
              <a:ext uri="{FF2B5EF4-FFF2-40B4-BE49-F238E27FC236}">
                <a16:creationId xmlns:a16="http://schemas.microsoft.com/office/drawing/2014/main" id="{5CF0F2AA-0F6E-4847-9707-7A0A58A688AC}"/>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669852" y="2948235"/>
            <a:ext cx="178252" cy="169274"/>
          </a:xfrm>
          <a:prstGeom prst="rect">
            <a:avLst/>
          </a:prstGeom>
        </p:spPr>
      </p:pic>
      <p:grpSp>
        <p:nvGrpSpPr>
          <p:cNvPr id="427" name="Group 426">
            <a:extLst>
              <a:ext uri="{FF2B5EF4-FFF2-40B4-BE49-F238E27FC236}">
                <a16:creationId xmlns:a16="http://schemas.microsoft.com/office/drawing/2014/main" id="{424FB4BF-9359-4218-9B76-9E250815C973}"/>
              </a:ext>
              <a:ext uri="{C183D7F6-B498-43B3-948B-1728B52AA6E4}">
                <adec:decorative xmlns:adec="http://schemas.microsoft.com/office/drawing/2017/decorative" val="1"/>
              </a:ext>
            </a:extLst>
          </p:cNvPr>
          <p:cNvGrpSpPr/>
          <p:nvPr/>
        </p:nvGrpSpPr>
        <p:grpSpPr>
          <a:xfrm>
            <a:off x="7212644" y="2953377"/>
            <a:ext cx="171923" cy="141585"/>
            <a:chOff x="1784728" y="3563937"/>
            <a:chExt cx="512763" cy="422275"/>
          </a:xfrm>
          <a:solidFill>
            <a:srgbClr val="0078D7"/>
          </a:solidFill>
        </p:grpSpPr>
        <p:sp>
          <p:nvSpPr>
            <p:cNvPr id="428" name="Freeform 131">
              <a:extLst>
                <a:ext uri="{FF2B5EF4-FFF2-40B4-BE49-F238E27FC236}">
                  <a16:creationId xmlns:a16="http://schemas.microsoft.com/office/drawing/2014/main" id="{33F58483-AA90-4340-BA9F-AFF8EBC5BB7C}"/>
                </a:ext>
              </a:extLst>
            </p:cNvPr>
            <p:cNvSpPr>
              <a:spLocks noChangeArrowheads="1"/>
            </p:cNvSpPr>
            <p:nvPr/>
          </p:nvSpPr>
          <p:spPr bwMode="auto">
            <a:xfrm>
              <a:off x="1784728" y="3790949"/>
              <a:ext cx="512763" cy="195263"/>
            </a:xfrm>
            <a:custGeom>
              <a:avLst/>
              <a:gdLst>
                <a:gd name="T0" fmla="*/ 708 w 1426"/>
                <a:gd name="T1" fmla="*/ 542 h 543"/>
                <a:gd name="T2" fmla="*/ 31 w 1426"/>
                <a:gd name="T3" fmla="*/ 184 h 543"/>
                <a:gd name="T4" fmla="*/ 53 w 1426"/>
                <a:gd name="T5" fmla="*/ 51 h 543"/>
                <a:gd name="T6" fmla="*/ 186 w 1426"/>
                <a:gd name="T7" fmla="*/ 74 h 543"/>
                <a:gd name="T8" fmla="*/ 705 w 1426"/>
                <a:gd name="T9" fmla="*/ 350 h 543"/>
                <a:gd name="T10" fmla="*/ 1236 w 1426"/>
                <a:gd name="T11" fmla="*/ 57 h 543"/>
                <a:gd name="T12" fmla="*/ 1368 w 1426"/>
                <a:gd name="T13" fmla="*/ 29 h 543"/>
                <a:gd name="T14" fmla="*/ 1396 w 1426"/>
                <a:gd name="T15" fmla="*/ 161 h 543"/>
                <a:gd name="T16" fmla="*/ 708 w 1426"/>
                <a:gd name="T17" fmla="*/ 54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6" h="543">
                  <a:moveTo>
                    <a:pt x="708" y="542"/>
                  </a:moveTo>
                  <a:cubicBezTo>
                    <a:pt x="440" y="542"/>
                    <a:pt x="186" y="407"/>
                    <a:pt x="31" y="184"/>
                  </a:cubicBezTo>
                  <a:cubicBezTo>
                    <a:pt x="0" y="141"/>
                    <a:pt x="11" y="79"/>
                    <a:pt x="53" y="51"/>
                  </a:cubicBezTo>
                  <a:cubicBezTo>
                    <a:pt x="96" y="20"/>
                    <a:pt x="158" y="31"/>
                    <a:pt x="186" y="74"/>
                  </a:cubicBezTo>
                  <a:cubicBezTo>
                    <a:pt x="307" y="246"/>
                    <a:pt x="502" y="350"/>
                    <a:pt x="705" y="350"/>
                  </a:cubicBezTo>
                  <a:cubicBezTo>
                    <a:pt x="917" y="350"/>
                    <a:pt x="1117" y="240"/>
                    <a:pt x="1236" y="57"/>
                  </a:cubicBezTo>
                  <a:cubicBezTo>
                    <a:pt x="1264" y="12"/>
                    <a:pt x="1323" y="0"/>
                    <a:pt x="1368" y="29"/>
                  </a:cubicBezTo>
                  <a:cubicBezTo>
                    <a:pt x="1413" y="57"/>
                    <a:pt x="1425" y="116"/>
                    <a:pt x="1396" y="161"/>
                  </a:cubicBezTo>
                  <a:cubicBezTo>
                    <a:pt x="1244" y="398"/>
                    <a:pt x="984" y="542"/>
                    <a:pt x="708" y="542"/>
                  </a:cubicBezTo>
                </a:path>
              </a:pathLst>
            </a:custGeom>
            <a:grpFill/>
            <a:ln w="12700">
              <a:solidFill>
                <a:schemeClr val="bg1"/>
              </a:solidFill>
            </a:ln>
            <a:effectLst/>
          </p:spPr>
          <p:txBody>
            <a:bodyPr wrap="none" anchor="ctr"/>
            <a:lstStyle/>
            <a:p>
              <a:pPr algn="ctr" defTabSz="895354">
                <a:defRPr/>
              </a:pPr>
              <a:endParaRPr lang="en-US" sz="2353" kern="0">
                <a:latin typeface="+mj-lt"/>
              </a:endParaRPr>
            </a:p>
          </p:txBody>
        </p:sp>
        <p:sp>
          <p:nvSpPr>
            <p:cNvPr id="429" name="Freeform 132">
              <a:extLst>
                <a:ext uri="{FF2B5EF4-FFF2-40B4-BE49-F238E27FC236}">
                  <a16:creationId xmlns:a16="http://schemas.microsoft.com/office/drawing/2014/main" id="{19EA90E6-EE55-4F97-9992-39FDD237BE95}"/>
                </a:ext>
              </a:extLst>
            </p:cNvPr>
            <p:cNvSpPr>
              <a:spLocks noChangeArrowheads="1"/>
            </p:cNvSpPr>
            <p:nvPr/>
          </p:nvSpPr>
          <p:spPr bwMode="auto">
            <a:xfrm>
              <a:off x="1845051" y="3563940"/>
              <a:ext cx="128586" cy="128588"/>
            </a:xfrm>
            <a:custGeom>
              <a:avLst/>
              <a:gdLst>
                <a:gd name="T0" fmla="*/ 356 w 357"/>
                <a:gd name="T1" fmla="*/ 178 h 357"/>
                <a:gd name="T2" fmla="*/ 332 w 357"/>
                <a:gd name="T3" fmla="*/ 267 h 357"/>
                <a:gd name="T4" fmla="*/ 267 w 357"/>
                <a:gd name="T5" fmla="*/ 332 h 357"/>
                <a:gd name="T6" fmla="*/ 178 w 357"/>
                <a:gd name="T7" fmla="*/ 356 h 357"/>
                <a:gd name="T8" fmla="*/ 89 w 357"/>
                <a:gd name="T9" fmla="*/ 332 h 357"/>
                <a:gd name="T10" fmla="*/ 24 w 357"/>
                <a:gd name="T11" fmla="*/ 267 h 357"/>
                <a:gd name="T12" fmla="*/ 0 w 357"/>
                <a:gd name="T13" fmla="*/ 178 h 357"/>
                <a:gd name="T14" fmla="*/ 24 w 357"/>
                <a:gd name="T15" fmla="*/ 89 h 357"/>
                <a:gd name="T16" fmla="*/ 89 w 357"/>
                <a:gd name="T17" fmla="*/ 24 h 357"/>
                <a:gd name="T18" fmla="*/ 178 w 357"/>
                <a:gd name="T19" fmla="*/ 0 h 357"/>
                <a:gd name="T20" fmla="*/ 267 w 357"/>
                <a:gd name="T21" fmla="*/ 24 h 357"/>
                <a:gd name="T22" fmla="*/ 332 w 357"/>
                <a:gd name="T23" fmla="*/ 89 h 357"/>
                <a:gd name="T24" fmla="*/ 356 w 357"/>
                <a:gd name="T25" fmla="*/ 178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7">
                  <a:moveTo>
                    <a:pt x="356" y="178"/>
                  </a:moveTo>
                  <a:cubicBezTo>
                    <a:pt x="356" y="211"/>
                    <a:pt x="348" y="239"/>
                    <a:pt x="332" y="267"/>
                  </a:cubicBezTo>
                  <a:cubicBezTo>
                    <a:pt x="315" y="295"/>
                    <a:pt x="295" y="316"/>
                    <a:pt x="267" y="332"/>
                  </a:cubicBezTo>
                  <a:cubicBezTo>
                    <a:pt x="238" y="348"/>
                    <a:pt x="211" y="356"/>
                    <a:pt x="178" y="356"/>
                  </a:cubicBezTo>
                  <a:cubicBezTo>
                    <a:pt x="145" y="356"/>
                    <a:pt x="117" y="348"/>
                    <a:pt x="89" y="332"/>
                  </a:cubicBezTo>
                  <a:cubicBezTo>
                    <a:pt x="61" y="316"/>
                    <a:pt x="40" y="295"/>
                    <a:pt x="24" y="267"/>
                  </a:cubicBezTo>
                  <a:cubicBezTo>
                    <a:pt x="8" y="239"/>
                    <a:pt x="0" y="211"/>
                    <a:pt x="0" y="178"/>
                  </a:cubicBezTo>
                  <a:cubicBezTo>
                    <a:pt x="0" y="145"/>
                    <a:pt x="8" y="117"/>
                    <a:pt x="24" y="89"/>
                  </a:cubicBezTo>
                  <a:cubicBezTo>
                    <a:pt x="40" y="61"/>
                    <a:pt x="61" y="40"/>
                    <a:pt x="89" y="24"/>
                  </a:cubicBezTo>
                  <a:cubicBezTo>
                    <a:pt x="117" y="8"/>
                    <a:pt x="145" y="0"/>
                    <a:pt x="178" y="0"/>
                  </a:cubicBezTo>
                  <a:cubicBezTo>
                    <a:pt x="211" y="0"/>
                    <a:pt x="238" y="8"/>
                    <a:pt x="267" y="24"/>
                  </a:cubicBezTo>
                  <a:cubicBezTo>
                    <a:pt x="295" y="40"/>
                    <a:pt x="315" y="61"/>
                    <a:pt x="332" y="89"/>
                  </a:cubicBezTo>
                  <a:cubicBezTo>
                    <a:pt x="348" y="117"/>
                    <a:pt x="356" y="145"/>
                    <a:pt x="356" y="178"/>
                  </a:cubicBezTo>
                </a:path>
              </a:pathLst>
            </a:custGeom>
            <a:grpFill/>
            <a:ln w="12700">
              <a:solidFill>
                <a:schemeClr val="bg1"/>
              </a:solidFill>
            </a:ln>
            <a:effectLst/>
          </p:spPr>
          <p:txBody>
            <a:bodyPr wrap="none" anchor="ctr"/>
            <a:lstStyle/>
            <a:p>
              <a:pPr algn="ctr" defTabSz="895354">
                <a:defRPr/>
              </a:pPr>
              <a:endParaRPr lang="en-US" sz="2353" kern="0">
                <a:latin typeface="+mj-lt"/>
              </a:endParaRPr>
            </a:p>
          </p:txBody>
        </p:sp>
        <p:sp>
          <p:nvSpPr>
            <p:cNvPr id="430" name="Freeform 134">
              <a:extLst>
                <a:ext uri="{FF2B5EF4-FFF2-40B4-BE49-F238E27FC236}">
                  <a16:creationId xmlns:a16="http://schemas.microsoft.com/office/drawing/2014/main" id="{9ECB2867-3255-4B46-9DC8-6BB7F4ECCF89}"/>
                </a:ext>
              </a:extLst>
            </p:cNvPr>
            <p:cNvSpPr>
              <a:spLocks noChangeArrowheads="1"/>
            </p:cNvSpPr>
            <p:nvPr/>
          </p:nvSpPr>
          <p:spPr bwMode="auto">
            <a:xfrm>
              <a:off x="2111748" y="3563937"/>
              <a:ext cx="128586" cy="128588"/>
            </a:xfrm>
            <a:custGeom>
              <a:avLst/>
              <a:gdLst>
                <a:gd name="T0" fmla="*/ 356 w 357"/>
                <a:gd name="T1" fmla="*/ 178 h 357"/>
                <a:gd name="T2" fmla="*/ 332 w 357"/>
                <a:gd name="T3" fmla="*/ 267 h 357"/>
                <a:gd name="T4" fmla="*/ 267 w 357"/>
                <a:gd name="T5" fmla="*/ 332 h 357"/>
                <a:gd name="T6" fmla="*/ 178 w 357"/>
                <a:gd name="T7" fmla="*/ 356 h 357"/>
                <a:gd name="T8" fmla="*/ 89 w 357"/>
                <a:gd name="T9" fmla="*/ 332 h 357"/>
                <a:gd name="T10" fmla="*/ 24 w 357"/>
                <a:gd name="T11" fmla="*/ 267 h 357"/>
                <a:gd name="T12" fmla="*/ 0 w 357"/>
                <a:gd name="T13" fmla="*/ 178 h 357"/>
                <a:gd name="T14" fmla="*/ 24 w 357"/>
                <a:gd name="T15" fmla="*/ 89 h 357"/>
                <a:gd name="T16" fmla="*/ 89 w 357"/>
                <a:gd name="T17" fmla="*/ 24 h 357"/>
                <a:gd name="T18" fmla="*/ 178 w 357"/>
                <a:gd name="T19" fmla="*/ 0 h 357"/>
                <a:gd name="T20" fmla="*/ 267 w 357"/>
                <a:gd name="T21" fmla="*/ 24 h 357"/>
                <a:gd name="T22" fmla="*/ 332 w 357"/>
                <a:gd name="T23" fmla="*/ 89 h 357"/>
                <a:gd name="T24" fmla="*/ 356 w 357"/>
                <a:gd name="T25" fmla="*/ 178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7">
                  <a:moveTo>
                    <a:pt x="356" y="178"/>
                  </a:moveTo>
                  <a:cubicBezTo>
                    <a:pt x="356" y="211"/>
                    <a:pt x="348" y="239"/>
                    <a:pt x="332" y="267"/>
                  </a:cubicBezTo>
                  <a:cubicBezTo>
                    <a:pt x="315" y="295"/>
                    <a:pt x="295" y="316"/>
                    <a:pt x="267" y="332"/>
                  </a:cubicBezTo>
                  <a:cubicBezTo>
                    <a:pt x="239" y="348"/>
                    <a:pt x="210" y="356"/>
                    <a:pt x="178" y="356"/>
                  </a:cubicBezTo>
                  <a:cubicBezTo>
                    <a:pt x="145" y="356"/>
                    <a:pt x="117" y="348"/>
                    <a:pt x="89" y="332"/>
                  </a:cubicBezTo>
                  <a:cubicBezTo>
                    <a:pt x="60" y="316"/>
                    <a:pt x="40" y="295"/>
                    <a:pt x="24" y="267"/>
                  </a:cubicBezTo>
                  <a:cubicBezTo>
                    <a:pt x="7" y="239"/>
                    <a:pt x="0" y="211"/>
                    <a:pt x="0" y="178"/>
                  </a:cubicBezTo>
                  <a:cubicBezTo>
                    <a:pt x="0" y="145"/>
                    <a:pt x="7" y="117"/>
                    <a:pt x="24" y="89"/>
                  </a:cubicBezTo>
                  <a:cubicBezTo>
                    <a:pt x="40" y="61"/>
                    <a:pt x="60" y="40"/>
                    <a:pt x="89" y="24"/>
                  </a:cubicBezTo>
                  <a:cubicBezTo>
                    <a:pt x="117" y="8"/>
                    <a:pt x="146" y="0"/>
                    <a:pt x="178" y="0"/>
                  </a:cubicBezTo>
                  <a:cubicBezTo>
                    <a:pt x="211" y="0"/>
                    <a:pt x="239" y="8"/>
                    <a:pt x="267" y="24"/>
                  </a:cubicBezTo>
                  <a:cubicBezTo>
                    <a:pt x="295" y="40"/>
                    <a:pt x="315" y="61"/>
                    <a:pt x="332" y="89"/>
                  </a:cubicBezTo>
                  <a:cubicBezTo>
                    <a:pt x="348" y="117"/>
                    <a:pt x="356" y="145"/>
                    <a:pt x="356" y="178"/>
                  </a:cubicBezTo>
                </a:path>
              </a:pathLst>
            </a:custGeom>
            <a:grpFill/>
            <a:ln w="12700">
              <a:solidFill>
                <a:schemeClr val="bg1"/>
              </a:solidFill>
            </a:ln>
            <a:effectLst/>
          </p:spPr>
          <p:txBody>
            <a:bodyPr wrap="none" anchor="ctr"/>
            <a:lstStyle/>
            <a:p>
              <a:pPr algn="ctr" defTabSz="895354">
                <a:defRPr/>
              </a:pPr>
              <a:endParaRPr lang="en-US" sz="2353" kern="0">
                <a:latin typeface="+mj-lt"/>
              </a:endParaRPr>
            </a:p>
          </p:txBody>
        </p:sp>
      </p:grpSp>
      <p:sp>
        <p:nvSpPr>
          <p:cNvPr id="431" name="Stopwatch_E916">
            <a:extLst>
              <a:ext uri="{FF2B5EF4-FFF2-40B4-BE49-F238E27FC236}">
                <a16:creationId xmlns:a16="http://schemas.microsoft.com/office/drawing/2014/main" id="{94881805-766B-4385-AA41-31BA222E7D72}"/>
              </a:ext>
              <a:ext uri="{C183D7F6-B498-43B3-948B-1728B52AA6E4}">
                <adec:decorative xmlns:adec="http://schemas.microsoft.com/office/drawing/2017/decorative" val="1"/>
              </a:ext>
            </a:extLst>
          </p:cNvPr>
          <p:cNvSpPr>
            <a:spLocks noChangeAspect="1" noEditPoints="1"/>
          </p:cNvSpPr>
          <p:nvPr/>
        </p:nvSpPr>
        <p:spPr bwMode="auto">
          <a:xfrm>
            <a:off x="7017668" y="2947617"/>
            <a:ext cx="135176" cy="152317"/>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6350" cap="sq">
            <a:solidFill>
              <a:srgbClr val="0078D7"/>
            </a:solidFill>
            <a:prstDash val="solid"/>
            <a:miter lim="800000"/>
            <a:headEnd/>
            <a:tailEnd/>
          </a:ln>
        </p:spPr>
        <p:txBody>
          <a:bodyPr vert="horz" wrap="square" lIns="89591" tIns="44795" rIns="89591" bIns="44795" numCol="1" anchor="t" anchorCtr="0" compatLnSpc="1">
            <a:prstTxWarp prst="textNoShape">
              <a:avLst/>
            </a:prstTxWarp>
          </a:bodyPr>
          <a:lstStyle/>
          <a:p>
            <a:pPr defTabSz="913791">
              <a:defRPr/>
            </a:pPr>
            <a:endParaRPr lang="en-US" sz="1960">
              <a:latin typeface="Segoe UI Semibold"/>
            </a:endParaRPr>
          </a:p>
        </p:txBody>
      </p:sp>
      <p:sp>
        <p:nvSpPr>
          <p:cNvPr id="432" name="Freeform 110">
            <a:extLst>
              <a:ext uri="{FF2B5EF4-FFF2-40B4-BE49-F238E27FC236}">
                <a16:creationId xmlns:a16="http://schemas.microsoft.com/office/drawing/2014/main" id="{011B381F-CCFA-4A9D-8E0A-C395F0956120}"/>
              </a:ext>
              <a:ext uri="{C183D7F6-B498-43B3-948B-1728B52AA6E4}">
                <adec:decorative xmlns:adec="http://schemas.microsoft.com/office/drawing/2017/decorative" val="1"/>
              </a:ext>
            </a:extLst>
          </p:cNvPr>
          <p:cNvSpPr>
            <a:spLocks noChangeAspect="1" noEditPoints="1"/>
          </p:cNvSpPr>
          <p:nvPr/>
        </p:nvSpPr>
        <p:spPr bwMode="black">
          <a:xfrm>
            <a:off x="6591456" y="2947618"/>
            <a:ext cx="87595" cy="164280"/>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rgbClr val="0078D7"/>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36" tIns="140509" rIns="175636" bIns="140509" numCol="1" spcCol="0" rtlCol="0" fromWordArt="0" anchor="t" anchorCtr="0" forceAA="0" compatLnSpc="1">
            <a:prstTxWarp prst="textNoShape">
              <a:avLst/>
            </a:prstTxWarp>
            <a:noAutofit/>
          </a:bodyPr>
          <a:lstStyle/>
          <a:p>
            <a:pPr algn="ctr" defTabSz="895235" fontAlgn="base">
              <a:spcBef>
                <a:spcPct val="0"/>
              </a:spcBef>
              <a:spcAft>
                <a:spcPct val="0"/>
              </a:spcAft>
              <a:defRPr/>
            </a:pPr>
            <a:endParaRPr lang="en-US" sz="1960">
              <a:solidFill>
                <a:schemeClr val="tx1"/>
              </a:solidFill>
              <a:latin typeface="Segoe UI"/>
              <a:ea typeface="Segoe UI" pitchFamily="34" charset="0"/>
              <a:cs typeface="Segoe UI" pitchFamily="34" charset="0"/>
            </a:endParaRPr>
          </a:p>
        </p:txBody>
      </p:sp>
      <p:pic>
        <p:nvPicPr>
          <p:cNvPr id="433" name="Graphic 432">
            <a:extLst>
              <a:ext uri="{FF2B5EF4-FFF2-40B4-BE49-F238E27FC236}">
                <a16:creationId xmlns:a16="http://schemas.microsoft.com/office/drawing/2014/main" id="{6420811C-8346-4099-B642-8C53997DBAEE}"/>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757157" y="2947616"/>
            <a:ext cx="178252" cy="169274"/>
          </a:xfrm>
          <a:prstGeom prst="rect">
            <a:avLst/>
          </a:prstGeom>
        </p:spPr>
      </p:pic>
      <p:grpSp>
        <p:nvGrpSpPr>
          <p:cNvPr id="434" name="Group 433">
            <a:extLst>
              <a:ext uri="{FF2B5EF4-FFF2-40B4-BE49-F238E27FC236}">
                <a16:creationId xmlns:a16="http://schemas.microsoft.com/office/drawing/2014/main" id="{6AEB6B28-0EC4-469A-9F81-AD1163469A06}"/>
              </a:ext>
              <a:ext uri="{C183D7F6-B498-43B3-948B-1728B52AA6E4}">
                <adec:decorative xmlns:adec="http://schemas.microsoft.com/office/drawing/2017/decorative" val="1"/>
              </a:ext>
            </a:extLst>
          </p:cNvPr>
          <p:cNvGrpSpPr/>
          <p:nvPr/>
        </p:nvGrpSpPr>
        <p:grpSpPr>
          <a:xfrm>
            <a:off x="10235917" y="2944265"/>
            <a:ext cx="171923" cy="141585"/>
            <a:chOff x="1784728" y="3563937"/>
            <a:chExt cx="512763" cy="422275"/>
          </a:xfrm>
          <a:solidFill>
            <a:srgbClr val="0078D7"/>
          </a:solidFill>
        </p:grpSpPr>
        <p:sp>
          <p:nvSpPr>
            <p:cNvPr id="435" name="Freeform 131">
              <a:extLst>
                <a:ext uri="{FF2B5EF4-FFF2-40B4-BE49-F238E27FC236}">
                  <a16:creationId xmlns:a16="http://schemas.microsoft.com/office/drawing/2014/main" id="{F75301C1-5A0C-443C-B6DF-BA38029C3FBF}"/>
                </a:ext>
              </a:extLst>
            </p:cNvPr>
            <p:cNvSpPr>
              <a:spLocks noChangeArrowheads="1"/>
            </p:cNvSpPr>
            <p:nvPr/>
          </p:nvSpPr>
          <p:spPr bwMode="auto">
            <a:xfrm>
              <a:off x="1784728" y="3790949"/>
              <a:ext cx="512763" cy="195263"/>
            </a:xfrm>
            <a:custGeom>
              <a:avLst/>
              <a:gdLst>
                <a:gd name="T0" fmla="*/ 708 w 1426"/>
                <a:gd name="T1" fmla="*/ 542 h 543"/>
                <a:gd name="T2" fmla="*/ 31 w 1426"/>
                <a:gd name="T3" fmla="*/ 184 h 543"/>
                <a:gd name="T4" fmla="*/ 53 w 1426"/>
                <a:gd name="T5" fmla="*/ 51 h 543"/>
                <a:gd name="T6" fmla="*/ 186 w 1426"/>
                <a:gd name="T7" fmla="*/ 74 h 543"/>
                <a:gd name="T8" fmla="*/ 705 w 1426"/>
                <a:gd name="T9" fmla="*/ 350 h 543"/>
                <a:gd name="T10" fmla="*/ 1236 w 1426"/>
                <a:gd name="T11" fmla="*/ 57 h 543"/>
                <a:gd name="T12" fmla="*/ 1368 w 1426"/>
                <a:gd name="T13" fmla="*/ 29 h 543"/>
                <a:gd name="T14" fmla="*/ 1396 w 1426"/>
                <a:gd name="T15" fmla="*/ 161 h 543"/>
                <a:gd name="T16" fmla="*/ 708 w 1426"/>
                <a:gd name="T17" fmla="*/ 54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6" h="543">
                  <a:moveTo>
                    <a:pt x="708" y="542"/>
                  </a:moveTo>
                  <a:cubicBezTo>
                    <a:pt x="440" y="542"/>
                    <a:pt x="186" y="407"/>
                    <a:pt x="31" y="184"/>
                  </a:cubicBezTo>
                  <a:cubicBezTo>
                    <a:pt x="0" y="141"/>
                    <a:pt x="11" y="79"/>
                    <a:pt x="53" y="51"/>
                  </a:cubicBezTo>
                  <a:cubicBezTo>
                    <a:pt x="96" y="20"/>
                    <a:pt x="158" y="31"/>
                    <a:pt x="186" y="74"/>
                  </a:cubicBezTo>
                  <a:cubicBezTo>
                    <a:pt x="307" y="246"/>
                    <a:pt x="502" y="350"/>
                    <a:pt x="705" y="350"/>
                  </a:cubicBezTo>
                  <a:cubicBezTo>
                    <a:pt x="917" y="350"/>
                    <a:pt x="1117" y="240"/>
                    <a:pt x="1236" y="57"/>
                  </a:cubicBezTo>
                  <a:cubicBezTo>
                    <a:pt x="1264" y="12"/>
                    <a:pt x="1323" y="0"/>
                    <a:pt x="1368" y="29"/>
                  </a:cubicBezTo>
                  <a:cubicBezTo>
                    <a:pt x="1413" y="57"/>
                    <a:pt x="1425" y="116"/>
                    <a:pt x="1396" y="161"/>
                  </a:cubicBezTo>
                  <a:cubicBezTo>
                    <a:pt x="1244" y="398"/>
                    <a:pt x="984" y="542"/>
                    <a:pt x="708" y="542"/>
                  </a:cubicBezTo>
                </a:path>
              </a:pathLst>
            </a:custGeom>
            <a:grpFill/>
            <a:ln w="12700">
              <a:solidFill>
                <a:schemeClr val="bg1"/>
              </a:solidFill>
            </a:ln>
            <a:effectLst/>
          </p:spPr>
          <p:txBody>
            <a:bodyPr wrap="none" anchor="ctr"/>
            <a:lstStyle/>
            <a:p>
              <a:pPr algn="ctr" defTabSz="895354">
                <a:defRPr/>
              </a:pPr>
              <a:endParaRPr lang="en-US" sz="2353" kern="0">
                <a:latin typeface="+mj-lt"/>
              </a:endParaRPr>
            </a:p>
          </p:txBody>
        </p:sp>
        <p:sp>
          <p:nvSpPr>
            <p:cNvPr id="436" name="Freeform 132">
              <a:extLst>
                <a:ext uri="{FF2B5EF4-FFF2-40B4-BE49-F238E27FC236}">
                  <a16:creationId xmlns:a16="http://schemas.microsoft.com/office/drawing/2014/main" id="{4597587B-FDAC-4F46-96CF-6DD1252DDC2D}"/>
                </a:ext>
              </a:extLst>
            </p:cNvPr>
            <p:cNvSpPr>
              <a:spLocks noChangeArrowheads="1"/>
            </p:cNvSpPr>
            <p:nvPr/>
          </p:nvSpPr>
          <p:spPr bwMode="auto">
            <a:xfrm>
              <a:off x="1845051" y="3563940"/>
              <a:ext cx="128586" cy="128588"/>
            </a:xfrm>
            <a:custGeom>
              <a:avLst/>
              <a:gdLst>
                <a:gd name="T0" fmla="*/ 356 w 357"/>
                <a:gd name="T1" fmla="*/ 178 h 357"/>
                <a:gd name="T2" fmla="*/ 332 w 357"/>
                <a:gd name="T3" fmla="*/ 267 h 357"/>
                <a:gd name="T4" fmla="*/ 267 w 357"/>
                <a:gd name="T5" fmla="*/ 332 h 357"/>
                <a:gd name="T6" fmla="*/ 178 w 357"/>
                <a:gd name="T7" fmla="*/ 356 h 357"/>
                <a:gd name="T8" fmla="*/ 89 w 357"/>
                <a:gd name="T9" fmla="*/ 332 h 357"/>
                <a:gd name="T10" fmla="*/ 24 w 357"/>
                <a:gd name="T11" fmla="*/ 267 h 357"/>
                <a:gd name="T12" fmla="*/ 0 w 357"/>
                <a:gd name="T13" fmla="*/ 178 h 357"/>
                <a:gd name="T14" fmla="*/ 24 w 357"/>
                <a:gd name="T15" fmla="*/ 89 h 357"/>
                <a:gd name="T16" fmla="*/ 89 w 357"/>
                <a:gd name="T17" fmla="*/ 24 h 357"/>
                <a:gd name="T18" fmla="*/ 178 w 357"/>
                <a:gd name="T19" fmla="*/ 0 h 357"/>
                <a:gd name="T20" fmla="*/ 267 w 357"/>
                <a:gd name="T21" fmla="*/ 24 h 357"/>
                <a:gd name="T22" fmla="*/ 332 w 357"/>
                <a:gd name="T23" fmla="*/ 89 h 357"/>
                <a:gd name="T24" fmla="*/ 356 w 357"/>
                <a:gd name="T25" fmla="*/ 178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7">
                  <a:moveTo>
                    <a:pt x="356" y="178"/>
                  </a:moveTo>
                  <a:cubicBezTo>
                    <a:pt x="356" y="211"/>
                    <a:pt x="348" y="239"/>
                    <a:pt x="332" y="267"/>
                  </a:cubicBezTo>
                  <a:cubicBezTo>
                    <a:pt x="315" y="295"/>
                    <a:pt x="295" y="316"/>
                    <a:pt x="267" y="332"/>
                  </a:cubicBezTo>
                  <a:cubicBezTo>
                    <a:pt x="238" y="348"/>
                    <a:pt x="211" y="356"/>
                    <a:pt x="178" y="356"/>
                  </a:cubicBezTo>
                  <a:cubicBezTo>
                    <a:pt x="145" y="356"/>
                    <a:pt x="117" y="348"/>
                    <a:pt x="89" y="332"/>
                  </a:cubicBezTo>
                  <a:cubicBezTo>
                    <a:pt x="61" y="316"/>
                    <a:pt x="40" y="295"/>
                    <a:pt x="24" y="267"/>
                  </a:cubicBezTo>
                  <a:cubicBezTo>
                    <a:pt x="8" y="239"/>
                    <a:pt x="0" y="211"/>
                    <a:pt x="0" y="178"/>
                  </a:cubicBezTo>
                  <a:cubicBezTo>
                    <a:pt x="0" y="145"/>
                    <a:pt x="8" y="117"/>
                    <a:pt x="24" y="89"/>
                  </a:cubicBezTo>
                  <a:cubicBezTo>
                    <a:pt x="40" y="61"/>
                    <a:pt x="61" y="40"/>
                    <a:pt x="89" y="24"/>
                  </a:cubicBezTo>
                  <a:cubicBezTo>
                    <a:pt x="117" y="8"/>
                    <a:pt x="145" y="0"/>
                    <a:pt x="178" y="0"/>
                  </a:cubicBezTo>
                  <a:cubicBezTo>
                    <a:pt x="211" y="0"/>
                    <a:pt x="238" y="8"/>
                    <a:pt x="267" y="24"/>
                  </a:cubicBezTo>
                  <a:cubicBezTo>
                    <a:pt x="295" y="40"/>
                    <a:pt x="315" y="61"/>
                    <a:pt x="332" y="89"/>
                  </a:cubicBezTo>
                  <a:cubicBezTo>
                    <a:pt x="348" y="117"/>
                    <a:pt x="356" y="145"/>
                    <a:pt x="356" y="178"/>
                  </a:cubicBezTo>
                </a:path>
              </a:pathLst>
            </a:custGeom>
            <a:grpFill/>
            <a:ln w="12700">
              <a:solidFill>
                <a:schemeClr val="bg1"/>
              </a:solidFill>
            </a:ln>
            <a:effectLst/>
          </p:spPr>
          <p:txBody>
            <a:bodyPr wrap="none" anchor="ctr"/>
            <a:lstStyle/>
            <a:p>
              <a:pPr algn="ctr" defTabSz="895354">
                <a:defRPr/>
              </a:pPr>
              <a:endParaRPr lang="en-US" sz="2353" kern="0">
                <a:latin typeface="+mj-lt"/>
              </a:endParaRPr>
            </a:p>
          </p:txBody>
        </p:sp>
        <p:sp>
          <p:nvSpPr>
            <p:cNvPr id="437" name="Freeform 134">
              <a:extLst>
                <a:ext uri="{FF2B5EF4-FFF2-40B4-BE49-F238E27FC236}">
                  <a16:creationId xmlns:a16="http://schemas.microsoft.com/office/drawing/2014/main" id="{15AD62F9-D5DA-4921-ACF6-44093BD95F2F}"/>
                </a:ext>
              </a:extLst>
            </p:cNvPr>
            <p:cNvSpPr>
              <a:spLocks noChangeArrowheads="1"/>
            </p:cNvSpPr>
            <p:nvPr/>
          </p:nvSpPr>
          <p:spPr bwMode="auto">
            <a:xfrm>
              <a:off x="2111748" y="3563937"/>
              <a:ext cx="128586" cy="128588"/>
            </a:xfrm>
            <a:custGeom>
              <a:avLst/>
              <a:gdLst>
                <a:gd name="T0" fmla="*/ 356 w 357"/>
                <a:gd name="T1" fmla="*/ 178 h 357"/>
                <a:gd name="T2" fmla="*/ 332 w 357"/>
                <a:gd name="T3" fmla="*/ 267 h 357"/>
                <a:gd name="T4" fmla="*/ 267 w 357"/>
                <a:gd name="T5" fmla="*/ 332 h 357"/>
                <a:gd name="T6" fmla="*/ 178 w 357"/>
                <a:gd name="T7" fmla="*/ 356 h 357"/>
                <a:gd name="T8" fmla="*/ 89 w 357"/>
                <a:gd name="T9" fmla="*/ 332 h 357"/>
                <a:gd name="T10" fmla="*/ 24 w 357"/>
                <a:gd name="T11" fmla="*/ 267 h 357"/>
                <a:gd name="T12" fmla="*/ 0 w 357"/>
                <a:gd name="T13" fmla="*/ 178 h 357"/>
                <a:gd name="T14" fmla="*/ 24 w 357"/>
                <a:gd name="T15" fmla="*/ 89 h 357"/>
                <a:gd name="T16" fmla="*/ 89 w 357"/>
                <a:gd name="T17" fmla="*/ 24 h 357"/>
                <a:gd name="T18" fmla="*/ 178 w 357"/>
                <a:gd name="T19" fmla="*/ 0 h 357"/>
                <a:gd name="T20" fmla="*/ 267 w 357"/>
                <a:gd name="T21" fmla="*/ 24 h 357"/>
                <a:gd name="T22" fmla="*/ 332 w 357"/>
                <a:gd name="T23" fmla="*/ 89 h 357"/>
                <a:gd name="T24" fmla="*/ 356 w 357"/>
                <a:gd name="T25" fmla="*/ 178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7">
                  <a:moveTo>
                    <a:pt x="356" y="178"/>
                  </a:moveTo>
                  <a:cubicBezTo>
                    <a:pt x="356" y="211"/>
                    <a:pt x="348" y="239"/>
                    <a:pt x="332" y="267"/>
                  </a:cubicBezTo>
                  <a:cubicBezTo>
                    <a:pt x="315" y="295"/>
                    <a:pt x="295" y="316"/>
                    <a:pt x="267" y="332"/>
                  </a:cubicBezTo>
                  <a:cubicBezTo>
                    <a:pt x="239" y="348"/>
                    <a:pt x="210" y="356"/>
                    <a:pt x="178" y="356"/>
                  </a:cubicBezTo>
                  <a:cubicBezTo>
                    <a:pt x="145" y="356"/>
                    <a:pt x="117" y="348"/>
                    <a:pt x="89" y="332"/>
                  </a:cubicBezTo>
                  <a:cubicBezTo>
                    <a:pt x="60" y="316"/>
                    <a:pt x="40" y="295"/>
                    <a:pt x="24" y="267"/>
                  </a:cubicBezTo>
                  <a:cubicBezTo>
                    <a:pt x="7" y="239"/>
                    <a:pt x="0" y="211"/>
                    <a:pt x="0" y="178"/>
                  </a:cubicBezTo>
                  <a:cubicBezTo>
                    <a:pt x="0" y="145"/>
                    <a:pt x="7" y="117"/>
                    <a:pt x="24" y="89"/>
                  </a:cubicBezTo>
                  <a:cubicBezTo>
                    <a:pt x="40" y="61"/>
                    <a:pt x="60" y="40"/>
                    <a:pt x="89" y="24"/>
                  </a:cubicBezTo>
                  <a:cubicBezTo>
                    <a:pt x="117" y="8"/>
                    <a:pt x="146" y="0"/>
                    <a:pt x="178" y="0"/>
                  </a:cubicBezTo>
                  <a:cubicBezTo>
                    <a:pt x="211" y="0"/>
                    <a:pt x="239" y="8"/>
                    <a:pt x="267" y="24"/>
                  </a:cubicBezTo>
                  <a:cubicBezTo>
                    <a:pt x="295" y="40"/>
                    <a:pt x="315" y="61"/>
                    <a:pt x="332" y="89"/>
                  </a:cubicBezTo>
                  <a:cubicBezTo>
                    <a:pt x="348" y="117"/>
                    <a:pt x="356" y="145"/>
                    <a:pt x="356" y="178"/>
                  </a:cubicBezTo>
                </a:path>
              </a:pathLst>
            </a:custGeom>
            <a:grpFill/>
            <a:ln w="12700">
              <a:solidFill>
                <a:schemeClr val="bg1"/>
              </a:solidFill>
            </a:ln>
            <a:effectLst/>
          </p:spPr>
          <p:txBody>
            <a:bodyPr wrap="none" anchor="ctr"/>
            <a:lstStyle/>
            <a:p>
              <a:pPr algn="ctr" defTabSz="895354">
                <a:defRPr/>
              </a:pPr>
              <a:endParaRPr lang="en-US" sz="2353" kern="0">
                <a:latin typeface="+mj-lt"/>
              </a:endParaRPr>
            </a:p>
          </p:txBody>
        </p:sp>
      </p:grpSp>
      <p:sp>
        <p:nvSpPr>
          <p:cNvPr id="438" name="Stopwatch_E916">
            <a:extLst>
              <a:ext uri="{FF2B5EF4-FFF2-40B4-BE49-F238E27FC236}">
                <a16:creationId xmlns:a16="http://schemas.microsoft.com/office/drawing/2014/main" id="{DFF1C078-6516-4BD3-A8DE-2A863FFF6723}"/>
              </a:ext>
              <a:ext uri="{C183D7F6-B498-43B3-948B-1728B52AA6E4}">
                <adec:decorative xmlns:adec="http://schemas.microsoft.com/office/drawing/2017/decorative" val="1"/>
              </a:ext>
            </a:extLst>
          </p:cNvPr>
          <p:cNvSpPr>
            <a:spLocks noChangeAspect="1" noEditPoints="1"/>
          </p:cNvSpPr>
          <p:nvPr/>
        </p:nvSpPr>
        <p:spPr bwMode="auto">
          <a:xfrm>
            <a:off x="10040942" y="2938505"/>
            <a:ext cx="135176" cy="152317"/>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6350" cap="sq">
            <a:solidFill>
              <a:srgbClr val="0078D7"/>
            </a:solidFill>
            <a:prstDash val="solid"/>
            <a:miter lim="800000"/>
            <a:headEnd/>
            <a:tailEnd/>
          </a:ln>
        </p:spPr>
        <p:txBody>
          <a:bodyPr vert="horz" wrap="square" lIns="89591" tIns="44795" rIns="89591" bIns="44795" numCol="1" anchor="t" anchorCtr="0" compatLnSpc="1">
            <a:prstTxWarp prst="textNoShape">
              <a:avLst/>
            </a:prstTxWarp>
          </a:bodyPr>
          <a:lstStyle/>
          <a:p>
            <a:pPr defTabSz="913791">
              <a:defRPr/>
            </a:pPr>
            <a:endParaRPr lang="en-US" sz="1960">
              <a:latin typeface="Segoe UI Semibold"/>
            </a:endParaRPr>
          </a:p>
        </p:txBody>
      </p:sp>
      <p:sp>
        <p:nvSpPr>
          <p:cNvPr id="439" name="Freeform 110">
            <a:extLst>
              <a:ext uri="{FF2B5EF4-FFF2-40B4-BE49-F238E27FC236}">
                <a16:creationId xmlns:a16="http://schemas.microsoft.com/office/drawing/2014/main" id="{92AD5B6B-3D9C-41D0-8F99-C64B3E43AFCD}"/>
              </a:ext>
              <a:ext uri="{C183D7F6-B498-43B3-948B-1728B52AA6E4}">
                <adec:decorative xmlns:adec="http://schemas.microsoft.com/office/drawing/2017/decorative" val="1"/>
              </a:ext>
            </a:extLst>
          </p:cNvPr>
          <p:cNvSpPr>
            <a:spLocks noChangeAspect="1" noEditPoints="1"/>
          </p:cNvSpPr>
          <p:nvPr/>
        </p:nvSpPr>
        <p:spPr bwMode="black">
          <a:xfrm>
            <a:off x="9614729" y="2938506"/>
            <a:ext cx="87595" cy="164280"/>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rgbClr val="0078D7"/>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36" tIns="140509" rIns="175636" bIns="140509" numCol="1" spcCol="0" rtlCol="0" fromWordArt="0" anchor="t" anchorCtr="0" forceAA="0" compatLnSpc="1">
            <a:prstTxWarp prst="textNoShape">
              <a:avLst/>
            </a:prstTxWarp>
            <a:noAutofit/>
          </a:bodyPr>
          <a:lstStyle/>
          <a:p>
            <a:pPr algn="ctr" defTabSz="895235" fontAlgn="base">
              <a:spcBef>
                <a:spcPct val="0"/>
              </a:spcBef>
              <a:spcAft>
                <a:spcPct val="0"/>
              </a:spcAft>
              <a:defRPr/>
            </a:pPr>
            <a:endParaRPr lang="en-US" sz="1960">
              <a:solidFill>
                <a:schemeClr val="tx1"/>
              </a:solidFill>
              <a:latin typeface="Segoe UI"/>
              <a:ea typeface="Segoe UI" pitchFamily="34" charset="0"/>
              <a:cs typeface="Segoe UI" pitchFamily="34" charset="0"/>
            </a:endParaRPr>
          </a:p>
        </p:txBody>
      </p:sp>
      <p:pic>
        <p:nvPicPr>
          <p:cNvPr id="440" name="Graphic 439">
            <a:extLst>
              <a:ext uri="{FF2B5EF4-FFF2-40B4-BE49-F238E27FC236}">
                <a16:creationId xmlns:a16="http://schemas.microsoft.com/office/drawing/2014/main" id="{C07B57C4-2526-4663-B2C7-762F24829189}"/>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780431" y="2938504"/>
            <a:ext cx="178252" cy="169274"/>
          </a:xfrm>
          <a:prstGeom prst="rect">
            <a:avLst/>
          </a:prstGeom>
        </p:spPr>
      </p:pic>
      <p:pic>
        <p:nvPicPr>
          <p:cNvPr id="441" name="Graphic 440">
            <a:extLst>
              <a:ext uri="{FF2B5EF4-FFF2-40B4-BE49-F238E27FC236}">
                <a16:creationId xmlns:a16="http://schemas.microsoft.com/office/drawing/2014/main" id="{D1EB3474-1D28-430E-9F32-180E2ECAC2A0}"/>
              </a:ext>
              <a:ext uri="{C183D7F6-B498-43B3-948B-1728B52AA6E4}">
                <adec:decorative xmlns:adec="http://schemas.microsoft.com/office/drawing/2017/decorative" val="1"/>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793003" y="5204710"/>
            <a:ext cx="130118" cy="190839"/>
          </a:xfrm>
          <a:prstGeom prst="rect">
            <a:avLst/>
          </a:prstGeom>
        </p:spPr>
      </p:pic>
      <p:pic>
        <p:nvPicPr>
          <p:cNvPr id="442" name="Graphic 441">
            <a:extLst>
              <a:ext uri="{FF2B5EF4-FFF2-40B4-BE49-F238E27FC236}">
                <a16:creationId xmlns:a16="http://schemas.microsoft.com/office/drawing/2014/main" id="{28F7D0A8-E983-4820-A3B4-B221C69BE699}"/>
              </a:ext>
              <a:ext uri="{C183D7F6-B498-43B3-948B-1728B52AA6E4}">
                <adec:decorative xmlns:adec="http://schemas.microsoft.com/office/drawing/2017/decorative" val="1"/>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7787050" y="5187386"/>
            <a:ext cx="130118" cy="190839"/>
          </a:xfrm>
          <a:prstGeom prst="rect">
            <a:avLst/>
          </a:prstGeom>
        </p:spPr>
      </p:pic>
      <p:sp>
        <p:nvSpPr>
          <p:cNvPr id="443" name="MSIPCMContentMarking">
            <a:extLst>
              <a:ext uri="{FF2B5EF4-FFF2-40B4-BE49-F238E27FC236}">
                <a16:creationId xmlns:a16="http://schemas.microsoft.com/office/drawing/2014/main" id="{4D985F56-16B5-4376-B7BC-8A5E58813838}"/>
              </a:ext>
              <a:ext uri="{C183D7F6-B498-43B3-948B-1728B52AA6E4}">
                <adec:decorative xmlns:adec="http://schemas.microsoft.com/office/drawing/2017/decorative" val="1"/>
              </a:ext>
            </a:extLst>
          </p:cNvPr>
          <p:cNvSpPr txBox="1"/>
          <p:nvPr/>
        </p:nvSpPr>
        <p:spPr>
          <a:xfrm>
            <a:off x="8639653" y="6864032"/>
            <a:ext cx="3621912" cy="113006"/>
          </a:xfrm>
          <a:prstGeom prst="rect">
            <a:avLst/>
          </a:prstGeom>
          <a:noFill/>
        </p:spPr>
        <p:txBody>
          <a:bodyPr vert="horz" wrap="square" lIns="0" tIns="0" rIns="0" bIns="0" rtlCol="0" anchor="ctr" anchorCtr="1">
            <a:spAutoFit/>
          </a:bodyPr>
          <a:lstStyle/>
          <a:p>
            <a:pPr algn="ctr" defTabSz="914191">
              <a:lnSpc>
                <a:spcPct val="90000"/>
              </a:lnSpc>
              <a:defRPr/>
            </a:pPr>
            <a:r>
              <a:rPr lang="en-US" sz="800">
                <a:solidFill>
                  <a:schemeClr val="bg1"/>
                </a:solidFill>
                <a:cs typeface="Segoe UI Semibold" panose="020B0702040204020203" pitchFamily="34" charset="0"/>
              </a:rPr>
              <a:t>Classified as Microsoft Confidential – Microsoft Internal Only – Do Not Share</a:t>
            </a:r>
          </a:p>
        </p:txBody>
      </p:sp>
      <p:grpSp>
        <p:nvGrpSpPr>
          <p:cNvPr id="444" name="Group 443">
            <a:extLst>
              <a:ext uri="{FF2B5EF4-FFF2-40B4-BE49-F238E27FC236}">
                <a16:creationId xmlns:a16="http://schemas.microsoft.com/office/drawing/2014/main" id="{9A5EF2A0-4E6B-4066-A604-8E84596E5BC0}"/>
              </a:ext>
              <a:ext uri="{C183D7F6-B498-43B3-948B-1728B52AA6E4}">
                <adec:decorative xmlns:adec="http://schemas.microsoft.com/office/drawing/2017/decorative" val="1"/>
              </a:ext>
            </a:extLst>
          </p:cNvPr>
          <p:cNvGrpSpPr/>
          <p:nvPr/>
        </p:nvGrpSpPr>
        <p:grpSpPr>
          <a:xfrm>
            <a:off x="10277699" y="3896323"/>
            <a:ext cx="1230984" cy="735480"/>
            <a:chOff x="8044467" y="3853763"/>
            <a:chExt cx="1231159" cy="735584"/>
          </a:xfrm>
        </p:grpSpPr>
        <p:grpSp>
          <p:nvGrpSpPr>
            <p:cNvPr id="445" name="laptop" descr="laptop">
              <a:extLst>
                <a:ext uri="{FF2B5EF4-FFF2-40B4-BE49-F238E27FC236}">
                  <a16:creationId xmlns:a16="http://schemas.microsoft.com/office/drawing/2014/main" id="{E391EA84-9609-4912-98A3-98649EEEB0EB}"/>
                </a:ext>
              </a:extLst>
            </p:cNvPr>
            <p:cNvGrpSpPr/>
            <p:nvPr/>
          </p:nvGrpSpPr>
          <p:grpSpPr>
            <a:xfrm>
              <a:off x="8044467" y="3853763"/>
              <a:ext cx="1231159" cy="735584"/>
              <a:chOff x="5886301" y="1225565"/>
              <a:chExt cx="382588" cy="228586"/>
            </a:xfrm>
            <a:solidFill>
              <a:schemeClr val="bg1">
                <a:lumMod val="95000"/>
              </a:schemeClr>
            </a:solidFill>
            <a:effectLst>
              <a:outerShdw blurRad="76200" dir="18900000" sy="23000" kx="-1200000" algn="bl" rotWithShape="0">
                <a:prstClr val="black">
                  <a:alpha val="20000"/>
                </a:prstClr>
              </a:outerShdw>
            </a:effectLst>
          </p:grpSpPr>
          <p:sp>
            <p:nvSpPr>
              <p:cNvPr id="447" name="Freeform 51">
                <a:extLst>
                  <a:ext uri="{FF2B5EF4-FFF2-40B4-BE49-F238E27FC236}">
                    <a16:creationId xmlns:a16="http://schemas.microsoft.com/office/drawing/2014/main" id="{0EEE5835-B88A-4CBF-8103-59FB636E555D}"/>
                  </a:ext>
                </a:extLst>
              </p:cNvPr>
              <p:cNvSpPr>
                <a:spLocks/>
              </p:cNvSpPr>
              <p:nvPr/>
            </p:nvSpPr>
            <p:spPr bwMode="auto">
              <a:xfrm>
                <a:off x="5886301" y="1362476"/>
                <a:ext cx="382588" cy="91675"/>
              </a:xfrm>
              <a:custGeom>
                <a:avLst/>
                <a:gdLst>
                  <a:gd name="T0" fmla="*/ 203 w 241"/>
                  <a:gd name="T1" fmla="*/ 61 h 122"/>
                  <a:gd name="T2" fmla="*/ 120 w 241"/>
                  <a:gd name="T3" fmla="*/ 0 h 122"/>
                  <a:gd name="T4" fmla="*/ 39 w 241"/>
                  <a:gd name="T5" fmla="*/ 61 h 122"/>
                  <a:gd name="T6" fmla="*/ 38 w 241"/>
                  <a:gd name="T7" fmla="*/ 61 h 122"/>
                  <a:gd name="T8" fmla="*/ 0 w 241"/>
                  <a:gd name="T9" fmla="*/ 122 h 122"/>
                  <a:gd name="T10" fmla="*/ 241 w 241"/>
                  <a:gd name="T11" fmla="*/ 122 h 122"/>
                  <a:gd name="T12" fmla="*/ 203 w 241"/>
                  <a:gd name="T13" fmla="*/ 61 h 122"/>
                </a:gdLst>
                <a:ahLst/>
                <a:cxnLst>
                  <a:cxn ang="0">
                    <a:pos x="T0" y="T1"/>
                  </a:cxn>
                  <a:cxn ang="0">
                    <a:pos x="T2" y="T3"/>
                  </a:cxn>
                  <a:cxn ang="0">
                    <a:pos x="T4" y="T5"/>
                  </a:cxn>
                  <a:cxn ang="0">
                    <a:pos x="T6" y="T7"/>
                  </a:cxn>
                  <a:cxn ang="0">
                    <a:pos x="T8" y="T9"/>
                  </a:cxn>
                  <a:cxn ang="0">
                    <a:pos x="T10" y="T11"/>
                  </a:cxn>
                  <a:cxn ang="0">
                    <a:pos x="T12" y="T13"/>
                  </a:cxn>
                </a:cxnLst>
                <a:rect l="0" t="0" r="r" b="b"/>
                <a:pathLst>
                  <a:path w="241" h="122">
                    <a:moveTo>
                      <a:pt x="203" y="61"/>
                    </a:moveTo>
                    <a:lnTo>
                      <a:pt x="120" y="0"/>
                    </a:lnTo>
                    <a:lnTo>
                      <a:pt x="39" y="61"/>
                    </a:lnTo>
                    <a:lnTo>
                      <a:pt x="38" y="61"/>
                    </a:lnTo>
                    <a:lnTo>
                      <a:pt x="0" y="122"/>
                    </a:lnTo>
                    <a:lnTo>
                      <a:pt x="241" y="122"/>
                    </a:lnTo>
                    <a:lnTo>
                      <a:pt x="203" y="61"/>
                    </a:lnTo>
                    <a:close/>
                  </a:path>
                </a:pathLst>
              </a:custGeom>
              <a:solidFill>
                <a:schemeClr val="bg1">
                  <a:lumMod val="85000"/>
                </a:schemeClr>
              </a:solidFill>
              <a:ln>
                <a:noFill/>
              </a:ln>
            </p:spPr>
            <p:txBody>
              <a:bodyPr vert="horz" wrap="square" lIns="89629" tIns="44815" rIns="89629" bIns="44815" numCol="1" anchor="t" anchorCtr="0" compatLnSpc="1">
                <a:prstTxWarp prst="textNoShape">
                  <a:avLst/>
                </a:prstTxWarp>
              </a:bodyPr>
              <a:lstStyle/>
              <a:p>
                <a:pPr algn="ctr" defTabSz="896214" fontAlgn="base"/>
                <a:endParaRPr lang="en-US" sz="1667">
                  <a:solidFill>
                    <a:srgbClr val="505050"/>
                  </a:solidFill>
                  <a:latin typeface="Segoe UI"/>
                </a:endParaRPr>
              </a:p>
            </p:txBody>
          </p:sp>
          <p:sp>
            <p:nvSpPr>
              <p:cNvPr id="448" name="Freeform 52">
                <a:extLst>
                  <a:ext uri="{FF2B5EF4-FFF2-40B4-BE49-F238E27FC236}">
                    <a16:creationId xmlns:a16="http://schemas.microsoft.com/office/drawing/2014/main" id="{9032D333-C8F1-46E6-8FA1-B32073C2E826}"/>
                  </a:ext>
                </a:extLst>
              </p:cNvPr>
              <p:cNvSpPr>
                <a:spLocks/>
              </p:cNvSpPr>
              <p:nvPr/>
            </p:nvSpPr>
            <p:spPr bwMode="auto">
              <a:xfrm>
                <a:off x="5946776" y="1225565"/>
                <a:ext cx="261938" cy="182563"/>
              </a:xfrm>
              <a:custGeom>
                <a:avLst/>
                <a:gdLst>
                  <a:gd name="T0" fmla="*/ 149 w 156"/>
                  <a:gd name="T1" fmla="*/ 0 h 109"/>
                  <a:gd name="T2" fmla="*/ 6 w 156"/>
                  <a:gd name="T3" fmla="*/ 0 h 109"/>
                  <a:gd name="T4" fmla="*/ 0 w 156"/>
                  <a:gd name="T5" fmla="*/ 6 h 109"/>
                  <a:gd name="T6" fmla="*/ 0 w 156"/>
                  <a:gd name="T7" fmla="*/ 109 h 109"/>
                  <a:gd name="T8" fmla="*/ 0 w 156"/>
                  <a:gd name="T9" fmla="*/ 108 h 109"/>
                  <a:gd name="T10" fmla="*/ 0 w 156"/>
                  <a:gd name="T11" fmla="*/ 109 h 109"/>
                  <a:gd name="T12" fmla="*/ 156 w 156"/>
                  <a:gd name="T13" fmla="*/ 109 h 109"/>
                  <a:gd name="T14" fmla="*/ 156 w 156"/>
                  <a:gd name="T15" fmla="*/ 6 h 109"/>
                  <a:gd name="T16" fmla="*/ 149 w 156"/>
                  <a:gd name="T17"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09">
                    <a:moveTo>
                      <a:pt x="149" y="0"/>
                    </a:moveTo>
                    <a:cubicBezTo>
                      <a:pt x="6" y="0"/>
                      <a:pt x="6" y="0"/>
                      <a:pt x="6" y="0"/>
                    </a:cubicBezTo>
                    <a:cubicBezTo>
                      <a:pt x="3" y="0"/>
                      <a:pt x="0" y="3"/>
                      <a:pt x="0" y="6"/>
                    </a:cubicBezTo>
                    <a:cubicBezTo>
                      <a:pt x="0" y="109"/>
                      <a:pt x="0" y="109"/>
                      <a:pt x="0" y="109"/>
                    </a:cubicBezTo>
                    <a:cubicBezTo>
                      <a:pt x="0" y="108"/>
                      <a:pt x="0" y="108"/>
                      <a:pt x="0" y="108"/>
                    </a:cubicBezTo>
                    <a:cubicBezTo>
                      <a:pt x="0" y="109"/>
                      <a:pt x="0" y="109"/>
                      <a:pt x="0" y="109"/>
                    </a:cubicBezTo>
                    <a:cubicBezTo>
                      <a:pt x="156" y="109"/>
                      <a:pt x="156" y="109"/>
                      <a:pt x="156" y="109"/>
                    </a:cubicBezTo>
                    <a:cubicBezTo>
                      <a:pt x="156" y="6"/>
                      <a:pt x="156" y="6"/>
                      <a:pt x="156" y="6"/>
                    </a:cubicBezTo>
                    <a:cubicBezTo>
                      <a:pt x="156" y="3"/>
                      <a:pt x="153" y="0"/>
                      <a:pt x="14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endParaRPr lang="en-US" sz="1667">
                  <a:solidFill>
                    <a:srgbClr val="505050"/>
                  </a:solidFill>
                  <a:latin typeface="Segoe UI"/>
                </a:endParaRPr>
              </a:p>
            </p:txBody>
          </p:sp>
        </p:grpSp>
        <p:sp>
          <p:nvSpPr>
            <p:cNvPr id="446" name="TextBox 445">
              <a:extLst>
                <a:ext uri="{FF2B5EF4-FFF2-40B4-BE49-F238E27FC236}">
                  <a16:creationId xmlns:a16="http://schemas.microsoft.com/office/drawing/2014/main" id="{A649688D-32C3-4D1D-81E2-B27DDBCAD7FE}"/>
                </a:ext>
              </a:extLst>
            </p:cNvPr>
            <p:cNvSpPr txBox="1"/>
            <p:nvPr/>
          </p:nvSpPr>
          <p:spPr>
            <a:xfrm>
              <a:off x="8352611" y="3967827"/>
              <a:ext cx="614870" cy="423830"/>
            </a:xfrm>
            <a:prstGeom prst="rect">
              <a:avLst/>
            </a:prstGeom>
            <a:noFill/>
          </p:spPr>
          <p:txBody>
            <a:bodyPr wrap="square" lIns="0" tIns="0" rIns="0" bIns="0" rtlCol="0" anchor="ctr">
              <a:spAutoFit/>
            </a:bodyPr>
            <a:lstStyle/>
            <a:p>
              <a:pPr algn="ctr">
                <a:lnSpc>
                  <a:spcPct val="90000"/>
                </a:lnSpc>
                <a:spcAft>
                  <a:spcPts val="600"/>
                </a:spcAft>
              </a:pPr>
              <a:r>
                <a:rPr lang="en-US" sz="1000" b="1" cap="all">
                  <a:solidFill>
                    <a:schemeClr val="bg1">
                      <a:lumMod val="85000"/>
                    </a:schemeClr>
                  </a:solidFill>
                  <a:cs typeface="Segoe UI Semibold" panose="020B0702040204020203" pitchFamily="34" charset="0"/>
                </a:rPr>
                <a:t>Image Coming Soon</a:t>
              </a:r>
            </a:p>
          </p:txBody>
        </p:sp>
      </p:grpSp>
      <p:pic>
        <p:nvPicPr>
          <p:cNvPr id="449" name="Content Placeholder 25">
            <a:extLst>
              <a:ext uri="{FF2B5EF4-FFF2-40B4-BE49-F238E27FC236}">
                <a16:creationId xmlns:a16="http://schemas.microsoft.com/office/drawing/2014/main" id="{4F885321-18F1-489D-BBDA-D60050963960}"/>
              </a:ext>
              <a:ext uri="{C183D7F6-B498-43B3-948B-1728B52AA6E4}">
                <adec:decorative xmlns:adec="http://schemas.microsoft.com/office/drawing/2017/decorative" val="1"/>
              </a:ext>
            </a:extLst>
          </p:cNvPr>
          <p:cNvPicPr>
            <a:picLocks noChangeAspect="1"/>
          </p:cNvPicPr>
          <p:nvPr/>
        </p:nvPicPr>
        <p:blipFill>
          <a:blip r:embed="rId23" cstate="screen">
            <a:clrChange>
              <a:clrFrom>
                <a:srgbClr val="F7F7F7"/>
              </a:clrFrom>
              <a:clrTo>
                <a:srgbClr val="F7F7F7">
                  <a:alpha val="0"/>
                </a:srgbClr>
              </a:clrTo>
            </a:clrChange>
            <a:extLst>
              <a:ext uri="{28A0092B-C50C-407E-A947-70E740481C1C}">
                <a14:useLocalDpi xmlns:a14="http://schemas.microsoft.com/office/drawing/2010/main"/>
              </a:ext>
            </a:extLst>
          </a:blip>
          <a:srcRect/>
          <a:stretch/>
        </p:blipFill>
        <p:spPr>
          <a:xfrm>
            <a:off x="3961825" y="3735875"/>
            <a:ext cx="1395193" cy="1036547"/>
          </a:xfrm>
          <a:prstGeom prst="rect">
            <a:avLst/>
          </a:prstGeom>
        </p:spPr>
      </p:pic>
      <p:pic>
        <p:nvPicPr>
          <p:cNvPr id="450" name="Content Placeholder 97">
            <a:extLst>
              <a:ext uri="{FF2B5EF4-FFF2-40B4-BE49-F238E27FC236}">
                <a16:creationId xmlns:a16="http://schemas.microsoft.com/office/drawing/2014/main" id="{5D12D691-6A0E-40D9-95F3-2ACA5EB0E67A}"/>
              </a:ext>
              <a:ext uri="{C183D7F6-B498-43B3-948B-1728B52AA6E4}">
                <adec:decorative xmlns:adec="http://schemas.microsoft.com/office/drawing/2017/decorative" val="1"/>
              </a:ext>
            </a:extLst>
          </p:cNvPr>
          <p:cNvPicPr>
            <a:picLocks noChangeAspect="1"/>
          </p:cNvPicPr>
          <p:nvPr/>
        </p:nvPicPr>
        <p:blipFill>
          <a:blip r:embed="rId24" cstate="screen">
            <a:extLst>
              <a:ext uri="{28A0092B-C50C-407E-A947-70E740481C1C}">
                <a14:useLocalDpi xmlns:a14="http://schemas.microsoft.com/office/drawing/2010/main"/>
              </a:ext>
            </a:extLst>
          </a:blip>
          <a:srcRect/>
          <a:stretch/>
        </p:blipFill>
        <p:spPr>
          <a:xfrm>
            <a:off x="7120322" y="3777897"/>
            <a:ext cx="1394071" cy="1045554"/>
          </a:xfrm>
          <a:prstGeom prst="rect">
            <a:avLst/>
          </a:prstGeom>
        </p:spPr>
      </p:pic>
      <p:pic>
        <p:nvPicPr>
          <p:cNvPr id="451" name="Picture 2">
            <a:extLst>
              <a:ext uri="{FF2B5EF4-FFF2-40B4-BE49-F238E27FC236}">
                <a16:creationId xmlns:a16="http://schemas.microsoft.com/office/drawing/2014/main" id="{9C2DF560-05F3-4C62-AD80-1F104EA4FE3A}"/>
              </a:ext>
              <a:ext uri="{C183D7F6-B498-43B3-948B-1728B52AA6E4}">
                <adec:decorative xmlns:adec="http://schemas.microsoft.com/office/drawing/2017/decorative" val="1"/>
              </a:ext>
            </a:extLst>
          </p:cNvPr>
          <p:cNvPicPr>
            <a:picLocks noChangeAspect="1" noChangeArrowheads="1"/>
          </p:cNvPicPr>
          <p:nvPr/>
        </p:nvPicPr>
        <p:blipFill rotWithShape="1">
          <a:blip r:embed="rId25" cstate="screen">
            <a:extLst>
              <a:ext uri="{28A0092B-C50C-407E-A947-70E740481C1C}">
                <a14:useLocalDpi xmlns:a14="http://schemas.microsoft.com/office/drawing/2010/main"/>
              </a:ext>
            </a:extLst>
          </a:blip>
          <a:srcRect/>
          <a:stretch/>
        </p:blipFill>
        <p:spPr bwMode="auto">
          <a:xfrm>
            <a:off x="945679" y="3832534"/>
            <a:ext cx="1440367" cy="910921"/>
          </a:xfrm>
          <a:prstGeom prst="rect">
            <a:avLst/>
          </a:prstGeom>
          <a:noFill/>
          <a:extLst>
            <a:ext uri="{909E8E84-426E-40DD-AFC4-6F175D3DCCD1}">
              <a14:hiddenFill xmlns:a14="http://schemas.microsoft.com/office/drawing/2010/main">
                <a:solidFill>
                  <a:srgbClr val="FFFFFF"/>
                </a:solidFill>
              </a14:hiddenFill>
            </a:ext>
          </a:extLst>
        </p:spPr>
      </p:pic>
      <p:pic>
        <p:nvPicPr>
          <p:cNvPr id="452" name="Picture 451">
            <a:extLst>
              <a:ext uri="{FF2B5EF4-FFF2-40B4-BE49-F238E27FC236}">
                <a16:creationId xmlns:a16="http://schemas.microsoft.com/office/drawing/2014/main" id="{E0184FDC-E7C3-46B3-B83D-101EC395770B}"/>
              </a:ext>
              <a:ext uri="{C183D7F6-B498-43B3-948B-1728B52AA6E4}">
                <adec:decorative xmlns:adec="http://schemas.microsoft.com/office/drawing/2017/decorative" val="1"/>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5192677" y="3752345"/>
            <a:ext cx="201236" cy="81634"/>
          </a:xfrm>
          <a:prstGeom prst="rect">
            <a:avLst/>
          </a:prstGeom>
        </p:spPr>
      </p:pic>
      <p:pic>
        <p:nvPicPr>
          <p:cNvPr id="453" name="Picture 452">
            <a:extLst>
              <a:ext uri="{FF2B5EF4-FFF2-40B4-BE49-F238E27FC236}">
                <a16:creationId xmlns:a16="http://schemas.microsoft.com/office/drawing/2014/main" id="{B37E2466-1778-40B1-87CC-CE7B306A3A07}"/>
              </a:ext>
              <a:ext uri="{C183D7F6-B498-43B3-948B-1728B52AA6E4}">
                <adec:decorative xmlns:adec="http://schemas.microsoft.com/office/drawing/2017/decorative" val="1"/>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8490767" y="3762260"/>
            <a:ext cx="201236" cy="81634"/>
          </a:xfrm>
          <a:prstGeom prst="rect">
            <a:avLst/>
          </a:prstGeom>
        </p:spPr>
      </p:pic>
      <p:pic>
        <p:nvPicPr>
          <p:cNvPr id="454" name="Picture 453">
            <a:extLst>
              <a:ext uri="{FF2B5EF4-FFF2-40B4-BE49-F238E27FC236}">
                <a16:creationId xmlns:a16="http://schemas.microsoft.com/office/drawing/2014/main" id="{F15202B1-E008-4BEA-A1BC-D55FEA5BC0DA}"/>
              </a:ext>
              <a:ext uri="{C183D7F6-B498-43B3-948B-1728B52AA6E4}">
                <adec:decorative xmlns:adec="http://schemas.microsoft.com/office/drawing/2017/decorative" val="1"/>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2211660" y="1304935"/>
            <a:ext cx="201236" cy="81634"/>
          </a:xfrm>
          <a:prstGeom prst="rect">
            <a:avLst/>
          </a:prstGeom>
        </p:spPr>
      </p:pic>
      <p:pic>
        <p:nvPicPr>
          <p:cNvPr id="455" name="Picture 454">
            <a:extLst>
              <a:ext uri="{FF2B5EF4-FFF2-40B4-BE49-F238E27FC236}">
                <a16:creationId xmlns:a16="http://schemas.microsoft.com/office/drawing/2014/main" id="{51287A0F-C6C4-4176-B5F1-05CEAC804B8D}"/>
              </a:ext>
              <a:ext uri="{C183D7F6-B498-43B3-948B-1728B52AA6E4}">
                <adec:decorative xmlns:adec="http://schemas.microsoft.com/office/drawing/2017/decorative" val="1"/>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8032683" y="1310382"/>
            <a:ext cx="201236" cy="81634"/>
          </a:xfrm>
          <a:prstGeom prst="rect">
            <a:avLst/>
          </a:prstGeom>
        </p:spPr>
      </p:pic>
      <p:pic>
        <p:nvPicPr>
          <p:cNvPr id="456" name="Picture 455">
            <a:extLst>
              <a:ext uri="{FF2B5EF4-FFF2-40B4-BE49-F238E27FC236}">
                <a16:creationId xmlns:a16="http://schemas.microsoft.com/office/drawing/2014/main" id="{11997EB2-A1D6-4FC0-9523-BABCD9213D73}"/>
              </a:ext>
              <a:ext uri="{C183D7F6-B498-43B3-948B-1728B52AA6E4}">
                <adec:decorative xmlns:adec="http://schemas.microsoft.com/office/drawing/2017/decorative" val="1"/>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10979702" y="1304935"/>
            <a:ext cx="201236" cy="81634"/>
          </a:xfrm>
          <a:prstGeom prst="rect">
            <a:avLst/>
          </a:prstGeom>
        </p:spPr>
      </p:pic>
      <p:grpSp>
        <p:nvGrpSpPr>
          <p:cNvPr id="278" name="Group 277">
            <a:extLst>
              <a:ext uri="{FF2B5EF4-FFF2-40B4-BE49-F238E27FC236}">
                <a16:creationId xmlns:a16="http://schemas.microsoft.com/office/drawing/2014/main" id="{9680DE7A-B5C7-41DD-852A-DE94C67016C2}"/>
              </a:ext>
              <a:ext uri="{C183D7F6-B498-43B3-948B-1728B52AA6E4}">
                <adec:decorative xmlns:adec="http://schemas.microsoft.com/office/drawing/2017/decorative" val="1"/>
              </a:ext>
            </a:extLst>
          </p:cNvPr>
          <p:cNvGrpSpPr/>
          <p:nvPr/>
        </p:nvGrpSpPr>
        <p:grpSpPr>
          <a:xfrm>
            <a:off x="7962394" y="6062781"/>
            <a:ext cx="330445" cy="156835"/>
            <a:chOff x="6006660" y="6423013"/>
            <a:chExt cx="542555" cy="257507"/>
          </a:xfrm>
        </p:grpSpPr>
        <p:sp>
          <p:nvSpPr>
            <p:cNvPr id="279" name="camera" title="Icon of a camera">
              <a:extLst>
                <a:ext uri="{FF2B5EF4-FFF2-40B4-BE49-F238E27FC236}">
                  <a16:creationId xmlns:a16="http://schemas.microsoft.com/office/drawing/2014/main" id="{39BBA394-3742-4D81-A0FC-50EBA45A3352}"/>
                </a:ext>
              </a:extLst>
            </p:cNvPr>
            <p:cNvSpPr>
              <a:spLocks noChangeAspect="1" noEditPoints="1"/>
            </p:cNvSpPr>
            <p:nvPr/>
          </p:nvSpPr>
          <p:spPr bwMode="auto">
            <a:xfrm>
              <a:off x="6006660" y="6423013"/>
              <a:ext cx="322220" cy="25750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2700" cap="flat">
              <a:solidFill>
                <a:schemeClr val="bg1"/>
              </a:solidFill>
              <a:prstDash val="solid"/>
              <a:miter/>
            </a:ln>
          </p:spPr>
          <p:txBody>
            <a:bodyPr vert="horz" wrap="square" lIns="89629" tIns="44815" rIns="89629" bIns="44815" numCol="1" anchor="t" anchorCtr="0" compatLnSpc="1">
              <a:prstTxWarp prst="textNoShape">
                <a:avLst/>
              </a:prstTxWarp>
            </a:bodyPr>
            <a:lstStyle/>
            <a:p>
              <a:endParaRPr lang="en-US" sz="1372" b="1"/>
            </a:p>
          </p:txBody>
        </p:sp>
        <p:sp>
          <p:nvSpPr>
            <p:cNvPr id="280" name="Rectangle 279">
              <a:extLst>
                <a:ext uri="{FF2B5EF4-FFF2-40B4-BE49-F238E27FC236}">
                  <a16:creationId xmlns:a16="http://schemas.microsoft.com/office/drawing/2014/main" id="{BE3133D9-5F3B-4072-A4F5-958D3E6510C8}"/>
                </a:ext>
              </a:extLst>
            </p:cNvPr>
            <p:cNvSpPr/>
            <p:nvPr/>
          </p:nvSpPr>
          <p:spPr bwMode="auto">
            <a:xfrm>
              <a:off x="6288630" y="6472530"/>
              <a:ext cx="260585" cy="1611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60" tIns="143408" rIns="179260" bIns="143408" numCol="1" spcCol="0" rtlCol="0" fromWordArt="0" anchor="ctr" anchorCtr="0" forceAA="0" compatLnSpc="1">
              <a:prstTxWarp prst="textNoShape">
                <a:avLst/>
              </a:prstTxWarp>
              <a:noAutofit/>
            </a:bodyPr>
            <a:lstStyle/>
            <a:p>
              <a:pPr algn="ctr" defTabSz="913926" fontAlgn="base">
                <a:lnSpc>
                  <a:spcPct val="90000"/>
                </a:lnSpc>
                <a:spcBef>
                  <a:spcPct val="0"/>
                </a:spcBef>
                <a:spcAft>
                  <a:spcPct val="0"/>
                </a:spcAft>
              </a:pPr>
              <a:r>
                <a:rPr lang="en-US" sz="587" b="1">
                  <a:solidFill>
                    <a:schemeClr val="bg1"/>
                  </a:solidFill>
                  <a:latin typeface="Segoe UI Black" panose="020B0A02040204020203" pitchFamily="34" charset="0"/>
                  <a:ea typeface="Segoe UI Black" panose="020B0A02040204020203" pitchFamily="34" charset="0"/>
                  <a:cs typeface="Segoe UI" pitchFamily="34" charset="0"/>
                </a:rPr>
                <a:t>HD</a:t>
              </a:r>
            </a:p>
          </p:txBody>
        </p:sp>
      </p:grpSp>
      <p:grpSp>
        <p:nvGrpSpPr>
          <p:cNvPr id="281" name="Group 280">
            <a:extLst>
              <a:ext uri="{FF2B5EF4-FFF2-40B4-BE49-F238E27FC236}">
                <a16:creationId xmlns:a16="http://schemas.microsoft.com/office/drawing/2014/main" id="{FEAC0542-0B37-494A-ACDD-B5B9A1599AA3}"/>
              </a:ext>
              <a:ext uri="{C183D7F6-B498-43B3-948B-1728B52AA6E4}">
                <adec:decorative xmlns:adec="http://schemas.microsoft.com/office/drawing/2017/decorative" val="1"/>
              </a:ext>
            </a:extLst>
          </p:cNvPr>
          <p:cNvGrpSpPr/>
          <p:nvPr/>
        </p:nvGrpSpPr>
        <p:grpSpPr>
          <a:xfrm>
            <a:off x="8907013" y="6062781"/>
            <a:ext cx="330445" cy="156835"/>
            <a:chOff x="6006660" y="6423013"/>
            <a:chExt cx="542555" cy="257507"/>
          </a:xfrm>
        </p:grpSpPr>
        <p:sp>
          <p:nvSpPr>
            <p:cNvPr id="282" name="camera" title="Icon of a camera">
              <a:extLst>
                <a:ext uri="{FF2B5EF4-FFF2-40B4-BE49-F238E27FC236}">
                  <a16:creationId xmlns:a16="http://schemas.microsoft.com/office/drawing/2014/main" id="{A8DC6B8D-C1FF-42F0-8EA2-3669BABBA34E}"/>
                </a:ext>
              </a:extLst>
            </p:cNvPr>
            <p:cNvSpPr>
              <a:spLocks noChangeAspect="1" noEditPoints="1"/>
            </p:cNvSpPr>
            <p:nvPr/>
          </p:nvSpPr>
          <p:spPr bwMode="auto">
            <a:xfrm>
              <a:off x="6006660" y="6423013"/>
              <a:ext cx="322220" cy="25750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2700" cap="flat">
              <a:solidFill>
                <a:schemeClr val="bg1"/>
              </a:solidFill>
              <a:prstDash val="solid"/>
              <a:miter/>
            </a:ln>
          </p:spPr>
          <p:txBody>
            <a:bodyPr vert="horz" wrap="square" lIns="89629" tIns="44815" rIns="89629" bIns="44815" numCol="1" anchor="t" anchorCtr="0" compatLnSpc="1">
              <a:prstTxWarp prst="textNoShape">
                <a:avLst/>
              </a:prstTxWarp>
            </a:bodyPr>
            <a:lstStyle/>
            <a:p>
              <a:endParaRPr lang="en-US" sz="1372" b="1"/>
            </a:p>
          </p:txBody>
        </p:sp>
        <p:sp>
          <p:nvSpPr>
            <p:cNvPr id="283" name="Rectangle 282">
              <a:extLst>
                <a:ext uri="{FF2B5EF4-FFF2-40B4-BE49-F238E27FC236}">
                  <a16:creationId xmlns:a16="http://schemas.microsoft.com/office/drawing/2014/main" id="{48B94E49-2864-4813-8C18-953013581DFC}"/>
                </a:ext>
              </a:extLst>
            </p:cNvPr>
            <p:cNvSpPr/>
            <p:nvPr/>
          </p:nvSpPr>
          <p:spPr bwMode="auto">
            <a:xfrm>
              <a:off x="6288630" y="6472530"/>
              <a:ext cx="260585" cy="1611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60" tIns="143408" rIns="179260" bIns="143408" numCol="1" spcCol="0" rtlCol="0" fromWordArt="0" anchor="ctr" anchorCtr="0" forceAA="0" compatLnSpc="1">
              <a:prstTxWarp prst="textNoShape">
                <a:avLst/>
              </a:prstTxWarp>
              <a:noAutofit/>
            </a:bodyPr>
            <a:lstStyle/>
            <a:p>
              <a:pPr algn="ctr" defTabSz="913926" fontAlgn="base">
                <a:lnSpc>
                  <a:spcPct val="90000"/>
                </a:lnSpc>
                <a:spcBef>
                  <a:spcPct val="0"/>
                </a:spcBef>
                <a:spcAft>
                  <a:spcPct val="0"/>
                </a:spcAft>
              </a:pPr>
              <a:r>
                <a:rPr lang="en-US" sz="587" b="1">
                  <a:solidFill>
                    <a:schemeClr val="bg1"/>
                  </a:solidFill>
                  <a:latin typeface="Segoe UI Black" panose="020B0A02040204020203" pitchFamily="34" charset="0"/>
                  <a:ea typeface="Segoe UI Black" panose="020B0A02040204020203" pitchFamily="34" charset="0"/>
                  <a:cs typeface="Segoe UI" pitchFamily="34" charset="0"/>
                </a:rPr>
                <a:t>FHD</a:t>
              </a:r>
            </a:p>
          </p:txBody>
        </p:sp>
      </p:grpSp>
    </p:spTree>
    <p:extLst>
      <p:ext uri="{BB962C8B-B14F-4D97-AF65-F5344CB8AC3E}">
        <p14:creationId xmlns:p14="http://schemas.microsoft.com/office/powerpoint/2010/main" val="197484559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02701-C9EF-45D6-868D-DF7186421821}"/>
              </a:ext>
            </a:extLst>
          </p:cNvPr>
          <p:cNvSpPr>
            <a:spLocks noGrp="1"/>
          </p:cNvSpPr>
          <p:nvPr>
            <p:ph type="title"/>
          </p:nvPr>
        </p:nvSpPr>
        <p:spPr>
          <a:xfrm>
            <a:off x="457200" y="503238"/>
            <a:ext cx="11520488" cy="1166074"/>
          </a:xfrm>
        </p:spPr>
        <p:txBody>
          <a:bodyPr/>
          <a:lstStyle/>
          <a:p>
            <a:r>
              <a:rPr lang="en-US"/>
              <a:t>Meet the </a:t>
            </a:r>
            <a:r>
              <a:rPr lang="en-US">
                <a:solidFill>
                  <a:schemeClr val="tx2"/>
                </a:solidFill>
                <a:latin typeface="Segoe UI Semibold" panose="020B0702040204020203" pitchFamily="34" charset="0"/>
                <a:cs typeface="Segoe UI Semibold" panose="020B0702040204020203" pitchFamily="34" charset="0"/>
              </a:rPr>
              <a:t>Surface </a:t>
            </a:r>
            <a:r>
              <a:rPr lang="en-US"/>
              <a:t>family of devices</a:t>
            </a:r>
          </a:p>
        </p:txBody>
      </p:sp>
      <p:sp>
        <p:nvSpPr>
          <p:cNvPr id="8" name="TextBox 7">
            <a:extLst>
              <a:ext uri="{FF2B5EF4-FFF2-40B4-BE49-F238E27FC236}">
                <a16:creationId xmlns:a16="http://schemas.microsoft.com/office/drawing/2014/main" id="{9AC55D18-3449-4E2F-9BA9-05BA75533CEB}"/>
              </a:ext>
            </a:extLst>
          </p:cNvPr>
          <p:cNvSpPr txBox="1"/>
          <p:nvPr/>
        </p:nvSpPr>
        <p:spPr>
          <a:xfrm>
            <a:off x="394324" y="1163981"/>
            <a:ext cx="8592658" cy="923330"/>
          </a:xfrm>
          <a:prstGeom prst="rect">
            <a:avLst/>
          </a:prstGeom>
          <a:noFill/>
        </p:spPr>
        <p:txBody>
          <a:bodyPr wrap="square">
            <a:spAutoFit/>
          </a:bodyPr>
          <a:lstStyle/>
          <a:p>
            <a:r>
              <a:rPr lang="en-US">
                <a:cs typeface="Segoe UI Semibold" panose="020B0702040204020203" pitchFamily="34" charset="0"/>
              </a:rPr>
              <a:t>Microsoft offers a portfolio of Surface devices with touch and inking for more experiential and accessible learning, plus LTE options—so that students and faculty have the tools they need </a:t>
            </a:r>
            <a:r>
              <a:rPr lang="en-US">
                <a:solidFill>
                  <a:schemeClr val="tx2"/>
                </a:solidFill>
                <a:latin typeface="Segoe UI Semibold" panose="020B0702040204020203" pitchFamily="34" charset="0"/>
                <a:cs typeface="Segoe UI Semibold" panose="020B0702040204020203" pitchFamily="34" charset="0"/>
              </a:rPr>
              <a:t>at school, at home, or on the go</a:t>
            </a:r>
            <a:r>
              <a:rPr lang="en-US">
                <a:cs typeface="Segoe UI Semibold" panose="020B0702040204020203" pitchFamily="34" charset="0"/>
              </a:rPr>
              <a:t>. </a:t>
            </a:r>
          </a:p>
        </p:txBody>
      </p:sp>
      <p:sp>
        <p:nvSpPr>
          <p:cNvPr id="9" name="Text Placeholder 8">
            <a:extLst>
              <a:ext uri="{FF2B5EF4-FFF2-40B4-BE49-F238E27FC236}">
                <a16:creationId xmlns:a16="http://schemas.microsoft.com/office/drawing/2014/main" id="{36FACB4E-1253-4C89-BF60-8FE14AE7C701}"/>
              </a:ext>
            </a:extLst>
          </p:cNvPr>
          <p:cNvSpPr txBox="1">
            <a:spLocks/>
          </p:cNvSpPr>
          <p:nvPr/>
        </p:nvSpPr>
        <p:spPr>
          <a:xfrm>
            <a:off x="457200" y="2330056"/>
            <a:ext cx="5869377" cy="2220680"/>
          </a:xfrm>
          <a:prstGeom prst="rect">
            <a:avLst/>
          </a:prstGeom>
        </p:spPr>
        <p:txBody>
          <a:bodyPr lIns="0"/>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b="0" i="0" kern="1200" spc="0" baseline="0">
                <a:solidFill>
                  <a:schemeClr val="tx1"/>
                </a:solidFill>
                <a:latin typeface="+mn-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b="0" i="0" kern="1200" spc="0" baseline="0">
                <a:solidFill>
                  <a:schemeClr val="tx1"/>
                </a:solidFill>
                <a:latin typeface="+mn-lt"/>
                <a:ea typeface="+mn-ea"/>
                <a:cs typeface="+mn-cs"/>
              </a:defRPr>
            </a:lvl2pPr>
            <a:lvl3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600" b="0" i="0" kern="1200" spc="0" baseline="0">
                <a:solidFill>
                  <a:schemeClr val="tx1"/>
                </a:solidFill>
                <a:latin typeface="+mn-lt"/>
                <a:ea typeface="+mn-ea"/>
                <a:cs typeface="+mn-cs"/>
              </a:defRPr>
            </a:lvl3pPr>
            <a:lvl4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600" b="0" i="0" kern="1200" spc="0" baseline="0">
                <a:solidFill>
                  <a:schemeClr val="tx1"/>
                </a:solidFill>
                <a:latin typeface="+mn-lt"/>
                <a:ea typeface="+mn-ea"/>
                <a:cs typeface="+mn-cs"/>
              </a:defRPr>
            </a:lvl4pPr>
            <a:lvl5pPr marL="9144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600" b="0" i="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2100" indent="-292100">
              <a:spcBef>
                <a:spcPts val="0"/>
              </a:spcBef>
              <a:spcAft>
                <a:spcPts val="1200"/>
              </a:spcAft>
              <a:buFont typeface="Arial" panose="020B0604020202020204" pitchFamily="34" charset="0"/>
              <a:buChar char="•"/>
            </a:pPr>
            <a:r>
              <a:rPr lang="en-US" sz="1800">
                <a:solidFill>
                  <a:schemeClr val="tx2"/>
                </a:solidFill>
                <a:latin typeface="Segoe UI Semibold" panose="020B0702040204020203" pitchFamily="34" charset="0"/>
                <a:cs typeface="Segoe UI Semibold" panose="020B0702040204020203" pitchFamily="34" charset="0"/>
              </a:rPr>
              <a:t>Provide multi-modal devices </a:t>
            </a:r>
            <a:r>
              <a:rPr lang="en-US" sz="1800">
                <a:cs typeface="Segoe UI Semibold" panose="020B0702040204020203" pitchFamily="34" charset="0"/>
              </a:rPr>
              <a:t>with long-lasting battery, HD cameras, laptop-to-tablet switching, and touch screens</a:t>
            </a:r>
          </a:p>
          <a:p>
            <a:pPr marL="292100" indent="-292100">
              <a:spcBef>
                <a:spcPts val="0"/>
              </a:spcBef>
              <a:spcAft>
                <a:spcPts val="1200"/>
              </a:spcAft>
              <a:buFont typeface="Arial" panose="020B0604020202020204" pitchFamily="34" charset="0"/>
              <a:buChar char="•"/>
            </a:pPr>
            <a:r>
              <a:rPr lang="en-US" sz="1800">
                <a:solidFill>
                  <a:schemeClr val="tx2"/>
                </a:solidFill>
                <a:latin typeface="Segoe UI Semibold" panose="020B0702040204020203" pitchFamily="34" charset="0"/>
                <a:cs typeface="Segoe UI Semibold" panose="020B0702040204020203" pitchFamily="34" charset="0"/>
              </a:rPr>
              <a:t>Empower students </a:t>
            </a:r>
            <a:r>
              <a:rPr lang="en-US" sz="1800">
                <a:cs typeface="Segoe UI Semibold" panose="020B0702040204020203" pitchFamily="34" charset="0"/>
              </a:rPr>
              <a:t>to take notes, use inking,</a:t>
            </a:r>
            <a:br>
              <a:rPr lang="en-US" sz="1800">
                <a:cs typeface="Segoe UI Semibold" panose="020B0702040204020203" pitchFamily="34" charset="0"/>
              </a:rPr>
            </a:br>
            <a:r>
              <a:rPr lang="en-US" sz="1800">
                <a:cs typeface="Segoe UI Semibold" panose="020B0702040204020203" pitchFamily="34" charset="0"/>
              </a:rPr>
              <a:t>and collaborate creatively from anywhere</a:t>
            </a:r>
          </a:p>
          <a:p>
            <a:pPr marL="292100" indent="-292100">
              <a:spcBef>
                <a:spcPts val="0"/>
              </a:spcBef>
              <a:spcAft>
                <a:spcPts val="1200"/>
              </a:spcAft>
              <a:buFont typeface="Arial" panose="020B0604020202020204" pitchFamily="34" charset="0"/>
              <a:buChar char="•"/>
            </a:pPr>
            <a:r>
              <a:rPr lang="en-US" sz="1800">
                <a:solidFill>
                  <a:schemeClr val="tx2"/>
                </a:solidFill>
                <a:latin typeface="Segoe UI Semibold" panose="020B0702040204020203" pitchFamily="34" charset="0"/>
                <a:cs typeface="Segoe UI Semibold" panose="020B0702040204020203" pitchFamily="34" charset="0"/>
              </a:rPr>
              <a:t>Enable instructors </a:t>
            </a:r>
            <a:r>
              <a:rPr lang="en-US" sz="1800">
                <a:cs typeface="Segoe UI Semibold" panose="020B0702040204020203" pitchFamily="34" charset="0"/>
              </a:rPr>
              <a:t>to easily work from home</a:t>
            </a:r>
            <a:br>
              <a:rPr lang="en-US" sz="1800">
                <a:cs typeface="Segoe UI Semibold" panose="020B0702040204020203" pitchFamily="34" charset="0"/>
              </a:rPr>
            </a:br>
            <a:r>
              <a:rPr lang="en-US" sz="1800">
                <a:cs typeface="Segoe UI Semibold" panose="020B0702040204020203" pitchFamily="34" charset="0"/>
              </a:rPr>
              <a:t>and connect with peers and students</a:t>
            </a:r>
          </a:p>
        </p:txBody>
      </p:sp>
      <p:grpSp>
        <p:nvGrpSpPr>
          <p:cNvPr id="17" name="Group 16" descr="Microsoft Surface devices">
            <a:extLst>
              <a:ext uri="{FF2B5EF4-FFF2-40B4-BE49-F238E27FC236}">
                <a16:creationId xmlns:a16="http://schemas.microsoft.com/office/drawing/2014/main" id="{B594F859-DEFD-4149-96AC-96F31383440E}"/>
              </a:ext>
            </a:extLst>
          </p:cNvPr>
          <p:cNvGrpSpPr/>
          <p:nvPr/>
        </p:nvGrpSpPr>
        <p:grpSpPr>
          <a:xfrm>
            <a:off x="1666996" y="2024720"/>
            <a:ext cx="10767892" cy="5453973"/>
            <a:chOff x="1708" y="0"/>
            <a:chExt cx="12431471" cy="6296581"/>
          </a:xfrm>
        </p:grpSpPr>
        <p:pic>
          <p:nvPicPr>
            <p:cNvPr id="18" name="Picture 17">
              <a:extLst>
                <a:ext uri="{FF2B5EF4-FFF2-40B4-BE49-F238E27FC236}">
                  <a16:creationId xmlns:a16="http://schemas.microsoft.com/office/drawing/2014/main" id="{CF37161F-3311-4366-9397-1EDD1ACC5930}"/>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384933" y="0"/>
              <a:ext cx="5048246" cy="5537001"/>
            </a:xfrm>
            <a:prstGeom prst="rect">
              <a:avLst/>
            </a:prstGeom>
          </p:spPr>
        </p:pic>
        <p:pic>
          <p:nvPicPr>
            <p:cNvPr id="19" name="Picture 18">
              <a:extLst>
                <a:ext uri="{FF2B5EF4-FFF2-40B4-BE49-F238E27FC236}">
                  <a16:creationId xmlns:a16="http://schemas.microsoft.com/office/drawing/2014/main" id="{9585DEC0-4457-4DF0-8A48-4BF0FA3B06A5}"/>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708" y="1966576"/>
              <a:ext cx="11414255" cy="4330005"/>
            </a:xfrm>
            <a:prstGeom prst="rect">
              <a:avLst/>
            </a:prstGeom>
          </p:spPr>
        </p:pic>
      </p:grpSp>
      <p:grpSp>
        <p:nvGrpSpPr>
          <p:cNvPr id="20" name="Group 19">
            <a:extLst>
              <a:ext uri="{FF2B5EF4-FFF2-40B4-BE49-F238E27FC236}">
                <a16:creationId xmlns:a16="http://schemas.microsoft.com/office/drawing/2014/main" id="{F0B0802C-306C-4667-8C61-1E89A66DCAA6}"/>
              </a:ext>
              <a:ext uri="{C183D7F6-B498-43B3-948B-1728B52AA6E4}">
                <adec:decorative xmlns:adec="http://schemas.microsoft.com/office/drawing/2017/decorative" val="1"/>
              </a:ext>
            </a:extLst>
          </p:cNvPr>
          <p:cNvGrpSpPr/>
          <p:nvPr/>
        </p:nvGrpSpPr>
        <p:grpSpPr>
          <a:xfrm>
            <a:off x="2051352" y="1679842"/>
            <a:ext cx="9474448" cy="4108338"/>
            <a:chOff x="2051352" y="1679842"/>
            <a:chExt cx="9474448" cy="4108338"/>
          </a:xfrm>
        </p:grpSpPr>
        <p:sp>
          <p:nvSpPr>
            <p:cNvPr id="21" name="Rectangle 20">
              <a:extLst>
                <a:ext uri="{FF2B5EF4-FFF2-40B4-BE49-F238E27FC236}">
                  <a16:creationId xmlns:a16="http://schemas.microsoft.com/office/drawing/2014/main" id="{4A62D3D6-1265-43C6-AA07-8BFA55F18D27}"/>
                </a:ext>
              </a:extLst>
            </p:cNvPr>
            <p:cNvSpPr/>
            <p:nvPr/>
          </p:nvSpPr>
          <p:spPr bwMode="auto">
            <a:xfrm>
              <a:off x="2051352" y="5186443"/>
              <a:ext cx="1277257" cy="369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353535"/>
                  </a:solidFill>
                  <a:effectLst/>
                  <a:uLnTx/>
                  <a:uFillTx/>
                  <a:latin typeface="Segoe UI Semibold" panose="020B0702040204020203" pitchFamily="34" charset="0"/>
                  <a:ea typeface="Segoe UI" pitchFamily="34" charset="0"/>
                  <a:cs typeface="Segoe UI Semibold" panose="020B0702040204020203" pitchFamily="34" charset="0"/>
                </a:rPr>
                <a:t>Pro</a:t>
              </a:r>
            </a:p>
          </p:txBody>
        </p:sp>
        <p:sp>
          <p:nvSpPr>
            <p:cNvPr id="22" name="Rectangle 21">
              <a:extLst>
                <a:ext uri="{FF2B5EF4-FFF2-40B4-BE49-F238E27FC236}">
                  <a16:creationId xmlns:a16="http://schemas.microsoft.com/office/drawing/2014/main" id="{27531C0F-7A01-47B6-B4A6-5732312B00A2}"/>
                </a:ext>
              </a:extLst>
            </p:cNvPr>
            <p:cNvSpPr/>
            <p:nvPr/>
          </p:nvSpPr>
          <p:spPr bwMode="auto">
            <a:xfrm>
              <a:off x="3587340" y="4728436"/>
              <a:ext cx="1277257" cy="369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353535"/>
                  </a:solidFill>
                  <a:effectLst/>
                  <a:uLnTx/>
                  <a:uFillTx/>
                  <a:latin typeface="Segoe UI Semibold" panose="020B0702040204020203" pitchFamily="34" charset="0"/>
                  <a:ea typeface="Segoe UI" pitchFamily="34" charset="0"/>
                  <a:cs typeface="Segoe UI Semibold" panose="020B0702040204020203" pitchFamily="34" charset="0"/>
                </a:rPr>
                <a:t>Book</a:t>
              </a:r>
            </a:p>
          </p:txBody>
        </p:sp>
        <p:sp>
          <p:nvSpPr>
            <p:cNvPr id="23" name="Rectangle 22">
              <a:extLst>
                <a:ext uri="{FF2B5EF4-FFF2-40B4-BE49-F238E27FC236}">
                  <a16:creationId xmlns:a16="http://schemas.microsoft.com/office/drawing/2014/main" id="{7172C6F8-C738-401A-8EE9-FC6CDEDB8991}"/>
                </a:ext>
              </a:extLst>
            </p:cNvPr>
            <p:cNvSpPr/>
            <p:nvPr/>
          </p:nvSpPr>
          <p:spPr bwMode="auto">
            <a:xfrm>
              <a:off x="6542477" y="3543359"/>
              <a:ext cx="1277257" cy="369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353535"/>
                  </a:solidFill>
                  <a:effectLst/>
                  <a:uLnTx/>
                  <a:uFillTx/>
                  <a:latin typeface="Segoe UI Semibold" panose="020B0702040204020203" pitchFamily="34" charset="0"/>
                  <a:ea typeface="Segoe UI" pitchFamily="34" charset="0"/>
                  <a:cs typeface="Segoe UI Semibold" panose="020B0702040204020203" pitchFamily="34" charset="0"/>
                </a:rPr>
                <a:t>Studio</a:t>
              </a:r>
            </a:p>
          </p:txBody>
        </p:sp>
        <p:sp>
          <p:nvSpPr>
            <p:cNvPr id="24" name="Rectangle 23">
              <a:extLst>
                <a:ext uri="{FF2B5EF4-FFF2-40B4-BE49-F238E27FC236}">
                  <a16:creationId xmlns:a16="http://schemas.microsoft.com/office/drawing/2014/main" id="{699D39F9-574E-4078-9039-DD30ED3C42DC}"/>
                </a:ext>
              </a:extLst>
            </p:cNvPr>
            <p:cNvSpPr/>
            <p:nvPr/>
          </p:nvSpPr>
          <p:spPr bwMode="auto">
            <a:xfrm>
              <a:off x="8446554" y="4933478"/>
              <a:ext cx="1277257" cy="369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353535"/>
                  </a:solidFill>
                  <a:effectLst/>
                  <a:uLnTx/>
                  <a:uFillTx/>
                  <a:latin typeface="Segoe UI Semibold" panose="020B0702040204020203" pitchFamily="34" charset="0"/>
                  <a:ea typeface="Segoe UI" pitchFamily="34" charset="0"/>
                  <a:cs typeface="Segoe UI Semibold" panose="020B0702040204020203" pitchFamily="34" charset="0"/>
                </a:rPr>
                <a:t>Laptop</a:t>
              </a:r>
            </a:p>
          </p:txBody>
        </p:sp>
        <p:sp>
          <p:nvSpPr>
            <p:cNvPr id="25" name="Rectangle 24">
              <a:extLst>
                <a:ext uri="{FF2B5EF4-FFF2-40B4-BE49-F238E27FC236}">
                  <a16:creationId xmlns:a16="http://schemas.microsoft.com/office/drawing/2014/main" id="{257A9F44-7044-4105-8689-7C6A65161B94}"/>
                </a:ext>
              </a:extLst>
            </p:cNvPr>
            <p:cNvSpPr/>
            <p:nvPr/>
          </p:nvSpPr>
          <p:spPr bwMode="auto">
            <a:xfrm>
              <a:off x="9903201" y="5418641"/>
              <a:ext cx="1277257" cy="369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353535"/>
                  </a:solidFill>
                  <a:effectLst/>
                  <a:uLnTx/>
                  <a:uFillTx/>
                  <a:latin typeface="Segoe UI Semibold" panose="020B0702040204020203" pitchFamily="34" charset="0"/>
                  <a:ea typeface="Segoe UI" pitchFamily="34" charset="0"/>
                  <a:cs typeface="Segoe UI Semibold" panose="020B0702040204020203" pitchFamily="34" charset="0"/>
                </a:rPr>
                <a:t>Go</a:t>
              </a:r>
            </a:p>
          </p:txBody>
        </p:sp>
        <p:sp>
          <p:nvSpPr>
            <p:cNvPr id="26" name="Rectangle 25">
              <a:extLst>
                <a:ext uri="{FF2B5EF4-FFF2-40B4-BE49-F238E27FC236}">
                  <a16:creationId xmlns:a16="http://schemas.microsoft.com/office/drawing/2014/main" id="{D2326D51-E4EF-4A52-9771-C272870CBAEF}"/>
                </a:ext>
              </a:extLst>
            </p:cNvPr>
            <p:cNvSpPr/>
            <p:nvPr/>
          </p:nvSpPr>
          <p:spPr bwMode="auto">
            <a:xfrm>
              <a:off x="10248543" y="1679842"/>
              <a:ext cx="1277257" cy="369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353535"/>
                  </a:solidFill>
                  <a:effectLst/>
                  <a:uLnTx/>
                  <a:uFillTx/>
                  <a:latin typeface="Segoe UI Semibold" panose="020B0702040204020203" pitchFamily="34" charset="0"/>
                  <a:ea typeface="Segoe UI" pitchFamily="34" charset="0"/>
                  <a:cs typeface="Segoe UI Semibold" panose="020B0702040204020203" pitchFamily="34" charset="0"/>
                </a:rPr>
                <a:t>Hub</a:t>
              </a:r>
            </a:p>
          </p:txBody>
        </p:sp>
      </p:grpSp>
    </p:spTree>
    <p:extLst>
      <p:ext uri="{BB962C8B-B14F-4D97-AF65-F5344CB8AC3E}">
        <p14:creationId xmlns:p14="http://schemas.microsoft.com/office/powerpoint/2010/main" val="93242102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BCD799E-B77E-481E-9523-21AF38841A91}"/>
              </a:ext>
            </a:extLst>
          </p:cNvPr>
          <p:cNvSpPr txBox="1">
            <a:spLocks noGrp="1"/>
          </p:cNvSpPr>
          <p:nvPr>
            <p:ph type="title" idx="4294967295"/>
          </p:nvPr>
        </p:nvSpPr>
        <p:spPr>
          <a:xfrm>
            <a:off x="457200" y="503238"/>
            <a:ext cx="11520488" cy="73013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90000"/>
              </a:lnSpc>
              <a:spcBef>
                <a:spcPct val="0"/>
              </a:spcBef>
              <a:buNone/>
              <a:defRPr lang="en-US" sz="4000" b="0" kern="1200" cap="none" spc="-102" baseline="0" dirty="0" smtClean="0">
                <a:ln w="3175">
                  <a:noFill/>
                </a:ln>
                <a:solidFill>
                  <a:schemeClr val="accent2"/>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a:ln w="3175">
                  <a:noFill/>
                </a:ln>
                <a:solidFill>
                  <a:schemeClr val="tx2"/>
                </a:solidFill>
                <a:effectLst/>
                <a:uLnTx/>
                <a:uFillTx/>
                <a:latin typeface="Segoe UI Semibold" panose="020B0702040204020203" pitchFamily="34" charset="0"/>
                <a:ea typeface="+mn-ea"/>
                <a:cs typeface="Segoe UI Semibold" panose="020B0702040204020203" pitchFamily="34" charset="0"/>
              </a:rPr>
              <a:t>Affordable and safe devices with free training</a:t>
            </a:r>
            <a:endParaRPr kumimoji="0" lang="en-US" sz="4000" b="0" i="0" u="none" strike="noStrike" kern="1200" cap="none" spc="-102" normalizeH="0" baseline="0" noProof="0">
              <a:ln w="3175">
                <a:noFill/>
              </a:ln>
              <a:solidFill>
                <a:schemeClr val="accent2"/>
              </a:solidFill>
              <a:effectLst/>
              <a:uLnTx/>
              <a:uFillTx/>
              <a:latin typeface="+mj-lt"/>
              <a:ea typeface="+mn-ea"/>
              <a:cs typeface="Segoe UI" pitchFamily="34" charset="0"/>
            </a:endParaRPr>
          </a:p>
        </p:txBody>
      </p:sp>
      <p:sp>
        <p:nvSpPr>
          <p:cNvPr id="3" name="TextBox 2">
            <a:extLst>
              <a:ext uri="{FF2B5EF4-FFF2-40B4-BE49-F238E27FC236}">
                <a16:creationId xmlns:a16="http://schemas.microsoft.com/office/drawing/2014/main" id="{35F9BDBE-056A-4DE7-A33E-9FCC76C40783}"/>
              </a:ext>
            </a:extLst>
          </p:cNvPr>
          <p:cNvSpPr txBox="1"/>
          <p:nvPr/>
        </p:nvSpPr>
        <p:spPr>
          <a:xfrm>
            <a:off x="354993" y="1092176"/>
            <a:ext cx="10707275" cy="1292662"/>
          </a:xfrm>
          <a:prstGeom prst="rect">
            <a:avLst/>
          </a:prstGeom>
          <a:noFill/>
        </p:spPr>
        <p:txBody>
          <a:bodyPr wrap="square" lIns="182880" tIns="146304" rIns="182880" bIns="146304" rtlCol="0">
            <a:spAutoFit/>
          </a:bodyPr>
          <a:lstStyle/>
          <a:p>
            <a:pPr>
              <a:lnSpc>
                <a:spcPct val="90000"/>
              </a:lnSpc>
              <a:spcAft>
                <a:spcPts val="600"/>
              </a:spcAft>
            </a:pPr>
            <a:r>
              <a:rPr lang="en-US" sz="2400"/>
              <a:t>Starting at just $219, Windows 10 devices are the safest and best devices for remote and hybrid learning and come with free professional development with purchase of 15-300 eligible Windows 10 devices for your school.</a:t>
            </a:r>
            <a:r>
              <a:rPr lang="en-US" sz="2400" baseline="30000"/>
              <a:t>1</a:t>
            </a:r>
            <a:endParaRPr lang="en-US" sz="2400">
              <a:gradFill>
                <a:gsLst>
                  <a:gs pos="2917">
                    <a:schemeClr val="tx1"/>
                  </a:gs>
                  <a:gs pos="30000">
                    <a:schemeClr val="tx1"/>
                  </a:gs>
                </a:gsLst>
                <a:lin ang="5400000" scaled="0"/>
              </a:gradFill>
            </a:endParaRPr>
          </a:p>
        </p:txBody>
      </p:sp>
      <p:sp>
        <p:nvSpPr>
          <p:cNvPr id="2" name="TextBox 1">
            <a:extLst>
              <a:ext uri="{FF2B5EF4-FFF2-40B4-BE49-F238E27FC236}">
                <a16:creationId xmlns:a16="http://schemas.microsoft.com/office/drawing/2014/main" id="{50AFC5EA-8597-4060-BBC9-ACAA2C825B79}"/>
              </a:ext>
            </a:extLst>
          </p:cNvPr>
          <p:cNvSpPr txBox="1"/>
          <p:nvPr/>
        </p:nvSpPr>
        <p:spPr>
          <a:xfrm>
            <a:off x="128306" y="4295251"/>
            <a:ext cx="4244454" cy="544765"/>
          </a:xfrm>
          <a:prstGeom prst="rect">
            <a:avLst/>
          </a:prstGeom>
          <a:noFill/>
        </p:spPr>
        <p:txBody>
          <a:bodyPr wrap="square" lIns="182880" tIns="146304" rIns="182880" bIns="146304" rtlCol="0">
            <a:spAutoFit/>
          </a:bodyPr>
          <a:lstStyle/>
          <a:p>
            <a:pPr algn="ctr">
              <a:lnSpc>
                <a:spcPct val="90000"/>
              </a:lnSpc>
              <a:spcAft>
                <a:spcPts val="600"/>
              </a:spcAft>
            </a:pPr>
            <a:r>
              <a:rPr lang="en-US" kern="0">
                <a:solidFill>
                  <a:schemeClr val="tx2"/>
                </a:solidFill>
                <a:latin typeface="Segoe UI Semibold" panose="020B0702040204020203" pitchFamily="34" charset="0"/>
                <a:cs typeface="Segoe UI Semibold" panose="020B0702040204020203" pitchFamily="34" charset="0"/>
              </a:rPr>
              <a:t>Affordable devices</a:t>
            </a:r>
          </a:p>
        </p:txBody>
      </p:sp>
      <p:sp>
        <p:nvSpPr>
          <p:cNvPr id="22" name="Rectangle 21">
            <a:extLst>
              <a:ext uri="{FF2B5EF4-FFF2-40B4-BE49-F238E27FC236}">
                <a16:creationId xmlns:a16="http://schemas.microsoft.com/office/drawing/2014/main" id="{DA34C3DE-B60E-4447-AEBE-119B80A3CFFB}"/>
              </a:ext>
            </a:extLst>
          </p:cNvPr>
          <p:cNvSpPr/>
          <p:nvPr/>
        </p:nvSpPr>
        <p:spPr>
          <a:xfrm>
            <a:off x="457201" y="4879717"/>
            <a:ext cx="3586665" cy="1246495"/>
          </a:xfrm>
          <a:prstGeom prst="rect">
            <a:avLst/>
          </a:prstGeom>
        </p:spPr>
        <p:txBody>
          <a:bodyPr wrap="square" lIns="0" tIns="0" rIns="0" bIns="0">
            <a:spAutoFit/>
          </a:bodyPr>
          <a:lstStyle/>
          <a:p>
            <a:pPr algn="ctr">
              <a:lnSpc>
                <a:spcPct val="90000"/>
              </a:lnSpc>
              <a:spcAft>
                <a:spcPts val="600"/>
              </a:spcAft>
            </a:pPr>
            <a:r>
              <a:rPr lang="en-US"/>
              <a:t>Help to enable access for all students with affordable Windows 10 devices, built for both the classroom and remote learning, starting at $219</a:t>
            </a:r>
            <a:endParaRPr lang="en-US">
              <a:gradFill>
                <a:gsLst>
                  <a:gs pos="2917">
                    <a:schemeClr val="tx1"/>
                  </a:gs>
                  <a:gs pos="30000">
                    <a:schemeClr val="tx1"/>
                  </a:gs>
                </a:gsLst>
                <a:lin ang="5400000" scaled="0"/>
              </a:gradFill>
            </a:endParaRPr>
          </a:p>
        </p:txBody>
      </p:sp>
      <p:sp>
        <p:nvSpPr>
          <p:cNvPr id="8" name="TextBox 7">
            <a:extLst>
              <a:ext uri="{FF2B5EF4-FFF2-40B4-BE49-F238E27FC236}">
                <a16:creationId xmlns:a16="http://schemas.microsoft.com/office/drawing/2014/main" id="{2D8FC289-32EA-463B-AE03-E44FD659F823}"/>
              </a:ext>
            </a:extLst>
          </p:cNvPr>
          <p:cNvSpPr txBox="1"/>
          <p:nvPr/>
        </p:nvSpPr>
        <p:spPr>
          <a:xfrm>
            <a:off x="4158136" y="4295251"/>
            <a:ext cx="4114078" cy="544765"/>
          </a:xfrm>
          <a:prstGeom prst="rect">
            <a:avLst/>
          </a:prstGeom>
          <a:noFill/>
        </p:spPr>
        <p:txBody>
          <a:bodyPr wrap="square" lIns="182880" tIns="146304" rIns="182880" bIns="146304" rtlCol="0">
            <a:spAutoFit/>
          </a:bodyPr>
          <a:lstStyle/>
          <a:p>
            <a:pPr algn="ctr">
              <a:lnSpc>
                <a:spcPct val="90000"/>
              </a:lnSpc>
              <a:spcAft>
                <a:spcPts val="600"/>
              </a:spcAft>
            </a:pPr>
            <a:r>
              <a:rPr lang="en-US" kern="0">
                <a:solidFill>
                  <a:schemeClr val="tx2"/>
                </a:solidFill>
                <a:latin typeface="Segoe UI Semibold" panose="020B0702040204020203" pitchFamily="34" charset="0"/>
                <a:cs typeface="Segoe UI Semibold" panose="020B0702040204020203" pitchFamily="34" charset="0"/>
              </a:rPr>
              <a:t>Free professional development</a:t>
            </a:r>
          </a:p>
        </p:txBody>
      </p:sp>
      <p:sp>
        <p:nvSpPr>
          <p:cNvPr id="23" name="Rectangle 22">
            <a:extLst>
              <a:ext uri="{FF2B5EF4-FFF2-40B4-BE49-F238E27FC236}">
                <a16:creationId xmlns:a16="http://schemas.microsoft.com/office/drawing/2014/main" id="{D0DDCA1F-B55B-4E34-9109-F71D2B7834B3}"/>
              </a:ext>
            </a:extLst>
          </p:cNvPr>
          <p:cNvSpPr/>
          <p:nvPr/>
        </p:nvSpPr>
        <p:spPr>
          <a:xfrm>
            <a:off x="4424113" y="4879717"/>
            <a:ext cx="3586665" cy="997196"/>
          </a:xfrm>
          <a:prstGeom prst="rect">
            <a:avLst/>
          </a:prstGeom>
        </p:spPr>
        <p:txBody>
          <a:bodyPr wrap="square" lIns="0" tIns="0" rIns="0" bIns="0">
            <a:spAutoFit/>
          </a:bodyPr>
          <a:lstStyle/>
          <a:p>
            <a:pPr algn="ctr">
              <a:lnSpc>
                <a:spcPct val="90000"/>
              </a:lnSpc>
              <a:spcAft>
                <a:spcPts val="600"/>
              </a:spcAft>
            </a:pPr>
            <a:r>
              <a:rPr lang="en-US"/>
              <a:t>Build confidence in remote teaching and learning with free training, tools, live workshops, and professional development.</a:t>
            </a:r>
            <a:endParaRPr lang="en-US">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4A756247-684A-4941-8A5C-F18DECA9D277}"/>
              </a:ext>
            </a:extLst>
          </p:cNvPr>
          <p:cNvSpPr txBox="1"/>
          <p:nvPr/>
        </p:nvSpPr>
        <p:spPr>
          <a:xfrm>
            <a:off x="8062130" y="4295251"/>
            <a:ext cx="4244454" cy="544765"/>
          </a:xfrm>
          <a:prstGeom prst="rect">
            <a:avLst/>
          </a:prstGeom>
          <a:noFill/>
        </p:spPr>
        <p:txBody>
          <a:bodyPr wrap="square" lIns="182880" tIns="146304" rIns="182880" bIns="146304" rtlCol="0">
            <a:spAutoFit/>
          </a:bodyPr>
          <a:lstStyle/>
          <a:p>
            <a:pPr algn="ctr">
              <a:lnSpc>
                <a:spcPct val="90000"/>
              </a:lnSpc>
              <a:spcAft>
                <a:spcPts val="600"/>
              </a:spcAft>
            </a:pPr>
            <a:r>
              <a:rPr lang="en-US" kern="0">
                <a:solidFill>
                  <a:schemeClr val="tx2"/>
                </a:solidFill>
                <a:latin typeface="Segoe UI Semibold" panose="020B0702040204020203" pitchFamily="34" charset="0"/>
                <a:cs typeface="Segoe UI Semibold" panose="020B0702040204020203" pitchFamily="34" charset="0"/>
              </a:rPr>
              <a:t>Special licensing pricing</a:t>
            </a:r>
          </a:p>
        </p:txBody>
      </p:sp>
      <p:sp>
        <p:nvSpPr>
          <p:cNvPr id="24" name="Rectangle 23">
            <a:extLst>
              <a:ext uri="{FF2B5EF4-FFF2-40B4-BE49-F238E27FC236}">
                <a16:creationId xmlns:a16="http://schemas.microsoft.com/office/drawing/2014/main" id="{EFA42980-2E0A-4F5C-A191-8F00F20BB698}"/>
              </a:ext>
            </a:extLst>
          </p:cNvPr>
          <p:cNvSpPr/>
          <p:nvPr/>
        </p:nvSpPr>
        <p:spPr>
          <a:xfrm>
            <a:off x="8391023" y="4879717"/>
            <a:ext cx="3586665" cy="1246495"/>
          </a:xfrm>
          <a:prstGeom prst="rect">
            <a:avLst/>
          </a:prstGeom>
        </p:spPr>
        <p:txBody>
          <a:bodyPr wrap="square" lIns="0" tIns="0" rIns="0" bIns="0">
            <a:spAutoFit/>
          </a:bodyPr>
          <a:lstStyle/>
          <a:p>
            <a:pPr algn="ctr">
              <a:lnSpc>
                <a:spcPct val="90000"/>
              </a:lnSpc>
              <a:spcAft>
                <a:spcPts val="600"/>
              </a:spcAft>
            </a:pPr>
            <a:r>
              <a:rPr lang="en-US"/>
              <a:t>Get special education pricing when you purchase more than 1,000 devices with the Shape the Future Program</a:t>
            </a:r>
            <a:r>
              <a:rPr lang="en-US" baseline="30000"/>
              <a:t>2</a:t>
            </a:r>
            <a:r>
              <a:rPr lang="en-US"/>
              <a:t> and with the Surface pricing licensing offer</a:t>
            </a:r>
            <a:r>
              <a:rPr lang="en-US" baseline="30000"/>
              <a:t>3</a:t>
            </a:r>
            <a:r>
              <a:rPr lang="en-US"/>
              <a:t>.</a:t>
            </a:r>
            <a:endParaRPr lang="en-US">
              <a:gradFill>
                <a:gsLst>
                  <a:gs pos="2917">
                    <a:schemeClr val="tx1"/>
                  </a:gs>
                  <a:gs pos="30000">
                    <a:schemeClr val="tx1"/>
                  </a:gs>
                </a:gsLst>
                <a:lin ang="5400000" scaled="0"/>
              </a:gradFill>
            </a:endParaRPr>
          </a:p>
        </p:txBody>
      </p:sp>
      <p:sp>
        <p:nvSpPr>
          <p:cNvPr id="25" name="Oval 24">
            <a:extLst>
              <a:ext uri="{FF2B5EF4-FFF2-40B4-BE49-F238E27FC236}">
                <a16:creationId xmlns:a16="http://schemas.microsoft.com/office/drawing/2014/main" id="{ADC4E845-DDBC-4F6F-AE25-D22C2C183AC6}"/>
              </a:ext>
              <a:ext uri="{C183D7F6-B498-43B3-948B-1728B52AA6E4}">
                <adec:decorative xmlns:adec="http://schemas.microsoft.com/office/drawing/2017/decorative" val="1"/>
              </a:ext>
            </a:extLst>
          </p:cNvPr>
          <p:cNvSpPr/>
          <p:nvPr/>
        </p:nvSpPr>
        <p:spPr bwMode="auto">
          <a:xfrm>
            <a:off x="1517399" y="2559410"/>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sp>
        <p:nvSpPr>
          <p:cNvPr id="26" name="Oval 25">
            <a:extLst>
              <a:ext uri="{FF2B5EF4-FFF2-40B4-BE49-F238E27FC236}">
                <a16:creationId xmlns:a16="http://schemas.microsoft.com/office/drawing/2014/main" id="{05D5CC45-B27E-4B49-B80F-2C33526B9CB0}"/>
              </a:ext>
              <a:ext uri="{C183D7F6-B498-43B3-948B-1728B52AA6E4}">
                <adec:decorative xmlns:adec="http://schemas.microsoft.com/office/drawing/2017/decorative" val="1"/>
              </a:ext>
            </a:extLst>
          </p:cNvPr>
          <p:cNvSpPr/>
          <p:nvPr/>
        </p:nvSpPr>
        <p:spPr bwMode="auto">
          <a:xfrm>
            <a:off x="9451221" y="2559410"/>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sp>
        <p:nvSpPr>
          <p:cNvPr id="27" name="Oval 26">
            <a:extLst>
              <a:ext uri="{FF2B5EF4-FFF2-40B4-BE49-F238E27FC236}">
                <a16:creationId xmlns:a16="http://schemas.microsoft.com/office/drawing/2014/main" id="{898BED0B-D913-4836-91E2-E1C4FCCB9EE6}"/>
              </a:ext>
              <a:ext uri="{C183D7F6-B498-43B3-948B-1728B52AA6E4}">
                <adec:decorative xmlns:adec="http://schemas.microsoft.com/office/drawing/2017/decorative" val="1"/>
              </a:ext>
            </a:extLst>
          </p:cNvPr>
          <p:cNvSpPr/>
          <p:nvPr/>
        </p:nvSpPr>
        <p:spPr bwMode="auto">
          <a:xfrm>
            <a:off x="5484311" y="2559410"/>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nvGrpSpPr>
          <p:cNvPr id="28" name="Group 27">
            <a:extLst>
              <a:ext uri="{FF2B5EF4-FFF2-40B4-BE49-F238E27FC236}">
                <a16:creationId xmlns:a16="http://schemas.microsoft.com/office/drawing/2014/main" id="{B22432D5-4CA0-4BD4-A84A-E348880028AA}"/>
              </a:ext>
              <a:ext uri="{C183D7F6-B498-43B3-948B-1728B52AA6E4}">
                <adec:decorative xmlns:adec="http://schemas.microsoft.com/office/drawing/2017/decorative" val="1"/>
              </a:ext>
            </a:extLst>
          </p:cNvPr>
          <p:cNvGrpSpPr/>
          <p:nvPr/>
        </p:nvGrpSpPr>
        <p:grpSpPr>
          <a:xfrm>
            <a:off x="4233990" y="4879717"/>
            <a:ext cx="3966911" cy="894693"/>
            <a:chOff x="4233989" y="4234258"/>
            <a:chExt cx="3966911" cy="1170862"/>
          </a:xfrm>
        </p:grpSpPr>
        <p:cxnSp>
          <p:nvCxnSpPr>
            <p:cNvPr id="29" name="Straight Connector 28">
              <a:extLst>
                <a:ext uri="{FF2B5EF4-FFF2-40B4-BE49-F238E27FC236}">
                  <a16:creationId xmlns:a16="http://schemas.microsoft.com/office/drawing/2014/main" id="{0961EEAB-3B44-412D-B467-0CD5DD1BE42C}"/>
                </a:ext>
              </a:extLst>
            </p:cNvPr>
            <p:cNvCxnSpPr>
              <a:cxnSpLocks/>
            </p:cNvCxnSpPr>
            <p:nvPr/>
          </p:nvCxnSpPr>
          <p:spPr>
            <a:xfrm>
              <a:off x="4233989" y="4234258"/>
              <a:ext cx="0" cy="1170862"/>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AA170345-B89B-4947-974E-B751ACC0D1AB}"/>
                </a:ext>
              </a:extLst>
            </p:cNvPr>
            <p:cNvCxnSpPr>
              <a:cxnSpLocks/>
            </p:cNvCxnSpPr>
            <p:nvPr/>
          </p:nvCxnSpPr>
          <p:spPr>
            <a:xfrm>
              <a:off x="8200900" y="4234258"/>
              <a:ext cx="0" cy="1170862"/>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31" name="UniversalApp_E8CC">
            <a:extLst>
              <a:ext uri="{FF2B5EF4-FFF2-40B4-BE49-F238E27FC236}">
                <a16:creationId xmlns:a16="http://schemas.microsoft.com/office/drawing/2014/main" id="{23685F9D-D024-4619-824F-08E308228AF1}"/>
              </a:ext>
              <a:ext uri="{C183D7F6-B498-43B3-948B-1728B52AA6E4}">
                <adec:decorative xmlns:adec="http://schemas.microsoft.com/office/drawing/2017/decorative" val="1"/>
              </a:ext>
            </a:extLst>
          </p:cNvPr>
          <p:cNvSpPr>
            <a:spLocks noChangeAspect="1" noEditPoints="1"/>
          </p:cNvSpPr>
          <p:nvPr/>
        </p:nvSpPr>
        <p:spPr bwMode="auto">
          <a:xfrm>
            <a:off x="1818824" y="2975747"/>
            <a:ext cx="863418" cy="633590"/>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nvGrpSpPr>
          <p:cNvPr id="32" name="Group 31">
            <a:extLst>
              <a:ext uri="{FF2B5EF4-FFF2-40B4-BE49-F238E27FC236}">
                <a16:creationId xmlns:a16="http://schemas.microsoft.com/office/drawing/2014/main" id="{C06172EA-5A91-43C0-9EA6-80D5EEC80620}"/>
              </a:ext>
              <a:ext uri="{C183D7F6-B498-43B3-948B-1728B52AA6E4}">
                <adec:decorative xmlns:adec="http://schemas.microsoft.com/office/drawing/2017/decorative" val="1"/>
              </a:ext>
            </a:extLst>
          </p:cNvPr>
          <p:cNvGrpSpPr/>
          <p:nvPr/>
        </p:nvGrpSpPr>
        <p:grpSpPr>
          <a:xfrm>
            <a:off x="5779635" y="2975747"/>
            <a:ext cx="875620" cy="671068"/>
            <a:chOff x="5836854" y="2985881"/>
            <a:chExt cx="752704" cy="576866"/>
          </a:xfrm>
        </p:grpSpPr>
        <p:grpSp>
          <p:nvGrpSpPr>
            <p:cNvPr id="33" name="Group 32">
              <a:extLst>
                <a:ext uri="{FF2B5EF4-FFF2-40B4-BE49-F238E27FC236}">
                  <a16:creationId xmlns:a16="http://schemas.microsoft.com/office/drawing/2014/main" id="{2B1718E9-8AB6-4860-8D1A-A6342048EC69}"/>
                </a:ext>
              </a:extLst>
            </p:cNvPr>
            <p:cNvGrpSpPr/>
            <p:nvPr/>
          </p:nvGrpSpPr>
          <p:grpSpPr>
            <a:xfrm>
              <a:off x="6021643" y="3046324"/>
              <a:ext cx="383126" cy="338014"/>
              <a:chOff x="8200900" y="2784024"/>
              <a:chExt cx="580420" cy="512077"/>
            </a:xfrm>
          </p:grpSpPr>
          <p:grpSp>
            <p:nvGrpSpPr>
              <p:cNvPr id="35" name="Graphic 63">
                <a:extLst>
                  <a:ext uri="{FF2B5EF4-FFF2-40B4-BE49-F238E27FC236}">
                    <a16:creationId xmlns:a16="http://schemas.microsoft.com/office/drawing/2014/main" id="{05C5318B-0AA8-41C1-AF00-E6BA2FE8F286}"/>
                  </a:ext>
                </a:extLst>
              </p:cNvPr>
              <p:cNvGrpSpPr/>
              <p:nvPr/>
            </p:nvGrpSpPr>
            <p:grpSpPr>
              <a:xfrm>
                <a:off x="8234192" y="2917874"/>
                <a:ext cx="164270" cy="177411"/>
                <a:chOff x="832392" y="1752609"/>
                <a:chExt cx="290032" cy="313234"/>
              </a:xfrm>
              <a:noFill/>
            </p:grpSpPr>
            <p:sp>
              <p:nvSpPr>
                <p:cNvPr id="47" name="Freeform: Shape 46">
                  <a:extLst>
                    <a:ext uri="{FF2B5EF4-FFF2-40B4-BE49-F238E27FC236}">
                      <a16:creationId xmlns:a16="http://schemas.microsoft.com/office/drawing/2014/main" id="{9BDD139E-0F0A-4795-BBD0-0F7B46102342}"/>
                    </a:ext>
                  </a:extLst>
                </p:cNvPr>
                <p:cNvSpPr/>
                <p:nvPr/>
              </p:nvSpPr>
              <p:spPr>
                <a:xfrm>
                  <a:off x="894265" y="1752609"/>
                  <a:ext cx="174019" cy="174020"/>
                </a:xfrm>
                <a:custGeom>
                  <a:avLst/>
                  <a:gdLst>
                    <a:gd name="connsiteX0" fmla="*/ 87976 w 174019"/>
                    <a:gd name="connsiteY0" fmla="*/ 0 h 174019"/>
                    <a:gd name="connsiteX1" fmla="*/ 0 w 174019"/>
                    <a:gd name="connsiteY1" fmla="*/ 88943 h 174019"/>
                    <a:gd name="connsiteX2" fmla="*/ 87976 w 174019"/>
                    <a:gd name="connsiteY2" fmla="*/ 177886 h 174019"/>
                    <a:gd name="connsiteX3" fmla="*/ 177500 w 174019"/>
                    <a:gd name="connsiteY3" fmla="*/ 88943 h 174019"/>
                    <a:gd name="connsiteX4" fmla="*/ 87976 w 174019"/>
                    <a:gd name="connsiteY4" fmla="*/ 0 h 174019"/>
                    <a:gd name="connsiteX5" fmla="*/ 87976 w 174019"/>
                    <a:gd name="connsiteY5" fmla="*/ 0 h 174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019" h="174019">
                      <a:moveTo>
                        <a:pt x="87976" y="0"/>
                      </a:moveTo>
                      <a:cubicBezTo>
                        <a:pt x="39058" y="0"/>
                        <a:pt x="0" y="40411"/>
                        <a:pt x="0" y="88943"/>
                      </a:cubicBezTo>
                      <a:cubicBezTo>
                        <a:pt x="0" y="137475"/>
                        <a:pt x="39058" y="177886"/>
                        <a:pt x="87976" y="177886"/>
                      </a:cubicBezTo>
                      <a:cubicBezTo>
                        <a:pt x="138442" y="177886"/>
                        <a:pt x="177500" y="137475"/>
                        <a:pt x="177500" y="88943"/>
                      </a:cubicBezTo>
                      <a:cubicBezTo>
                        <a:pt x="177500" y="40411"/>
                        <a:pt x="138442" y="0"/>
                        <a:pt x="87976" y="0"/>
                      </a:cubicBezTo>
                      <a:lnTo>
                        <a:pt x="87976" y="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Freeform: Shape 47">
                  <a:extLst>
                    <a:ext uri="{FF2B5EF4-FFF2-40B4-BE49-F238E27FC236}">
                      <a16:creationId xmlns:a16="http://schemas.microsoft.com/office/drawing/2014/main" id="{0E66BD2B-2FC9-4116-8EA5-656C7BBF75A0}"/>
                    </a:ext>
                  </a:extLst>
                </p:cNvPr>
                <p:cNvSpPr/>
                <p:nvPr/>
              </p:nvSpPr>
              <p:spPr>
                <a:xfrm>
                  <a:off x="832392" y="1930495"/>
                  <a:ext cx="290032" cy="135348"/>
                </a:xfrm>
                <a:custGeom>
                  <a:avLst/>
                  <a:gdLst>
                    <a:gd name="connsiteX0" fmla="*/ 301247 w 290031"/>
                    <a:gd name="connsiteY0" fmla="*/ 148883 h 135348"/>
                    <a:gd name="connsiteX1" fmla="*/ 149850 w 290031"/>
                    <a:gd name="connsiteY1" fmla="*/ 0 h 135348"/>
                    <a:gd name="connsiteX2" fmla="*/ 0 w 290031"/>
                    <a:gd name="connsiteY2" fmla="*/ 148883 h 135348"/>
                  </a:gdLst>
                  <a:ahLst/>
                  <a:cxnLst>
                    <a:cxn ang="0">
                      <a:pos x="connsiteX0" y="connsiteY0"/>
                    </a:cxn>
                    <a:cxn ang="0">
                      <a:pos x="connsiteX1" y="connsiteY1"/>
                    </a:cxn>
                    <a:cxn ang="0">
                      <a:pos x="connsiteX2" y="connsiteY2"/>
                    </a:cxn>
                  </a:cxnLst>
                  <a:rect l="l" t="t" r="r" b="b"/>
                  <a:pathLst>
                    <a:path w="290031" h="135348">
                      <a:moveTo>
                        <a:pt x="301247" y="148883"/>
                      </a:moveTo>
                      <a:cubicBezTo>
                        <a:pt x="301247" y="66321"/>
                        <a:pt x="234539" y="0"/>
                        <a:pt x="149850" y="0"/>
                      </a:cubicBezTo>
                      <a:cubicBezTo>
                        <a:pt x="66901" y="0"/>
                        <a:pt x="0" y="66321"/>
                        <a:pt x="0" y="148883"/>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6" name="Graphic 63">
                <a:extLst>
                  <a:ext uri="{FF2B5EF4-FFF2-40B4-BE49-F238E27FC236}">
                    <a16:creationId xmlns:a16="http://schemas.microsoft.com/office/drawing/2014/main" id="{17926A78-34BB-49A1-93FA-AA6A8788C40D}"/>
                  </a:ext>
                </a:extLst>
              </p:cNvPr>
              <p:cNvGrpSpPr/>
              <p:nvPr/>
            </p:nvGrpSpPr>
            <p:grpSpPr>
              <a:xfrm>
                <a:off x="8234192" y="3143337"/>
                <a:ext cx="120465" cy="131416"/>
                <a:chOff x="832392" y="2150682"/>
                <a:chExt cx="212690" cy="232026"/>
              </a:xfrm>
              <a:noFill/>
            </p:grpSpPr>
            <p:sp>
              <p:nvSpPr>
                <p:cNvPr id="45" name="Freeform: Shape 44">
                  <a:extLst>
                    <a:ext uri="{FF2B5EF4-FFF2-40B4-BE49-F238E27FC236}">
                      <a16:creationId xmlns:a16="http://schemas.microsoft.com/office/drawing/2014/main" id="{41D8D730-5969-4E7A-A751-AFA0975806BE}"/>
                    </a:ext>
                  </a:extLst>
                </p:cNvPr>
                <p:cNvSpPr/>
                <p:nvPr/>
              </p:nvSpPr>
              <p:spPr>
                <a:xfrm>
                  <a:off x="879183" y="2150682"/>
                  <a:ext cx="116013" cy="116013"/>
                </a:xfrm>
                <a:custGeom>
                  <a:avLst/>
                  <a:gdLst>
                    <a:gd name="connsiteX0" fmla="*/ 66514 w 116012"/>
                    <a:gd name="connsiteY0" fmla="*/ 0 h 116012"/>
                    <a:gd name="connsiteX1" fmla="*/ 0 w 116012"/>
                    <a:gd name="connsiteY1" fmla="*/ 67287 h 116012"/>
                    <a:gd name="connsiteX2" fmla="*/ 66514 w 116012"/>
                    <a:gd name="connsiteY2" fmla="*/ 134575 h 116012"/>
                    <a:gd name="connsiteX3" fmla="*/ 134188 w 116012"/>
                    <a:gd name="connsiteY3" fmla="*/ 67287 h 116012"/>
                    <a:gd name="connsiteX4" fmla="*/ 66514 w 116012"/>
                    <a:gd name="connsiteY4" fmla="*/ 0 h 116012"/>
                    <a:gd name="connsiteX5" fmla="*/ 66514 w 116012"/>
                    <a:gd name="connsiteY5" fmla="*/ 0 h 11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12" h="116012">
                      <a:moveTo>
                        <a:pt x="66514" y="0"/>
                      </a:moveTo>
                      <a:cubicBezTo>
                        <a:pt x="29583" y="0"/>
                        <a:pt x="0" y="30550"/>
                        <a:pt x="0" y="67287"/>
                      </a:cubicBezTo>
                      <a:cubicBezTo>
                        <a:pt x="0" y="104025"/>
                        <a:pt x="29583" y="134575"/>
                        <a:pt x="66514" y="134575"/>
                      </a:cubicBezTo>
                      <a:cubicBezTo>
                        <a:pt x="104605" y="134575"/>
                        <a:pt x="134188" y="104025"/>
                        <a:pt x="134188" y="67287"/>
                      </a:cubicBezTo>
                      <a:cubicBezTo>
                        <a:pt x="134188" y="30550"/>
                        <a:pt x="104798" y="0"/>
                        <a:pt x="66514" y="0"/>
                      </a:cubicBezTo>
                      <a:lnTo>
                        <a:pt x="66514" y="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Freeform: Shape 45">
                  <a:extLst>
                    <a:ext uri="{FF2B5EF4-FFF2-40B4-BE49-F238E27FC236}">
                      <a16:creationId xmlns:a16="http://schemas.microsoft.com/office/drawing/2014/main" id="{E9275694-B537-47B9-A66C-798191623C72}"/>
                    </a:ext>
                  </a:extLst>
                </p:cNvPr>
                <p:cNvSpPr/>
                <p:nvPr/>
              </p:nvSpPr>
              <p:spPr>
                <a:xfrm>
                  <a:off x="832392" y="2285257"/>
                  <a:ext cx="212690" cy="96677"/>
                </a:xfrm>
                <a:custGeom>
                  <a:avLst/>
                  <a:gdLst>
                    <a:gd name="connsiteX0" fmla="*/ 227772 w 212690"/>
                    <a:gd name="connsiteY0" fmla="*/ 112532 h 96677"/>
                    <a:gd name="connsiteX1" fmla="*/ 113306 w 212690"/>
                    <a:gd name="connsiteY1" fmla="*/ 0 h 96677"/>
                    <a:gd name="connsiteX2" fmla="*/ 0 w 212690"/>
                    <a:gd name="connsiteY2" fmla="*/ 112532 h 96677"/>
                  </a:gdLst>
                  <a:ahLst/>
                  <a:cxnLst>
                    <a:cxn ang="0">
                      <a:pos x="connsiteX0" y="connsiteY0"/>
                    </a:cxn>
                    <a:cxn ang="0">
                      <a:pos x="connsiteX1" y="connsiteY1"/>
                    </a:cxn>
                    <a:cxn ang="0">
                      <a:pos x="connsiteX2" y="connsiteY2"/>
                    </a:cxn>
                  </a:cxnLst>
                  <a:rect l="l" t="t" r="r" b="b"/>
                  <a:pathLst>
                    <a:path w="212690" h="96677">
                      <a:moveTo>
                        <a:pt x="227772" y="112532"/>
                      </a:moveTo>
                      <a:cubicBezTo>
                        <a:pt x="227772" y="50079"/>
                        <a:pt x="177306" y="0"/>
                        <a:pt x="113306" y="0"/>
                      </a:cubicBezTo>
                      <a:cubicBezTo>
                        <a:pt x="50466" y="0"/>
                        <a:pt x="0" y="50079"/>
                        <a:pt x="0" y="112532"/>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7" name="Graphic 63">
                <a:extLst>
                  <a:ext uri="{FF2B5EF4-FFF2-40B4-BE49-F238E27FC236}">
                    <a16:creationId xmlns:a16="http://schemas.microsoft.com/office/drawing/2014/main" id="{0C5653C3-93D4-4209-8BF8-C1B5C760DE06}"/>
                  </a:ext>
                </a:extLst>
              </p:cNvPr>
              <p:cNvGrpSpPr/>
              <p:nvPr/>
            </p:nvGrpSpPr>
            <p:grpSpPr>
              <a:xfrm>
                <a:off x="8428797" y="3143337"/>
                <a:ext cx="120465" cy="131416"/>
                <a:chOff x="1175983" y="2150682"/>
                <a:chExt cx="212690" cy="232026"/>
              </a:xfrm>
              <a:noFill/>
            </p:grpSpPr>
            <p:sp>
              <p:nvSpPr>
                <p:cNvPr id="43" name="Freeform: Shape 42">
                  <a:extLst>
                    <a:ext uri="{FF2B5EF4-FFF2-40B4-BE49-F238E27FC236}">
                      <a16:creationId xmlns:a16="http://schemas.microsoft.com/office/drawing/2014/main" id="{1A2272D5-FA24-4A11-BCE4-C9625A8E437D}"/>
                    </a:ext>
                  </a:extLst>
                </p:cNvPr>
                <p:cNvSpPr/>
                <p:nvPr/>
              </p:nvSpPr>
              <p:spPr>
                <a:xfrm>
                  <a:off x="1222775" y="2150682"/>
                  <a:ext cx="116013" cy="116013"/>
                </a:xfrm>
                <a:custGeom>
                  <a:avLst/>
                  <a:gdLst>
                    <a:gd name="connsiteX0" fmla="*/ 66514 w 116012"/>
                    <a:gd name="connsiteY0" fmla="*/ 0 h 116012"/>
                    <a:gd name="connsiteX1" fmla="*/ 0 w 116012"/>
                    <a:gd name="connsiteY1" fmla="*/ 67287 h 116012"/>
                    <a:gd name="connsiteX2" fmla="*/ 66514 w 116012"/>
                    <a:gd name="connsiteY2" fmla="*/ 134575 h 116012"/>
                    <a:gd name="connsiteX3" fmla="*/ 134188 w 116012"/>
                    <a:gd name="connsiteY3" fmla="*/ 67287 h 116012"/>
                    <a:gd name="connsiteX4" fmla="*/ 66514 w 116012"/>
                    <a:gd name="connsiteY4" fmla="*/ 0 h 116012"/>
                    <a:gd name="connsiteX5" fmla="*/ 66514 w 116012"/>
                    <a:gd name="connsiteY5" fmla="*/ 0 h 11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12" h="116012">
                      <a:moveTo>
                        <a:pt x="66514" y="0"/>
                      </a:moveTo>
                      <a:cubicBezTo>
                        <a:pt x="29583" y="0"/>
                        <a:pt x="0" y="30550"/>
                        <a:pt x="0" y="67287"/>
                      </a:cubicBezTo>
                      <a:cubicBezTo>
                        <a:pt x="0" y="104025"/>
                        <a:pt x="29583" y="134575"/>
                        <a:pt x="66514" y="134575"/>
                      </a:cubicBezTo>
                      <a:cubicBezTo>
                        <a:pt x="104605" y="134575"/>
                        <a:pt x="134188" y="104025"/>
                        <a:pt x="134188" y="67287"/>
                      </a:cubicBezTo>
                      <a:cubicBezTo>
                        <a:pt x="134188" y="30550"/>
                        <a:pt x="104605" y="0"/>
                        <a:pt x="66514" y="0"/>
                      </a:cubicBezTo>
                      <a:lnTo>
                        <a:pt x="66514" y="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Shape 43">
                  <a:extLst>
                    <a:ext uri="{FF2B5EF4-FFF2-40B4-BE49-F238E27FC236}">
                      <a16:creationId xmlns:a16="http://schemas.microsoft.com/office/drawing/2014/main" id="{ABA44D25-3F2E-444D-A2F8-389D213FCC44}"/>
                    </a:ext>
                  </a:extLst>
                </p:cNvPr>
                <p:cNvSpPr/>
                <p:nvPr/>
              </p:nvSpPr>
              <p:spPr>
                <a:xfrm>
                  <a:off x="1175983" y="2285257"/>
                  <a:ext cx="212690" cy="96677"/>
                </a:xfrm>
                <a:custGeom>
                  <a:avLst/>
                  <a:gdLst>
                    <a:gd name="connsiteX0" fmla="*/ 227772 w 212690"/>
                    <a:gd name="connsiteY0" fmla="*/ 112532 h 96677"/>
                    <a:gd name="connsiteX1" fmla="*/ 113306 w 212690"/>
                    <a:gd name="connsiteY1" fmla="*/ 0 h 96677"/>
                    <a:gd name="connsiteX2" fmla="*/ 0 w 212690"/>
                    <a:gd name="connsiteY2" fmla="*/ 112532 h 96677"/>
                  </a:gdLst>
                  <a:ahLst/>
                  <a:cxnLst>
                    <a:cxn ang="0">
                      <a:pos x="connsiteX0" y="connsiteY0"/>
                    </a:cxn>
                    <a:cxn ang="0">
                      <a:pos x="connsiteX1" y="connsiteY1"/>
                    </a:cxn>
                    <a:cxn ang="0">
                      <a:pos x="connsiteX2" y="connsiteY2"/>
                    </a:cxn>
                  </a:cxnLst>
                  <a:rect l="l" t="t" r="r" b="b"/>
                  <a:pathLst>
                    <a:path w="212690" h="96677">
                      <a:moveTo>
                        <a:pt x="227772" y="112532"/>
                      </a:moveTo>
                      <a:cubicBezTo>
                        <a:pt x="227772" y="50079"/>
                        <a:pt x="177306" y="0"/>
                        <a:pt x="113306" y="0"/>
                      </a:cubicBezTo>
                      <a:cubicBezTo>
                        <a:pt x="50466" y="0"/>
                        <a:pt x="0" y="50079"/>
                        <a:pt x="0" y="112532"/>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8" name="Graphic 63">
                <a:extLst>
                  <a:ext uri="{FF2B5EF4-FFF2-40B4-BE49-F238E27FC236}">
                    <a16:creationId xmlns:a16="http://schemas.microsoft.com/office/drawing/2014/main" id="{16468D77-D272-42BC-BFFA-366BF41ED191}"/>
                  </a:ext>
                </a:extLst>
              </p:cNvPr>
              <p:cNvGrpSpPr/>
              <p:nvPr/>
            </p:nvGrpSpPr>
            <p:grpSpPr>
              <a:xfrm>
                <a:off x="8623402" y="3143337"/>
                <a:ext cx="120465" cy="131416"/>
                <a:chOff x="1519574" y="2150682"/>
                <a:chExt cx="212690" cy="232026"/>
              </a:xfrm>
              <a:noFill/>
            </p:grpSpPr>
            <p:sp>
              <p:nvSpPr>
                <p:cNvPr id="41" name="Freeform: Shape 40">
                  <a:extLst>
                    <a:ext uri="{FF2B5EF4-FFF2-40B4-BE49-F238E27FC236}">
                      <a16:creationId xmlns:a16="http://schemas.microsoft.com/office/drawing/2014/main" id="{8EBC7927-2F6D-4D6B-BCF5-F88365C8C645}"/>
                    </a:ext>
                  </a:extLst>
                </p:cNvPr>
                <p:cNvSpPr/>
                <p:nvPr/>
              </p:nvSpPr>
              <p:spPr>
                <a:xfrm>
                  <a:off x="1566366" y="2150682"/>
                  <a:ext cx="116013" cy="116013"/>
                </a:xfrm>
                <a:custGeom>
                  <a:avLst/>
                  <a:gdLst>
                    <a:gd name="connsiteX0" fmla="*/ 66514 w 116012"/>
                    <a:gd name="connsiteY0" fmla="*/ 0 h 116012"/>
                    <a:gd name="connsiteX1" fmla="*/ 0 w 116012"/>
                    <a:gd name="connsiteY1" fmla="*/ 67287 h 116012"/>
                    <a:gd name="connsiteX2" fmla="*/ 66514 w 116012"/>
                    <a:gd name="connsiteY2" fmla="*/ 134575 h 116012"/>
                    <a:gd name="connsiteX3" fmla="*/ 134188 w 116012"/>
                    <a:gd name="connsiteY3" fmla="*/ 67287 h 116012"/>
                    <a:gd name="connsiteX4" fmla="*/ 66514 w 116012"/>
                    <a:gd name="connsiteY4" fmla="*/ 0 h 116012"/>
                    <a:gd name="connsiteX5" fmla="*/ 66514 w 116012"/>
                    <a:gd name="connsiteY5" fmla="*/ 0 h 11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12" h="116012">
                      <a:moveTo>
                        <a:pt x="66514" y="0"/>
                      </a:moveTo>
                      <a:cubicBezTo>
                        <a:pt x="29583" y="0"/>
                        <a:pt x="0" y="30550"/>
                        <a:pt x="0" y="67287"/>
                      </a:cubicBezTo>
                      <a:cubicBezTo>
                        <a:pt x="0" y="104025"/>
                        <a:pt x="29583" y="134575"/>
                        <a:pt x="66514" y="134575"/>
                      </a:cubicBezTo>
                      <a:cubicBezTo>
                        <a:pt x="104605" y="134575"/>
                        <a:pt x="134188" y="104025"/>
                        <a:pt x="134188" y="67287"/>
                      </a:cubicBezTo>
                      <a:cubicBezTo>
                        <a:pt x="134188" y="30550"/>
                        <a:pt x="104605" y="0"/>
                        <a:pt x="66514" y="0"/>
                      </a:cubicBezTo>
                      <a:lnTo>
                        <a:pt x="66514" y="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Freeform: Shape 41">
                  <a:extLst>
                    <a:ext uri="{FF2B5EF4-FFF2-40B4-BE49-F238E27FC236}">
                      <a16:creationId xmlns:a16="http://schemas.microsoft.com/office/drawing/2014/main" id="{55892716-A20C-4D46-B711-6A7952791612}"/>
                    </a:ext>
                  </a:extLst>
                </p:cNvPr>
                <p:cNvSpPr/>
                <p:nvPr/>
              </p:nvSpPr>
              <p:spPr>
                <a:xfrm>
                  <a:off x="1519574" y="2285257"/>
                  <a:ext cx="212690" cy="96677"/>
                </a:xfrm>
                <a:custGeom>
                  <a:avLst/>
                  <a:gdLst>
                    <a:gd name="connsiteX0" fmla="*/ 227772 w 212690"/>
                    <a:gd name="connsiteY0" fmla="*/ 112532 h 96677"/>
                    <a:gd name="connsiteX1" fmla="*/ 113306 w 212690"/>
                    <a:gd name="connsiteY1" fmla="*/ 0 h 96677"/>
                    <a:gd name="connsiteX2" fmla="*/ 0 w 212690"/>
                    <a:gd name="connsiteY2" fmla="*/ 112532 h 96677"/>
                  </a:gdLst>
                  <a:ahLst/>
                  <a:cxnLst>
                    <a:cxn ang="0">
                      <a:pos x="connsiteX0" y="connsiteY0"/>
                    </a:cxn>
                    <a:cxn ang="0">
                      <a:pos x="connsiteX1" y="connsiteY1"/>
                    </a:cxn>
                    <a:cxn ang="0">
                      <a:pos x="connsiteX2" y="connsiteY2"/>
                    </a:cxn>
                  </a:cxnLst>
                  <a:rect l="l" t="t" r="r" b="b"/>
                  <a:pathLst>
                    <a:path w="212690" h="96677">
                      <a:moveTo>
                        <a:pt x="227772" y="112532"/>
                      </a:moveTo>
                      <a:cubicBezTo>
                        <a:pt x="227772" y="50079"/>
                        <a:pt x="177306" y="0"/>
                        <a:pt x="113306" y="0"/>
                      </a:cubicBezTo>
                      <a:cubicBezTo>
                        <a:pt x="50466" y="0"/>
                        <a:pt x="0" y="50079"/>
                        <a:pt x="0" y="112532"/>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9" name="Freeform: Shape 38">
                <a:extLst>
                  <a:ext uri="{FF2B5EF4-FFF2-40B4-BE49-F238E27FC236}">
                    <a16:creationId xmlns:a16="http://schemas.microsoft.com/office/drawing/2014/main" id="{0673EC63-8F32-4C98-8BB9-01A66BC57948}"/>
                  </a:ext>
                </a:extLst>
              </p:cNvPr>
              <p:cNvSpPr/>
              <p:nvPr/>
            </p:nvSpPr>
            <p:spPr>
              <a:xfrm>
                <a:off x="8308551" y="2784024"/>
                <a:ext cx="470907" cy="295686"/>
              </a:xfrm>
              <a:custGeom>
                <a:avLst/>
                <a:gdLst>
                  <a:gd name="connsiteX0" fmla="*/ 0 w 831424"/>
                  <a:gd name="connsiteY0" fmla="*/ 203022 h 522057"/>
                  <a:gd name="connsiteX1" fmla="*/ 0 w 831424"/>
                  <a:gd name="connsiteY1" fmla="*/ 0 h 522057"/>
                  <a:gd name="connsiteX2" fmla="*/ 837419 w 831424"/>
                  <a:gd name="connsiteY2" fmla="*/ 0 h 522057"/>
                  <a:gd name="connsiteX3" fmla="*/ 837419 w 831424"/>
                  <a:gd name="connsiteY3" fmla="*/ 522251 h 522057"/>
                  <a:gd name="connsiteX4" fmla="*/ 187941 w 831424"/>
                  <a:gd name="connsiteY4" fmla="*/ 522251 h 522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1424" h="522057">
                    <a:moveTo>
                      <a:pt x="0" y="203022"/>
                    </a:moveTo>
                    <a:lnTo>
                      <a:pt x="0" y="0"/>
                    </a:lnTo>
                    <a:lnTo>
                      <a:pt x="837419" y="0"/>
                    </a:lnTo>
                    <a:lnTo>
                      <a:pt x="837419" y="522251"/>
                    </a:lnTo>
                    <a:lnTo>
                      <a:pt x="187941" y="52225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Freeform: Shape 39">
                <a:extLst>
                  <a:ext uri="{FF2B5EF4-FFF2-40B4-BE49-F238E27FC236}">
                    <a16:creationId xmlns:a16="http://schemas.microsoft.com/office/drawing/2014/main" id="{7D9DB47E-AEA1-4B99-B531-13EDE0F1AA3A}"/>
                  </a:ext>
                </a:extLst>
              </p:cNvPr>
              <p:cNvSpPr/>
              <p:nvPr/>
            </p:nvSpPr>
            <p:spPr>
              <a:xfrm>
                <a:off x="8200900" y="3285150"/>
                <a:ext cx="580420" cy="10951"/>
              </a:xfrm>
              <a:custGeom>
                <a:avLst/>
                <a:gdLst>
                  <a:gd name="connsiteX0" fmla="*/ 0 w 1024779"/>
                  <a:gd name="connsiteY0" fmla="*/ 0 h 0"/>
                  <a:gd name="connsiteX1" fmla="*/ 1027486 w 1024779"/>
                  <a:gd name="connsiteY1" fmla="*/ 0 h 0"/>
                </a:gdLst>
                <a:ahLst/>
                <a:cxnLst>
                  <a:cxn ang="0">
                    <a:pos x="connsiteX0" y="connsiteY0"/>
                  </a:cxn>
                  <a:cxn ang="0">
                    <a:pos x="connsiteX1" y="connsiteY1"/>
                  </a:cxn>
                </a:cxnLst>
                <a:rect l="l" t="t" r="r" b="b"/>
                <a:pathLst>
                  <a:path w="1024779">
                    <a:moveTo>
                      <a:pt x="0" y="0"/>
                    </a:moveTo>
                    <a:lnTo>
                      <a:pt x="1027486" y="0"/>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4" name="monitor" title="Icon of a monitor">
              <a:extLst>
                <a:ext uri="{FF2B5EF4-FFF2-40B4-BE49-F238E27FC236}">
                  <a16:creationId xmlns:a16="http://schemas.microsoft.com/office/drawing/2014/main" id="{7F611D36-E8D8-4574-8A75-EFC2900747A3}"/>
                </a:ext>
              </a:extLst>
            </p:cNvPr>
            <p:cNvSpPr>
              <a:spLocks noChangeAspect="1" noEditPoints="1"/>
            </p:cNvSpPr>
            <p:nvPr/>
          </p:nvSpPr>
          <p:spPr bwMode="auto">
            <a:xfrm>
              <a:off x="5836854" y="2985881"/>
              <a:ext cx="752704" cy="57686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sp>
        <p:nvSpPr>
          <p:cNvPr id="49" name="server_2">
            <a:extLst>
              <a:ext uri="{FF2B5EF4-FFF2-40B4-BE49-F238E27FC236}">
                <a16:creationId xmlns:a16="http://schemas.microsoft.com/office/drawing/2014/main" id="{C8777E60-8925-424F-8FE5-03029E78ABF3}"/>
              </a:ext>
              <a:ext uri="{C183D7F6-B498-43B3-948B-1728B52AA6E4}">
                <adec:decorative xmlns:adec="http://schemas.microsoft.com/office/drawing/2017/decorative" val="1"/>
              </a:ext>
            </a:extLst>
          </p:cNvPr>
          <p:cNvSpPr>
            <a:spLocks noChangeAspect="1" noEditPoints="1"/>
          </p:cNvSpPr>
          <p:nvPr/>
        </p:nvSpPr>
        <p:spPr bwMode="auto">
          <a:xfrm>
            <a:off x="9885232" y="2921282"/>
            <a:ext cx="598246" cy="742520"/>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TextBox 4">
            <a:extLst>
              <a:ext uri="{FF2B5EF4-FFF2-40B4-BE49-F238E27FC236}">
                <a16:creationId xmlns:a16="http://schemas.microsoft.com/office/drawing/2014/main" id="{1BCFEECC-F13E-4B44-94A8-27A1815A3A28}"/>
              </a:ext>
            </a:extLst>
          </p:cNvPr>
          <p:cNvSpPr txBox="1"/>
          <p:nvPr/>
        </p:nvSpPr>
        <p:spPr>
          <a:xfrm>
            <a:off x="405793" y="6262008"/>
            <a:ext cx="7039428" cy="895630"/>
          </a:xfrm>
          <a:prstGeom prst="rect">
            <a:avLst/>
          </a:prstGeom>
          <a:noFill/>
        </p:spPr>
        <p:txBody>
          <a:bodyPr wrap="none" lIns="182880" tIns="146304" rIns="182880" bIns="146304" rtlCol="0">
            <a:spAutoFit/>
          </a:bodyPr>
          <a:lstStyle/>
          <a:p>
            <a:r>
              <a:rPr lang="en-US" sz="1000" baseline="30000"/>
              <a:t>1</a:t>
            </a:r>
            <a:r>
              <a:rPr lang="en-US" sz="1000"/>
              <a:t>Free teacher training offered with purchase of 15-300 eligible Windows 10 Education devices for your school. </a:t>
            </a:r>
            <a:r>
              <a:rPr lang="en-US" sz="1000" b="1">
                <a:solidFill>
                  <a:srgbClr val="FFFFFF"/>
                </a:solidFill>
                <a:effectLst/>
                <a:hlinkClick r:id="rId3"/>
              </a:rPr>
              <a:t>See details.</a:t>
            </a:r>
            <a:r>
              <a:rPr lang="en-US" sz="1000"/>
              <a:t> </a:t>
            </a:r>
          </a:p>
          <a:p>
            <a:r>
              <a:rPr lang="en-US" sz="1000" baseline="30000"/>
              <a:t>2</a:t>
            </a:r>
            <a:r>
              <a:rPr lang="en-US" sz="1000"/>
              <a:t>Special Windows licensing pricing when you purchase more than 1,000 devices. </a:t>
            </a:r>
            <a:r>
              <a:rPr lang="en-US" sz="1000" b="1">
                <a:solidFill>
                  <a:srgbClr val="FFFFFF"/>
                </a:solidFill>
                <a:effectLst/>
                <a:hlinkClick r:id="rId4"/>
              </a:rPr>
              <a:t>Check eligibility.</a:t>
            </a:r>
            <a:r>
              <a:rPr lang="en-US" sz="1000"/>
              <a:t> </a:t>
            </a:r>
          </a:p>
          <a:p>
            <a:r>
              <a:rPr lang="en-US" sz="1000" baseline="30000"/>
              <a:t>3</a:t>
            </a:r>
            <a:r>
              <a:rPr lang="en-US" sz="1000"/>
              <a:t>Surface pricing licensing offer available when you purchase more than 1,000 devices. </a:t>
            </a:r>
            <a:r>
              <a:rPr lang="en-US" sz="1000" b="1">
                <a:solidFill>
                  <a:srgbClr val="FFFFFF"/>
                </a:solidFill>
                <a:effectLst/>
                <a:hlinkClick r:id="rId4"/>
              </a:rPr>
              <a:t>Check eligibility.</a:t>
            </a:r>
            <a:r>
              <a:rPr lang="en-US" sz="1000"/>
              <a:t> </a:t>
            </a:r>
          </a:p>
          <a:p>
            <a:pPr>
              <a:lnSpc>
                <a:spcPct val="90000"/>
              </a:lnSpc>
              <a:spcAft>
                <a:spcPts val="600"/>
              </a:spcAft>
            </a:pPr>
            <a:endParaRPr lang="en-US" sz="100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03674972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81F5C-1647-4263-981A-F748CAB0773B}"/>
              </a:ext>
            </a:extLst>
          </p:cNvPr>
          <p:cNvSpPr>
            <a:spLocks noGrp="1"/>
          </p:cNvSpPr>
          <p:nvPr>
            <p:ph type="title" idx="4294967295"/>
          </p:nvPr>
        </p:nvSpPr>
        <p:spPr>
          <a:xfrm>
            <a:off x="457200" y="570556"/>
            <a:ext cx="11520488" cy="917575"/>
          </a:xfrm>
        </p:spPr>
        <p:txBody>
          <a:bodyPr/>
          <a:lstStyle/>
          <a:p>
            <a:r>
              <a:rPr lang="en-US">
                <a:solidFill>
                  <a:schemeClr val="tx1"/>
                </a:solidFill>
              </a:rPr>
              <a:t>Next steps</a:t>
            </a:r>
          </a:p>
        </p:txBody>
      </p:sp>
      <p:sp>
        <p:nvSpPr>
          <p:cNvPr id="4" name="TextBox 3">
            <a:extLst>
              <a:ext uri="{FF2B5EF4-FFF2-40B4-BE49-F238E27FC236}">
                <a16:creationId xmlns:a16="http://schemas.microsoft.com/office/drawing/2014/main" id="{6043BCA0-959B-401A-8D8F-71E6E03417C6}"/>
              </a:ext>
            </a:extLst>
          </p:cNvPr>
          <p:cNvSpPr txBox="1"/>
          <p:nvPr/>
        </p:nvSpPr>
        <p:spPr>
          <a:xfrm>
            <a:off x="357965" y="1293746"/>
            <a:ext cx="6444217" cy="1197251"/>
          </a:xfrm>
          <a:prstGeom prst="rect">
            <a:avLst/>
          </a:prstGeom>
          <a:noFill/>
        </p:spPr>
        <p:txBody>
          <a:bodyPr wrap="square" lIns="182880" tIns="146304" rIns="182880" bIns="146304" rtlCol="0">
            <a:spAutoFit/>
          </a:bodyPr>
          <a:lstStyle/>
          <a:p>
            <a:pPr>
              <a:lnSpc>
                <a:spcPct val="90000"/>
              </a:lnSpc>
              <a:spcAft>
                <a:spcPts val="600"/>
              </a:spcAft>
            </a:pPr>
            <a:r>
              <a:rPr lang="en-US">
                <a:solidFill>
                  <a:srgbClr val="003C6C"/>
                </a:solidFill>
                <a:latin typeface="Segoe UI Semibold" panose="020B0702040204020203" pitchFamily="34" charset="0"/>
                <a:cs typeface="Segoe UI Semibold" panose="020B0702040204020203" pitchFamily="34" charset="0"/>
              </a:rPr>
              <a:t>Find the right devices for your school</a:t>
            </a:r>
          </a:p>
          <a:p>
            <a:pPr marL="342900" indent="-342900">
              <a:lnSpc>
                <a:spcPct val="90000"/>
              </a:lnSpc>
              <a:spcAft>
                <a:spcPts val="600"/>
              </a:spcAft>
              <a:buFont typeface="Arial" panose="020B0604020202020204" pitchFamily="34" charset="0"/>
              <a:buChar char="•"/>
            </a:pPr>
            <a:r>
              <a:rPr lang="en-US">
                <a:gradFill>
                  <a:gsLst>
                    <a:gs pos="2917">
                      <a:schemeClr val="tx1"/>
                    </a:gs>
                    <a:gs pos="30000">
                      <a:schemeClr val="tx1"/>
                    </a:gs>
                  </a:gsLst>
                  <a:lin ang="5400000" scaled="0"/>
                </a:gradFill>
                <a:hlinkClick r:id="rId3"/>
              </a:rPr>
              <a:t>Explore Windows and Surface devices</a:t>
            </a:r>
            <a:endParaRPr lang="en-US">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a:gradFill>
                  <a:gsLst>
                    <a:gs pos="2917">
                      <a:schemeClr val="tx1"/>
                    </a:gs>
                    <a:gs pos="30000">
                      <a:schemeClr val="tx1"/>
                    </a:gs>
                  </a:gsLst>
                  <a:lin ang="5400000" scaled="0"/>
                </a:gradFill>
                <a:hlinkClick r:id="rId4"/>
              </a:rPr>
              <a:t>Contact Microsoft specialists for assistance</a:t>
            </a:r>
            <a:endParaRPr lang="en-US">
              <a:gradFill>
                <a:gsLst>
                  <a:gs pos="2917">
                    <a:schemeClr val="tx1"/>
                  </a:gs>
                  <a:gs pos="30000">
                    <a:schemeClr val="tx1"/>
                  </a:gs>
                </a:gsLst>
                <a:lin ang="5400000" scaled="0"/>
              </a:gradFill>
            </a:endParaRPr>
          </a:p>
        </p:txBody>
      </p:sp>
      <p:sp>
        <p:nvSpPr>
          <p:cNvPr id="19" name="TextBox 18">
            <a:extLst>
              <a:ext uri="{FF2B5EF4-FFF2-40B4-BE49-F238E27FC236}">
                <a16:creationId xmlns:a16="http://schemas.microsoft.com/office/drawing/2014/main" id="{7A9E35FB-39E2-4872-A4CA-B03501A7A108}"/>
              </a:ext>
            </a:extLst>
          </p:cNvPr>
          <p:cNvSpPr txBox="1"/>
          <p:nvPr/>
        </p:nvSpPr>
        <p:spPr>
          <a:xfrm>
            <a:off x="357965" y="2715632"/>
            <a:ext cx="6444217" cy="1197251"/>
          </a:xfrm>
          <a:prstGeom prst="rect">
            <a:avLst/>
          </a:prstGeom>
          <a:noFill/>
        </p:spPr>
        <p:txBody>
          <a:bodyPr wrap="square" lIns="182880" tIns="146304" rIns="182880" bIns="146304" rtlCol="0">
            <a:spAutoFit/>
          </a:bodyPr>
          <a:lstStyle/>
          <a:p>
            <a:pPr>
              <a:lnSpc>
                <a:spcPct val="90000"/>
              </a:lnSpc>
              <a:spcAft>
                <a:spcPts val="600"/>
              </a:spcAft>
            </a:pPr>
            <a:r>
              <a:rPr lang="en-US">
                <a:solidFill>
                  <a:srgbClr val="003C6C"/>
                </a:solidFill>
                <a:latin typeface="Segoe UI Semibold" panose="020B0702040204020203" pitchFamily="34" charset="0"/>
                <a:cs typeface="Segoe UI Semibold" panose="020B0702040204020203" pitchFamily="34" charset="0"/>
              </a:rPr>
              <a:t>Roll out Microsoft Office 365 with Teams</a:t>
            </a:r>
          </a:p>
          <a:p>
            <a:pPr marL="342900" indent="-342900">
              <a:lnSpc>
                <a:spcPct val="90000"/>
              </a:lnSpc>
              <a:spcAft>
                <a:spcPts val="600"/>
              </a:spcAft>
              <a:buFont typeface="Arial" panose="020B0604020202020204" pitchFamily="34" charset="0"/>
              <a:buChar char="•"/>
            </a:pPr>
            <a:r>
              <a:rPr lang="en-US">
                <a:gradFill>
                  <a:gsLst>
                    <a:gs pos="2917">
                      <a:schemeClr val="tx1"/>
                    </a:gs>
                    <a:gs pos="30000">
                      <a:schemeClr val="tx1"/>
                    </a:gs>
                  </a:gsLst>
                  <a:lin ang="5400000" scaled="0"/>
                </a:gradFill>
                <a:hlinkClick r:id="rId5"/>
              </a:rPr>
              <a:t>Get started with Office 365 and Teams at no cost</a:t>
            </a:r>
            <a:endParaRPr lang="en-US">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a:gradFill>
                  <a:gsLst>
                    <a:gs pos="2917">
                      <a:schemeClr val="tx1"/>
                    </a:gs>
                    <a:gs pos="30000">
                      <a:schemeClr val="tx1"/>
                    </a:gs>
                  </a:gsLst>
                  <a:lin ang="5400000" scaled="0"/>
                </a:gradFill>
                <a:hlinkClick r:id="rId6"/>
              </a:rPr>
              <a:t>Explore resources and best practices for Microsoft Teams</a:t>
            </a:r>
            <a:endParaRPr lang="en-US">
              <a:gradFill>
                <a:gsLst>
                  <a:gs pos="2917">
                    <a:schemeClr val="tx1"/>
                  </a:gs>
                  <a:gs pos="30000">
                    <a:schemeClr val="tx1"/>
                  </a:gs>
                </a:gsLst>
                <a:lin ang="5400000" scaled="0"/>
              </a:gradFill>
            </a:endParaRPr>
          </a:p>
        </p:txBody>
      </p:sp>
      <p:sp>
        <p:nvSpPr>
          <p:cNvPr id="16" name="TextBox 15">
            <a:extLst>
              <a:ext uri="{FF2B5EF4-FFF2-40B4-BE49-F238E27FC236}">
                <a16:creationId xmlns:a16="http://schemas.microsoft.com/office/drawing/2014/main" id="{3AB25D42-A0D0-406A-8F53-3DC70CC0D41F}"/>
              </a:ext>
            </a:extLst>
          </p:cNvPr>
          <p:cNvSpPr txBox="1"/>
          <p:nvPr/>
        </p:nvSpPr>
        <p:spPr>
          <a:xfrm>
            <a:off x="357965" y="4177285"/>
            <a:ext cx="6444217" cy="1523494"/>
          </a:xfrm>
          <a:prstGeom prst="rect">
            <a:avLst/>
          </a:prstGeom>
          <a:noFill/>
        </p:spPr>
        <p:txBody>
          <a:bodyPr wrap="square" lIns="182880" tIns="146304" rIns="182880" bIns="146304" rtlCol="0">
            <a:spAutoFit/>
          </a:bodyPr>
          <a:lstStyle/>
          <a:p>
            <a:pPr>
              <a:lnSpc>
                <a:spcPct val="90000"/>
              </a:lnSpc>
              <a:spcAft>
                <a:spcPts val="600"/>
              </a:spcAft>
            </a:pPr>
            <a:r>
              <a:rPr lang="en-US">
                <a:solidFill>
                  <a:srgbClr val="003C6C"/>
                </a:solidFill>
                <a:latin typeface="Segoe UI Semibold" panose="020B0702040204020203" pitchFamily="34" charset="0"/>
                <a:cs typeface="Segoe UI Semibold" panose="020B0702040204020203" pitchFamily="34" charset="0"/>
              </a:rPr>
              <a:t>Explore training and resources</a:t>
            </a:r>
          </a:p>
          <a:p>
            <a:pPr marL="342900" indent="-342900">
              <a:lnSpc>
                <a:spcPct val="90000"/>
              </a:lnSpc>
              <a:spcAft>
                <a:spcPts val="600"/>
              </a:spcAft>
              <a:buFont typeface="Arial" panose="020B0604020202020204" pitchFamily="34" charset="0"/>
              <a:buChar char="•"/>
            </a:pPr>
            <a:r>
              <a:rPr lang="en-US">
                <a:gradFill>
                  <a:gsLst>
                    <a:gs pos="2917">
                      <a:schemeClr val="tx1"/>
                    </a:gs>
                    <a:gs pos="30000">
                      <a:schemeClr val="tx1"/>
                    </a:gs>
                  </a:gsLst>
                  <a:lin ang="5400000" scaled="0"/>
                </a:gradFill>
                <a:hlinkClick r:id="rId7"/>
              </a:rPr>
              <a:t>Browse free training on the Microsoft Educator Center</a:t>
            </a:r>
            <a:endParaRPr lang="en-US">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a:gradFill>
                  <a:gsLst>
                    <a:gs pos="2917">
                      <a:schemeClr val="tx1"/>
                    </a:gs>
                    <a:gs pos="30000">
                      <a:schemeClr val="tx1"/>
                    </a:gs>
                  </a:gsLst>
                  <a:lin ang="5400000" scaled="0"/>
                </a:gradFill>
                <a:hlinkClick r:id="rId8"/>
              </a:rPr>
              <a:t>Request private training for your school or institution</a:t>
            </a:r>
            <a:endParaRPr lang="en-US">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endParaRPr lang="en-US">
              <a:gradFill>
                <a:gsLst>
                  <a:gs pos="2917">
                    <a:schemeClr val="tx1"/>
                  </a:gs>
                  <a:gs pos="30000">
                    <a:schemeClr val="tx1"/>
                  </a:gs>
                </a:gsLst>
                <a:lin ang="5400000" scaled="0"/>
              </a:gradFill>
            </a:endParaRPr>
          </a:p>
        </p:txBody>
      </p:sp>
      <p:pic>
        <p:nvPicPr>
          <p:cNvPr id="10" name="Picture 9" descr="A smiling young student working on a laptop at a table inside">
            <a:extLst>
              <a:ext uri="{FF2B5EF4-FFF2-40B4-BE49-F238E27FC236}">
                <a16:creationId xmlns:a16="http://schemas.microsoft.com/office/drawing/2014/main" id="{D88CDBE4-7B0B-4A17-95AE-3D0CFAA07C62}"/>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7135330" y="-1"/>
            <a:ext cx="5299557" cy="6994525"/>
          </a:xfrm>
          <a:prstGeom prst="rect">
            <a:avLst/>
          </a:prstGeom>
        </p:spPr>
      </p:pic>
    </p:spTree>
    <p:extLst>
      <p:ext uri="{BB962C8B-B14F-4D97-AF65-F5344CB8AC3E}">
        <p14:creationId xmlns:p14="http://schemas.microsoft.com/office/powerpoint/2010/main" val="194390876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C951BEA1-3620-4585-B0FA-53C0A629CD41}"/>
              </a:ext>
            </a:extLst>
          </p:cNvPr>
          <p:cNvSpPr txBox="1">
            <a:spLocks noGrp="1" noChangeArrowheads="1"/>
          </p:cNvSpPr>
          <p:nvPr>
            <p:ph type="title" idx="4294967295"/>
          </p:nvPr>
        </p:nvSpPr>
        <p:spPr bwMode="blackWhite">
          <a:xfrm>
            <a:off x="456407" y="-823468"/>
            <a:ext cx="10391812" cy="492443"/>
          </a:xfrm>
          <a:prstGeom prst="rect">
            <a:avLst/>
          </a:prstGeom>
          <a:noFill/>
          <a:ln w="12700">
            <a:noFill/>
            <a:prstDash/>
            <a:miter lim="800000"/>
            <a:headEnd type="none" w="sm" len="sm"/>
            <a:tailEnd type="none" w="sm" len="sm"/>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3892" rtl="0" eaLnBrk="0" fontAlgn="auto" latinLnBrk="0" hangingPunct="0">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Segoe UI Semilight"/>
                <a:ea typeface="+mn-ea"/>
                <a:cs typeface="Arial" charset="0"/>
              </a:rPr>
              <a:t>Closing Slide</a:t>
            </a:r>
          </a:p>
        </p:txBody>
      </p:sp>
      <p:sp>
        <p:nvSpPr>
          <p:cNvPr id="3" name="Text Box 3">
            <a:extLst>
              <a:ext uri="{FF2B5EF4-FFF2-40B4-BE49-F238E27FC236}">
                <a16:creationId xmlns:a16="http://schemas.microsoft.com/office/drawing/2014/main" id="{78F553D5-290A-4E4B-AF2E-D3B0D9886DAB}"/>
              </a:ext>
            </a:extLst>
          </p:cNvPr>
          <p:cNvSpPr txBox="1">
            <a:spLocks noChangeArrowheads="1"/>
          </p:cNvSpPr>
          <p:nvPr/>
        </p:nvSpPr>
        <p:spPr bwMode="blackWhite">
          <a:xfrm>
            <a:off x="456407" y="6274018"/>
            <a:ext cx="10391812" cy="323165"/>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89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Semilight"/>
                <a:ea typeface="+mn-ea"/>
                <a:cs typeface="Arial" charset="0"/>
              </a:rPr>
              <a:t>© 2020 Microsoft Corporation. All rights reserved. Microsoft, Windows, and other product names are or may be registered trademarks and/or trademarks in the U.S. and/or other countries.</a:t>
            </a:r>
          </a:p>
          <a:p>
            <a:pPr marL="0" marR="0" lvl="0" indent="0" algn="l" defTabSz="91389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Semilight"/>
                <a:ea typeface="+mn-ea"/>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2" name="Picture 1" descr="Microsoft logo">
            <a:extLst>
              <a:ext uri="{FF2B5EF4-FFF2-40B4-BE49-F238E27FC236}">
                <a16:creationId xmlns:a16="http://schemas.microsoft.com/office/drawing/2014/main" id="{5255626E-392B-4195-9230-16ABA568925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6408" y="3040064"/>
            <a:ext cx="3646979" cy="781235"/>
          </a:xfrm>
          <a:prstGeom prst="rect">
            <a:avLst/>
          </a:prstGeom>
        </p:spPr>
      </p:pic>
    </p:spTree>
    <p:extLst>
      <p:ext uri="{BB962C8B-B14F-4D97-AF65-F5344CB8AC3E}">
        <p14:creationId xmlns:p14="http://schemas.microsoft.com/office/powerpoint/2010/main" val="153989294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02701-C9EF-45D6-868D-DF7186421821}"/>
              </a:ext>
            </a:extLst>
          </p:cNvPr>
          <p:cNvSpPr>
            <a:spLocks noGrp="1"/>
          </p:cNvSpPr>
          <p:nvPr>
            <p:ph type="title"/>
          </p:nvPr>
        </p:nvSpPr>
        <p:spPr>
          <a:xfrm>
            <a:off x="457200" y="503238"/>
            <a:ext cx="11520488" cy="1166074"/>
          </a:xfrm>
        </p:spPr>
        <p:txBody>
          <a:bodyPr/>
          <a:lstStyle/>
          <a:p>
            <a:r>
              <a:rPr lang="en-US">
                <a:solidFill>
                  <a:schemeClr val="tx2"/>
                </a:solidFill>
                <a:latin typeface="Segoe UI Semibold" panose="020B0702040204020203" pitchFamily="34" charset="0"/>
                <a:cs typeface="Segoe UI Semibold" panose="020B0702040204020203" pitchFamily="34" charset="0"/>
              </a:rPr>
              <a:t>Keep student data private </a:t>
            </a:r>
            <a:r>
              <a:rPr lang="en-US"/>
              <a:t>and ensure data is never sold to advertisers</a:t>
            </a:r>
          </a:p>
        </p:txBody>
      </p:sp>
      <p:grpSp>
        <p:nvGrpSpPr>
          <p:cNvPr id="35" name="Group 34">
            <a:extLst>
              <a:ext uri="{FF2B5EF4-FFF2-40B4-BE49-F238E27FC236}">
                <a16:creationId xmlns:a16="http://schemas.microsoft.com/office/drawing/2014/main" id="{9FD47D4D-AD61-4339-B17D-1AC145FA6F5F}"/>
              </a:ext>
              <a:ext uri="{C183D7F6-B498-43B3-948B-1728B52AA6E4}">
                <adec:decorative xmlns:adec="http://schemas.microsoft.com/office/drawing/2017/decorative" val="1"/>
              </a:ext>
            </a:extLst>
          </p:cNvPr>
          <p:cNvGrpSpPr/>
          <p:nvPr/>
        </p:nvGrpSpPr>
        <p:grpSpPr>
          <a:xfrm>
            <a:off x="11488324" y="162790"/>
            <a:ext cx="777240" cy="778243"/>
            <a:chOff x="9451220" y="3231556"/>
            <a:chExt cx="1466268" cy="1466264"/>
          </a:xfrm>
        </p:grpSpPr>
        <p:grpSp>
          <p:nvGrpSpPr>
            <p:cNvPr id="36" name="Group 35">
              <a:extLst>
                <a:ext uri="{FF2B5EF4-FFF2-40B4-BE49-F238E27FC236}">
                  <a16:creationId xmlns:a16="http://schemas.microsoft.com/office/drawing/2014/main" id="{2BAC5C91-191D-42B9-A170-E45D76CAA07F}"/>
                </a:ext>
              </a:extLst>
            </p:cNvPr>
            <p:cNvGrpSpPr/>
            <p:nvPr/>
          </p:nvGrpSpPr>
          <p:grpSpPr>
            <a:xfrm>
              <a:off x="9858188" y="3517807"/>
              <a:ext cx="652332" cy="893762"/>
              <a:chOff x="12901109" y="3390467"/>
              <a:chExt cx="2338892" cy="3204519"/>
            </a:xfrm>
          </p:grpSpPr>
          <p:sp>
            <p:nvSpPr>
              <p:cNvPr id="38" name="Freeform: Shape 37">
                <a:extLst>
                  <a:ext uri="{FF2B5EF4-FFF2-40B4-BE49-F238E27FC236}">
                    <a16:creationId xmlns:a16="http://schemas.microsoft.com/office/drawing/2014/main" id="{9DE66698-991F-41DC-944D-21C7903E3A2C}"/>
                  </a:ext>
                </a:extLst>
              </p:cNvPr>
              <p:cNvSpPr/>
              <p:nvPr/>
            </p:nvSpPr>
            <p:spPr>
              <a:xfrm>
                <a:off x="13188664" y="3390467"/>
                <a:ext cx="1006470" cy="1052478"/>
              </a:xfrm>
              <a:custGeom>
                <a:avLst/>
                <a:gdLst>
                  <a:gd name="connsiteX0" fmla="*/ 0 w 443429"/>
                  <a:gd name="connsiteY0" fmla="*/ 463700 h 463700"/>
                  <a:gd name="connsiteX1" fmla="*/ 0 w 443429"/>
                  <a:gd name="connsiteY1" fmla="*/ 221715 h 463700"/>
                  <a:gd name="connsiteX2" fmla="*/ 221715 w 443429"/>
                  <a:gd name="connsiteY2" fmla="*/ 0 h 463700"/>
                  <a:gd name="connsiteX3" fmla="*/ 443429 w 443429"/>
                  <a:gd name="connsiteY3" fmla="*/ 221715 h 463700"/>
                  <a:gd name="connsiteX4" fmla="*/ 443429 w 443429"/>
                  <a:gd name="connsiteY4" fmla="*/ 463700 h 463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429" h="463700">
                    <a:moveTo>
                      <a:pt x="0" y="463700"/>
                    </a:moveTo>
                    <a:cubicBezTo>
                      <a:pt x="0" y="221715"/>
                      <a:pt x="0" y="221715"/>
                      <a:pt x="0" y="221715"/>
                    </a:cubicBezTo>
                    <a:cubicBezTo>
                      <a:pt x="0" y="101355"/>
                      <a:pt x="97555" y="0"/>
                      <a:pt x="221715" y="0"/>
                    </a:cubicBezTo>
                    <a:cubicBezTo>
                      <a:pt x="345875" y="0"/>
                      <a:pt x="443429" y="100088"/>
                      <a:pt x="443429" y="221715"/>
                    </a:cubicBezTo>
                    <a:cubicBezTo>
                      <a:pt x="443429" y="463700"/>
                      <a:pt x="443429" y="463700"/>
                      <a:pt x="443429" y="463700"/>
                    </a:cubicBezTo>
                  </a:path>
                </a:pathLst>
              </a:custGeom>
              <a:noFill/>
              <a:ln w="19050" cap="sq">
                <a:solidFill>
                  <a:schemeClr val="tx2"/>
                </a:solidFill>
                <a:prstDash val="solid"/>
                <a:miter/>
              </a:ln>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p>
            </p:txBody>
          </p:sp>
          <p:sp>
            <p:nvSpPr>
              <p:cNvPr id="39" name="Freeform: Shape 38">
                <a:extLst>
                  <a:ext uri="{FF2B5EF4-FFF2-40B4-BE49-F238E27FC236}">
                    <a16:creationId xmlns:a16="http://schemas.microsoft.com/office/drawing/2014/main" id="{D1211BF3-B810-4B60-95BC-0412BA9E4986}"/>
                  </a:ext>
                </a:extLst>
              </p:cNvPr>
              <p:cNvSpPr/>
              <p:nvPr/>
            </p:nvSpPr>
            <p:spPr>
              <a:xfrm>
                <a:off x="12901109" y="4476924"/>
                <a:ext cx="1610742" cy="1194621"/>
              </a:xfrm>
              <a:custGeom>
                <a:avLst/>
                <a:gdLst>
                  <a:gd name="connsiteX0" fmla="*/ 0 w 708219"/>
                  <a:gd name="connsiteY0" fmla="*/ 524513 h 524513"/>
                  <a:gd name="connsiteX1" fmla="*/ 708219 w 708219"/>
                  <a:gd name="connsiteY1" fmla="*/ 524513 h 524513"/>
                  <a:gd name="connsiteX2" fmla="*/ 708219 w 708219"/>
                  <a:gd name="connsiteY2" fmla="*/ 0 h 524513"/>
                  <a:gd name="connsiteX3" fmla="*/ 0 w 708219"/>
                  <a:gd name="connsiteY3" fmla="*/ 0 h 524513"/>
                  <a:gd name="connsiteX4" fmla="*/ 0 w 708219"/>
                  <a:gd name="connsiteY4" fmla="*/ 524513 h 524513"/>
                  <a:gd name="connsiteX5" fmla="*/ 0 w 708219"/>
                  <a:gd name="connsiteY5" fmla="*/ 524513 h 524513"/>
                  <a:gd name="connsiteX6" fmla="*/ 0 w 708219"/>
                  <a:gd name="connsiteY6" fmla="*/ 524513 h 524513"/>
                  <a:gd name="connsiteX0" fmla="*/ 708219 w 880918"/>
                  <a:gd name="connsiteY0" fmla="*/ 524513 h 697212"/>
                  <a:gd name="connsiteX1" fmla="*/ 708219 w 880918"/>
                  <a:gd name="connsiteY1" fmla="*/ 0 h 697212"/>
                  <a:gd name="connsiteX2" fmla="*/ 0 w 880918"/>
                  <a:gd name="connsiteY2" fmla="*/ 0 h 697212"/>
                  <a:gd name="connsiteX3" fmla="*/ 0 w 880918"/>
                  <a:gd name="connsiteY3" fmla="*/ 524513 h 697212"/>
                  <a:gd name="connsiteX4" fmla="*/ 0 w 880918"/>
                  <a:gd name="connsiteY4" fmla="*/ 524513 h 697212"/>
                  <a:gd name="connsiteX5" fmla="*/ 0 w 880918"/>
                  <a:gd name="connsiteY5" fmla="*/ 524513 h 697212"/>
                  <a:gd name="connsiteX6" fmla="*/ 880918 w 880918"/>
                  <a:gd name="connsiteY6" fmla="*/ 697212 h 697212"/>
                  <a:gd name="connsiteX0" fmla="*/ 708219 w 708219"/>
                  <a:gd name="connsiteY0" fmla="*/ 524513 h 524513"/>
                  <a:gd name="connsiteX1" fmla="*/ 708219 w 708219"/>
                  <a:gd name="connsiteY1" fmla="*/ 0 h 524513"/>
                  <a:gd name="connsiteX2" fmla="*/ 0 w 708219"/>
                  <a:gd name="connsiteY2" fmla="*/ 0 h 524513"/>
                  <a:gd name="connsiteX3" fmla="*/ 0 w 708219"/>
                  <a:gd name="connsiteY3" fmla="*/ 524513 h 524513"/>
                  <a:gd name="connsiteX4" fmla="*/ 0 w 708219"/>
                  <a:gd name="connsiteY4" fmla="*/ 524513 h 524513"/>
                  <a:gd name="connsiteX5" fmla="*/ 0 w 708219"/>
                  <a:gd name="connsiteY5" fmla="*/ 524513 h 524513"/>
                  <a:gd name="connsiteX6" fmla="*/ 323244 w 708219"/>
                  <a:gd name="connsiteY6" fmla="*/ 517317 h 524513"/>
                  <a:gd name="connsiteX0" fmla="*/ 708219 w 708219"/>
                  <a:gd name="connsiteY0" fmla="*/ 524513 h 524513"/>
                  <a:gd name="connsiteX1" fmla="*/ 708219 w 708219"/>
                  <a:gd name="connsiteY1" fmla="*/ 0 h 524513"/>
                  <a:gd name="connsiteX2" fmla="*/ 0 w 708219"/>
                  <a:gd name="connsiteY2" fmla="*/ 0 h 524513"/>
                  <a:gd name="connsiteX3" fmla="*/ 0 w 708219"/>
                  <a:gd name="connsiteY3" fmla="*/ 524513 h 524513"/>
                  <a:gd name="connsiteX4" fmla="*/ 0 w 708219"/>
                  <a:gd name="connsiteY4" fmla="*/ 524513 h 524513"/>
                  <a:gd name="connsiteX5" fmla="*/ 0 w 708219"/>
                  <a:gd name="connsiteY5" fmla="*/ 524513 h 524513"/>
                  <a:gd name="connsiteX6" fmla="*/ 49804 w 708219"/>
                  <a:gd name="connsiteY6" fmla="*/ 520915 h 524513"/>
                  <a:gd name="connsiteX0" fmla="*/ 701023 w 758848"/>
                  <a:gd name="connsiteY0" fmla="*/ 420384 h 553506"/>
                  <a:gd name="connsiteX1" fmla="*/ 708219 w 758848"/>
                  <a:gd name="connsiteY1" fmla="*/ 28993 h 553506"/>
                  <a:gd name="connsiteX2" fmla="*/ 0 w 758848"/>
                  <a:gd name="connsiteY2" fmla="*/ 28993 h 553506"/>
                  <a:gd name="connsiteX3" fmla="*/ 0 w 758848"/>
                  <a:gd name="connsiteY3" fmla="*/ 553506 h 553506"/>
                  <a:gd name="connsiteX4" fmla="*/ 0 w 758848"/>
                  <a:gd name="connsiteY4" fmla="*/ 553506 h 553506"/>
                  <a:gd name="connsiteX5" fmla="*/ 0 w 758848"/>
                  <a:gd name="connsiteY5" fmla="*/ 553506 h 553506"/>
                  <a:gd name="connsiteX6" fmla="*/ 49804 w 758848"/>
                  <a:gd name="connsiteY6" fmla="*/ 549908 h 553506"/>
                  <a:gd name="connsiteX0" fmla="*/ 701023 w 758850"/>
                  <a:gd name="connsiteY0" fmla="*/ 401195 h 534317"/>
                  <a:gd name="connsiteX1" fmla="*/ 708219 w 758850"/>
                  <a:gd name="connsiteY1" fmla="*/ 9804 h 534317"/>
                  <a:gd name="connsiteX2" fmla="*/ 0 w 758850"/>
                  <a:gd name="connsiteY2" fmla="*/ 9804 h 534317"/>
                  <a:gd name="connsiteX3" fmla="*/ 0 w 758850"/>
                  <a:gd name="connsiteY3" fmla="*/ 534317 h 534317"/>
                  <a:gd name="connsiteX4" fmla="*/ 0 w 758850"/>
                  <a:gd name="connsiteY4" fmla="*/ 534317 h 534317"/>
                  <a:gd name="connsiteX5" fmla="*/ 0 w 758850"/>
                  <a:gd name="connsiteY5" fmla="*/ 534317 h 534317"/>
                  <a:gd name="connsiteX6" fmla="*/ 49804 w 758850"/>
                  <a:gd name="connsiteY6" fmla="*/ 530719 h 534317"/>
                  <a:gd name="connsiteX0" fmla="*/ 701023 w 708500"/>
                  <a:gd name="connsiteY0" fmla="*/ 401195 h 534317"/>
                  <a:gd name="connsiteX1" fmla="*/ 708219 w 708500"/>
                  <a:gd name="connsiteY1" fmla="*/ 9804 h 534317"/>
                  <a:gd name="connsiteX2" fmla="*/ 0 w 708500"/>
                  <a:gd name="connsiteY2" fmla="*/ 9804 h 534317"/>
                  <a:gd name="connsiteX3" fmla="*/ 0 w 708500"/>
                  <a:gd name="connsiteY3" fmla="*/ 534317 h 534317"/>
                  <a:gd name="connsiteX4" fmla="*/ 0 w 708500"/>
                  <a:gd name="connsiteY4" fmla="*/ 534317 h 534317"/>
                  <a:gd name="connsiteX5" fmla="*/ 0 w 708500"/>
                  <a:gd name="connsiteY5" fmla="*/ 534317 h 534317"/>
                  <a:gd name="connsiteX6" fmla="*/ 49804 w 708500"/>
                  <a:gd name="connsiteY6" fmla="*/ 530719 h 534317"/>
                  <a:gd name="connsiteX0" fmla="*/ 701023 w 708500"/>
                  <a:gd name="connsiteY0" fmla="*/ 391391 h 524513"/>
                  <a:gd name="connsiteX1" fmla="*/ 708219 w 708500"/>
                  <a:gd name="connsiteY1" fmla="*/ 0 h 524513"/>
                  <a:gd name="connsiteX2" fmla="*/ 0 w 708500"/>
                  <a:gd name="connsiteY2" fmla="*/ 0 h 524513"/>
                  <a:gd name="connsiteX3" fmla="*/ 0 w 708500"/>
                  <a:gd name="connsiteY3" fmla="*/ 524513 h 524513"/>
                  <a:gd name="connsiteX4" fmla="*/ 0 w 708500"/>
                  <a:gd name="connsiteY4" fmla="*/ 524513 h 524513"/>
                  <a:gd name="connsiteX5" fmla="*/ 0 w 708500"/>
                  <a:gd name="connsiteY5" fmla="*/ 524513 h 524513"/>
                  <a:gd name="connsiteX6" fmla="*/ 49804 w 708500"/>
                  <a:gd name="connsiteY6" fmla="*/ 520915 h 524513"/>
                  <a:gd name="connsiteX0" fmla="*/ 701023 w 708500"/>
                  <a:gd name="connsiteY0" fmla="*/ 399595 h 532717"/>
                  <a:gd name="connsiteX1" fmla="*/ 708219 w 708500"/>
                  <a:gd name="connsiteY1" fmla="*/ 8204 h 532717"/>
                  <a:gd name="connsiteX2" fmla="*/ 0 w 708500"/>
                  <a:gd name="connsiteY2" fmla="*/ 8204 h 532717"/>
                  <a:gd name="connsiteX3" fmla="*/ 0 w 708500"/>
                  <a:gd name="connsiteY3" fmla="*/ 532717 h 532717"/>
                  <a:gd name="connsiteX4" fmla="*/ 0 w 708500"/>
                  <a:gd name="connsiteY4" fmla="*/ 532717 h 532717"/>
                  <a:gd name="connsiteX5" fmla="*/ 0 w 708500"/>
                  <a:gd name="connsiteY5" fmla="*/ 532717 h 532717"/>
                  <a:gd name="connsiteX6" fmla="*/ 49804 w 708500"/>
                  <a:gd name="connsiteY6" fmla="*/ 529119 h 532717"/>
                  <a:gd name="connsiteX0" fmla="*/ 701023 w 708500"/>
                  <a:gd name="connsiteY0" fmla="*/ 393198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01023 w 708500"/>
                  <a:gd name="connsiteY0" fmla="*/ 393198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11816 w 712529"/>
                  <a:gd name="connsiteY0" fmla="*/ 400394 h 526320"/>
                  <a:gd name="connsiteX1" fmla="*/ 708219 w 712529"/>
                  <a:gd name="connsiteY1" fmla="*/ 1807 h 526320"/>
                  <a:gd name="connsiteX2" fmla="*/ 0 w 712529"/>
                  <a:gd name="connsiteY2" fmla="*/ 1807 h 526320"/>
                  <a:gd name="connsiteX3" fmla="*/ 0 w 712529"/>
                  <a:gd name="connsiteY3" fmla="*/ 526320 h 526320"/>
                  <a:gd name="connsiteX4" fmla="*/ 0 w 712529"/>
                  <a:gd name="connsiteY4" fmla="*/ 526320 h 526320"/>
                  <a:gd name="connsiteX5" fmla="*/ 0 w 712529"/>
                  <a:gd name="connsiteY5" fmla="*/ 526320 h 526320"/>
                  <a:gd name="connsiteX6" fmla="*/ 49804 w 712529"/>
                  <a:gd name="connsiteY6" fmla="*/ 522722 h 526320"/>
                  <a:gd name="connsiteX0" fmla="*/ 697423 w 708412"/>
                  <a:gd name="connsiteY0" fmla="*/ 393198 h 526320"/>
                  <a:gd name="connsiteX1" fmla="*/ 708219 w 708412"/>
                  <a:gd name="connsiteY1" fmla="*/ 1807 h 526320"/>
                  <a:gd name="connsiteX2" fmla="*/ 0 w 708412"/>
                  <a:gd name="connsiteY2" fmla="*/ 1807 h 526320"/>
                  <a:gd name="connsiteX3" fmla="*/ 0 w 708412"/>
                  <a:gd name="connsiteY3" fmla="*/ 526320 h 526320"/>
                  <a:gd name="connsiteX4" fmla="*/ 0 w 708412"/>
                  <a:gd name="connsiteY4" fmla="*/ 526320 h 526320"/>
                  <a:gd name="connsiteX5" fmla="*/ 0 w 708412"/>
                  <a:gd name="connsiteY5" fmla="*/ 526320 h 526320"/>
                  <a:gd name="connsiteX6" fmla="*/ 49804 w 708412"/>
                  <a:gd name="connsiteY6" fmla="*/ 522722 h 526320"/>
                  <a:gd name="connsiteX0" fmla="*/ 711815 w 712527"/>
                  <a:gd name="connsiteY0" fmla="*/ 400394 h 526320"/>
                  <a:gd name="connsiteX1" fmla="*/ 708219 w 712527"/>
                  <a:gd name="connsiteY1" fmla="*/ 1807 h 526320"/>
                  <a:gd name="connsiteX2" fmla="*/ 0 w 712527"/>
                  <a:gd name="connsiteY2" fmla="*/ 1807 h 526320"/>
                  <a:gd name="connsiteX3" fmla="*/ 0 w 712527"/>
                  <a:gd name="connsiteY3" fmla="*/ 526320 h 526320"/>
                  <a:gd name="connsiteX4" fmla="*/ 0 w 712527"/>
                  <a:gd name="connsiteY4" fmla="*/ 526320 h 526320"/>
                  <a:gd name="connsiteX5" fmla="*/ 0 w 712527"/>
                  <a:gd name="connsiteY5" fmla="*/ 526320 h 526320"/>
                  <a:gd name="connsiteX6" fmla="*/ 49804 w 712527"/>
                  <a:gd name="connsiteY6" fmla="*/ 522722 h 526320"/>
                  <a:gd name="connsiteX0" fmla="*/ 701021 w 708500"/>
                  <a:gd name="connsiteY0" fmla="*/ 403992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11815 w 712527"/>
                  <a:gd name="connsiteY0" fmla="*/ 418383 h 526320"/>
                  <a:gd name="connsiteX1" fmla="*/ 708219 w 712527"/>
                  <a:gd name="connsiteY1" fmla="*/ 1807 h 526320"/>
                  <a:gd name="connsiteX2" fmla="*/ 0 w 712527"/>
                  <a:gd name="connsiteY2" fmla="*/ 1807 h 526320"/>
                  <a:gd name="connsiteX3" fmla="*/ 0 w 712527"/>
                  <a:gd name="connsiteY3" fmla="*/ 526320 h 526320"/>
                  <a:gd name="connsiteX4" fmla="*/ 0 w 712527"/>
                  <a:gd name="connsiteY4" fmla="*/ 526320 h 526320"/>
                  <a:gd name="connsiteX5" fmla="*/ 0 w 712527"/>
                  <a:gd name="connsiteY5" fmla="*/ 526320 h 526320"/>
                  <a:gd name="connsiteX6" fmla="*/ 49804 w 712527"/>
                  <a:gd name="connsiteY6" fmla="*/ 522722 h 526320"/>
                  <a:gd name="connsiteX0" fmla="*/ 701021 w 708500"/>
                  <a:gd name="connsiteY0" fmla="*/ 407589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04619 w 708730"/>
                  <a:gd name="connsiteY0" fmla="*/ 411187 h 526320"/>
                  <a:gd name="connsiteX1" fmla="*/ 708219 w 708730"/>
                  <a:gd name="connsiteY1" fmla="*/ 1807 h 526320"/>
                  <a:gd name="connsiteX2" fmla="*/ 0 w 708730"/>
                  <a:gd name="connsiteY2" fmla="*/ 1807 h 526320"/>
                  <a:gd name="connsiteX3" fmla="*/ 0 w 708730"/>
                  <a:gd name="connsiteY3" fmla="*/ 526320 h 526320"/>
                  <a:gd name="connsiteX4" fmla="*/ 0 w 708730"/>
                  <a:gd name="connsiteY4" fmla="*/ 526320 h 526320"/>
                  <a:gd name="connsiteX5" fmla="*/ 0 w 708730"/>
                  <a:gd name="connsiteY5" fmla="*/ 526320 h 526320"/>
                  <a:gd name="connsiteX6" fmla="*/ 49804 w 708730"/>
                  <a:gd name="connsiteY6" fmla="*/ 522722 h 526320"/>
                  <a:gd name="connsiteX0" fmla="*/ 704619 w 709416"/>
                  <a:gd name="connsiteY0" fmla="*/ 411187 h 526320"/>
                  <a:gd name="connsiteX1" fmla="*/ 708219 w 709416"/>
                  <a:gd name="connsiteY1" fmla="*/ 1807 h 526320"/>
                  <a:gd name="connsiteX2" fmla="*/ 0 w 709416"/>
                  <a:gd name="connsiteY2" fmla="*/ 1807 h 526320"/>
                  <a:gd name="connsiteX3" fmla="*/ 0 w 709416"/>
                  <a:gd name="connsiteY3" fmla="*/ 526320 h 526320"/>
                  <a:gd name="connsiteX4" fmla="*/ 0 w 709416"/>
                  <a:gd name="connsiteY4" fmla="*/ 526320 h 526320"/>
                  <a:gd name="connsiteX5" fmla="*/ 0 w 709416"/>
                  <a:gd name="connsiteY5" fmla="*/ 526320 h 526320"/>
                  <a:gd name="connsiteX6" fmla="*/ 49804 w 709416"/>
                  <a:gd name="connsiteY6" fmla="*/ 522722 h 526320"/>
                  <a:gd name="connsiteX0" fmla="*/ 709655 w 712327"/>
                  <a:gd name="connsiteY0" fmla="*/ 412866 h 526320"/>
                  <a:gd name="connsiteX1" fmla="*/ 708219 w 712327"/>
                  <a:gd name="connsiteY1" fmla="*/ 1807 h 526320"/>
                  <a:gd name="connsiteX2" fmla="*/ 0 w 712327"/>
                  <a:gd name="connsiteY2" fmla="*/ 1807 h 526320"/>
                  <a:gd name="connsiteX3" fmla="*/ 0 w 712327"/>
                  <a:gd name="connsiteY3" fmla="*/ 526320 h 526320"/>
                  <a:gd name="connsiteX4" fmla="*/ 0 w 712327"/>
                  <a:gd name="connsiteY4" fmla="*/ 526320 h 526320"/>
                  <a:gd name="connsiteX5" fmla="*/ 0 w 712327"/>
                  <a:gd name="connsiteY5" fmla="*/ 526320 h 526320"/>
                  <a:gd name="connsiteX6" fmla="*/ 49804 w 712327"/>
                  <a:gd name="connsiteY6" fmla="*/ 522722 h 526320"/>
                  <a:gd name="connsiteX0" fmla="*/ 709655 w 709655"/>
                  <a:gd name="connsiteY0" fmla="*/ 412866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9655 w 709655"/>
                  <a:gd name="connsiteY0" fmla="*/ 412866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6298 w 708527"/>
                  <a:gd name="connsiteY0" fmla="*/ 409509 h 526320"/>
                  <a:gd name="connsiteX1" fmla="*/ 708219 w 708527"/>
                  <a:gd name="connsiteY1" fmla="*/ 1807 h 526320"/>
                  <a:gd name="connsiteX2" fmla="*/ 0 w 708527"/>
                  <a:gd name="connsiteY2" fmla="*/ 1807 h 526320"/>
                  <a:gd name="connsiteX3" fmla="*/ 0 w 708527"/>
                  <a:gd name="connsiteY3" fmla="*/ 526320 h 526320"/>
                  <a:gd name="connsiteX4" fmla="*/ 0 w 708527"/>
                  <a:gd name="connsiteY4" fmla="*/ 526320 h 526320"/>
                  <a:gd name="connsiteX5" fmla="*/ 0 w 708527"/>
                  <a:gd name="connsiteY5" fmla="*/ 526320 h 526320"/>
                  <a:gd name="connsiteX6" fmla="*/ 49804 w 708527"/>
                  <a:gd name="connsiteY6" fmla="*/ 522722 h 526320"/>
                  <a:gd name="connsiteX0" fmla="*/ 708816 w 708816"/>
                  <a:gd name="connsiteY0" fmla="*/ 408670 h 526320"/>
                  <a:gd name="connsiteX1" fmla="*/ 708219 w 708816"/>
                  <a:gd name="connsiteY1" fmla="*/ 1807 h 526320"/>
                  <a:gd name="connsiteX2" fmla="*/ 0 w 708816"/>
                  <a:gd name="connsiteY2" fmla="*/ 1807 h 526320"/>
                  <a:gd name="connsiteX3" fmla="*/ 0 w 708816"/>
                  <a:gd name="connsiteY3" fmla="*/ 526320 h 526320"/>
                  <a:gd name="connsiteX4" fmla="*/ 0 w 708816"/>
                  <a:gd name="connsiteY4" fmla="*/ 526320 h 526320"/>
                  <a:gd name="connsiteX5" fmla="*/ 0 w 708816"/>
                  <a:gd name="connsiteY5" fmla="*/ 526320 h 526320"/>
                  <a:gd name="connsiteX6" fmla="*/ 49804 w 708816"/>
                  <a:gd name="connsiteY6" fmla="*/ 522722 h 526320"/>
                  <a:gd name="connsiteX0" fmla="*/ 709655 w 709655"/>
                  <a:gd name="connsiteY0" fmla="*/ 409509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9655 w 709655"/>
                  <a:gd name="connsiteY0" fmla="*/ 409509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9655 w 709655"/>
                  <a:gd name="connsiteY0" fmla="*/ 409509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0" fmla="*/ 709854 w 709854"/>
                  <a:gd name="connsiteY0" fmla="*/ 409509 h 527006"/>
                  <a:gd name="connsiteX1" fmla="*/ 708418 w 709854"/>
                  <a:gd name="connsiteY1" fmla="*/ 1807 h 527006"/>
                  <a:gd name="connsiteX2" fmla="*/ 199 w 709854"/>
                  <a:gd name="connsiteY2" fmla="*/ 1807 h 527006"/>
                  <a:gd name="connsiteX3" fmla="*/ 199 w 709854"/>
                  <a:gd name="connsiteY3" fmla="*/ 526320 h 527006"/>
                  <a:gd name="connsiteX4" fmla="*/ 199 w 709854"/>
                  <a:gd name="connsiteY4" fmla="*/ 526320 h 527006"/>
                  <a:gd name="connsiteX5" fmla="*/ 199 w 709854"/>
                  <a:gd name="connsiteY5" fmla="*/ 526320 h 527006"/>
                  <a:gd name="connsiteX6" fmla="*/ 0 w 709854"/>
                  <a:gd name="connsiteY6" fmla="*/ 527006 h 527006"/>
                  <a:gd name="connsiteX0" fmla="*/ 709656 w 709656"/>
                  <a:gd name="connsiteY0" fmla="*/ 409509 h 532881"/>
                  <a:gd name="connsiteX1" fmla="*/ 708220 w 709656"/>
                  <a:gd name="connsiteY1" fmla="*/ 1807 h 532881"/>
                  <a:gd name="connsiteX2" fmla="*/ 1 w 709656"/>
                  <a:gd name="connsiteY2" fmla="*/ 1807 h 532881"/>
                  <a:gd name="connsiteX3" fmla="*/ 1 w 709656"/>
                  <a:gd name="connsiteY3" fmla="*/ 526320 h 532881"/>
                  <a:gd name="connsiteX4" fmla="*/ 1 w 709656"/>
                  <a:gd name="connsiteY4" fmla="*/ 526320 h 532881"/>
                  <a:gd name="connsiteX5" fmla="*/ 1 w 709656"/>
                  <a:gd name="connsiteY5" fmla="*/ 526320 h 532881"/>
                  <a:gd name="connsiteX6" fmla="*/ 107232 w 709656"/>
                  <a:gd name="connsiteY6" fmla="*/ 532881 h 532881"/>
                  <a:gd name="connsiteX0" fmla="*/ 709656 w 709656"/>
                  <a:gd name="connsiteY0" fmla="*/ 409509 h 526327"/>
                  <a:gd name="connsiteX1" fmla="*/ 708220 w 709656"/>
                  <a:gd name="connsiteY1" fmla="*/ 1807 h 526327"/>
                  <a:gd name="connsiteX2" fmla="*/ 1 w 709656"/>
                  <a:gd name="connsiteY2" fmla="*/ 1807 h 526327"/>
                  <a:gd name="connsiteX3" fmla="*/ 1 w 709656"/>
                  <a:gd name="connsiteY3" fmla="*/ 526320 h 526327"/>
                  <a:gd name="connsiteX4" fmla="*/ 1 w 709656"/>
                  <a:gd name="connsiteY4" fmla="*/ 526320 h 526327"/>
                  <a:gd name="connsiteX5" fmla="*/ 1 w 709656"/>
                  <a:gd name="connsiteY5" fmla="*/ 526320 h 526327"/>
                  <a:gd name="connsiteX6" fmla="*/ 327968 w 709656"/>
                  <a:gd name="connsiteY6" fmla="*/ 525327 h 526327"/>
                  <a:gd name="connsiteX0" fmla="*/ 709656 w 709656"/>
                  <a:gd name="connsiteY0" fmla="*/ 409509 h 526340"/>
                  <a:gd name="connsiteX1" fmla="*/ 708220 w 709656"/>
                  <a:gd name="connsiteY1" fmla="*/ 1807 h 526340"/>
                  <a:gd name="connsiteX2" fmla="*/ 1 w 709656"/>
                  <a:gd name="connsiteY2" fmla="*/ 1807 h 526340"/>
                  <a:gd name="connsiteX3" fmla="*/ 1 w 709656"/>
                  <a:gd name="connsiteY3" fmla="*/ 526320 h 526340"/>
                  <a:gd name="connsiteX4" fmla="*/ 1 w 709656"/>
                  <a:gd name="connsiteY4" fmla="*/ 526320 h 526340"/>
                  <a:gd name="connsiteX5" fmla="*/ 1 w 709656"/>
                  <a:gd name="connsiteY5" fmla="*/ 526320 h 526340"/>
                  <a:gd name="connsiteX6" fmla="*/ 324611 w 709656"/>
                  <a:gd name="connsiteY6" fmla="*/ 526166 h 526340"/>
                  <a:gd name="connsiteX0" fmla="*/ 709656 w 709656"/>
                  <a:gd name="connsiteY0" fmla="*/ 409509 h 526324"/>
                  <a:gd name="connsiteX1" fmla="*/ 708220 w 709656"/>
                  <a:gd name="connsiteY1" fmla="*/ 1807 h 526324"/>
                  <a:gd name="connsiteX2" fmla="*/ 1 w 709656"/>
                  <a:gd name="connsiteY2" fmla="*/ 1807 h 526324"/>
                  <a:gd name="connsiteX3" fmla="*/ 1 w 709656"/>
                  <a:gd name="connsiteY3" fmla="*/ 526320 h 526324"/>
                  <a:gd name="connsiteX4" fmla="*/ 1 w 709656"/>
                  <a:gd name="connsiteY4" fmla="*/ 526320 h 526324"/>
                  <a:gd name="connsiteX5" fmla="*/ 1 w 709656"/>
                  <a:gd name="connsiteY5" fmla="*/ 526320 h 526324"/>
                  <a:gd name="connsiteX6" fmla="*/ 329647 w 709656"/>
                  <a:gd name="connsiteY6" fmla="*/ 524487 h 526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9656" h="526324">
                    <a:moveTo>
                      <a:pt x="709656" y="409509"/>
                    </a:moveTo>
                    <a:cubicBezTo>
                      <a:pt x="707261" y="256260"/>
                      <a:pt x="709925" y="178574"/>
                      <a:pt x="708220" y="1807"/>
                    </a:cubicBezTo>
                    <a:cubicBezTo>
                      <a:pt x="487044" y="-2261"/>
                      <a:pt x="236074" y="1807"/>
                      <a:pt x="1" y="1807"/>
                    </a:cubicBezTo>
                    <a:lnTo>
                      <a:pt x="1" y="526320"/>
                    </a:lnTo>
                    <a:lnTo>
                      <a:pt x="1" y="526320"/>
                    </a:lnTo>
                    <a:lnTo>
                      <a:pt x="1" y="526320"/>
                    </a:lnTo>
                    <a:cubicBezTo>
                      <a:pt x="-32" y="526434"/>
                      <a:pt x="329688" y="524344"/>
                      <a:pt x="329647" y="524487"/>
                    </a:cubicBezTo>
                  </a:path>
                </a:pathLst>
              </a:custGeom>
              <a:noFill/>
              <a:ln w="19050" cap="sq">
                <a:solidFill>
                  <a:schemeClr val="tx2"/>
                </a:solidFill>
                <a:prstDash val="solid"/>
                <a:miter/>
              </a:ln>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p>
            </p:txBody>
          </p:sp>
          <p:sp>
            <p:nvSpPr>
              <p:cNvPr id="40" name="Freeform 6">
                <a:extLst>
                  <a:ext uri="{FF2B5EF4-FFF2-40B4-BE49-F238E27FC236}">
                    <a16:creationId xmlns:a16="http://schemas.microsoft.com/office/drawing/2014/main" id="{A85CBFCB-A7C9-40A8-A6A0-D0B8D57D720D}"/>
                  </a:ext>
                </a:extLst>
              </p:cNvPr>
              <p:cNvSpPr>
                <a:spLocks noEditPoints="1"/>
              </p:cNvSpPr>
              <p:nvPr/>
            </p:nvSpPr>
            <p:spPr bwMode="auto">
              <a:xfrm>
                <a:off x="13294153" y="4852843"/>
                <a:ext cx="1945848" cy="1742143"/>
              </a:xfrm>
              <a:custGeom>
                <a:avLst/>
                <a:gdLst>
                  <a:gd name="T0" fmla="*/ 4 w 363"/>
                  <a:gd name="T1" fmla="*/ 325 h 325"/>
                  <a:gd name="T2" fmla="*/ 4 w 363"/>
                  <a:gd name="T3" fmla="*/ 277 h 325"/>
                  <a:gd name="T4" fmla="*/ 52 w 363"/>
                  <a:gd name="T5" fmla="*/ 325 h 325"/>
                  <a:gd name="T6" fmla="*/ 52 w 363"/>
                  <a:gd name="T7" fmla="*/ 229 h 325"/>
                  <a:gd name="T8" fmla="*/ 100 w 363"/>
                  <a:gd name="T9" fmla="*/ 325 h 325"/>
                  <a:gd name="T10" fmla="*/ 100 w 363"/>
                  <a:gd name="T11" fmla="*/ 181 h 325"/>
                  <a:gd name="T12" fmla="*/ 147 w 363"/>
                  <a:gd name="T13" fmla="*/ 325 h 325"/>
                  <a:gd name="T14" fmla="*/ 147 w 363"/>
                  <a:gd name="T15" fmla="*/ 133 h 325"/>
                  <a:gd name="T16" fmla="*/ 195 w 363"/>
                  <a:gd name="T17" fmla="*/ 325 h 325"/>
                  <a:gd name="T18" fmla="*/ 195 w 363"/>
                  <a:gd name="T19" fmla="*/ 133 h 325"/>
                  <a:gd name="T20" fmla="*/ 243 w 363"/>
                  <a:gd name="T21" fmla="*/ 325 h 325"/>
                  <a:gd name="T22" fmla="*/ 243 w 363"/>
                  <a:gd name="T23" fmla="*/ 180 h 325"/>
                  <a:gd name="T24" fmla="*/ 291 w 363"/>
                  <a:gd name="T25" fmla="*/ 325 h 325"/>
                  <a:gd name="T26" fmla="*/ 291 w 363"/>
                  <a:gd name="T27" fmla="*/ 133 h 325"/>
                  <a:gd name="T28" fmla="*/ 339 w 363"/>
                  <a:gd name="T29" fmla="*/ 325 h 325"/>
                  <a:gd name="T30" fmla="*/ 339 w 363"/>
                  <a:gd name="T31" fmla="*/ 109 h 325"/>
                  <a:gd name="T32" fmla="*/ 362 w 363"/>
                  <a:gd name="T33" fmla="*/ 0 h 325"/>
                  <a:gd name="T34" fmla="*/ 243 w 363"/>
                  <a:gd name="T35" fmla="*/ 120 h 325"/>
                  <a:gd name="T36" fmla="*/ 171 w 363"/>
                  <a:gd name="T37" fmla="*/ 48 h 325"/>
                  <a:gd name="T38" fmla="*/ 0 w 363"/>
                  <a:gd name="T39" fmla="*/ 220 h 325"/>
                  <a:gd name="T40" fmla="*/ 363 w 363"/>
                  <a:gd name="T41" fmla="*/ 72 h 325"/>
                  <a:gd name="T42" fmla="*/ 363 w 363"/>
                  <a:gd name="T43" fmla="*/ 0 h 325"/>
                  <a:gd name="T44" fmla="*/ 291 w 363"/>
                  <a:gd name="T45" fmla="*/ 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3" h="325">
                    <a:moveTo>
                      <a:pt x="4" y="325"/>
                    </a:moveTo>
                    <a:lnTo>
                      <a:pt x="4" y="277"/>
                    </a:lnTo>
                    <a:moveTo>
                      <a:pt x="52" y="325"/>
                    </a:moveTo>
                    <a:lnTo>
                      <a:pt x="52" y="229"/>
                    </a:lnTo>
                    <a:moveTo>
                      <a:pt x="100" y="325"/>
                    </a:moveTo>
                    <a:lnTo>
                      <a:pt x="100" y="181"/>
                    </a:lnTo>
                    <a:moveTo>
                      <a:pt x="147" y="325"/>
                    </a:moveTo>
                    <a:lnTo>
                      <a:pt x="147" y="133"/>
                    </a:lnTo>
                    <a:moveTo>
                      <a:pt x="195" y="325"/>
                    </a:moveTo>
                    <a:lnTo>
                      <a:pt x="195" y="133"/>
                    </a:lnTo>
                    <a:moveTo>
                      <a:pt x="243" y="325"/>
                    </a:moveTo>
                    <a:lnTo>
                      <a:pt x="243" y="180"/>
                    </a:lnTo>
                    <a:moveTo>
                      <a:pt x="291" y="325"/>
                    </a:moveTo>
                    <a:lnTo>
                      <a:pt x="291" y="133"/>
                    </a:lnTo>
                    <a:moveTo>
                      <a:pt x="339" y="325"/>
                    </a:moveTo>
                    <a:lnTo>
                      <a:pt x="339" y="109"/>
                    </a:lnTo>
                    <a:moveTo>
                      <a:pt x="362" y="0"/>
                    </a:moveTo>
                    <a:lnTo>
                      <a:pt x="243" y="120"/>
                    </a:lnTo>
                    <a:lnTo>
                      <a:pt x="171" y="48"/>
                    </a:lnTo>
                    <a:lnTo>
                      <a:pt x="0" y="220"/>
                    </a:lnTo>
                    <a:moveTo>
                      <a:pt x="363" y="72"/>
                    </a:moveTo>
                    <a:lnTo>
                      <a:pt x="363" y="0"/>
                    </a:lnTo>
                    <a:lnTo>
                      <a:pt x="291" y="0"/>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7" name="Oval 36">
              <a:extLst>
                <a:ext uri="{FF2B5EF4-FFF2-40B4-BE49-F238E27FC236}">
                  <a16:creationId xmlns:a16="http://schemas.microsoft.com/office/drawing/2014/main" id="{95297271-E24D-4737-B58C-5DBC32857A42}"/>
                </a:ext>
              </a:extLst>
            </p:cNvPr>
            <p:cNvSpPr/>
            <p:nvPr/>
          </p:nvSpPr>
          <p:spPr bwMode="auto">
            <a:xfrm>
              <a:off x="9451220" y="3231556"/>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sp>
        <p:nvSpPr>
          <p:cNvPr id="4" name="TextBox 3">
            <a:extLst>
              <a:ext uri="{FF2B5EF4-FFF2-40B4-BE49-F238E27FC236}">
                <a16:creationId xmlns:a16="http://schemas.microsoft.com/office/drawing/2014/main" id="{9BD53ABD-09E9-41C7-BF52-950495235252}"/>
              </a:ext>
            </a:extLst>
          </p:cNvPr>
          <p:cNvSpPr txBox="1"/>
          <p:nvPr/>
        </p:nvSpPr>
        <p:spPr>
          <a:xfrm>
            <a:off x="225749" y="1988543"/>
            <a:ext cx="5983665" cy="2846933"/>
          </a:xfrm>
          <a:prstGeom prst="rect">
            <a:avLst/>
          </a:prstGeom>
          <a:noFill/>
        </p:spPr>
        <p:txBody>
          <a:bodyPr wrap="square" lIns="182880" tIns="146304" rIns="182880" bIns="146304" rtlCol="0">
            <a:spAutoFit/>
          </a:bodyPr>
          <a:lstStyle/>
          <a:p>
            <a:pPr marL="285750" indent="-285750">
              <a:lnSpc>
                <a:spcPct val="90000"/>
              </a:lnSpc>
              <a:spcAft>
                <a:spcPts val="1200"/>
              </a:spcAft>
              <a:buFont typeface="Arial" panose="020B0604020202020204" pitchFamily="34" charset="0"/>
              <a:buChar char="•"/>
            </a:pPr>
            <a:r>
              <a:rPr lang="en-US">
                <a:cs typeface="Segoe UI Semibold" panose="020B0702040204020203" pitchFamily="34" charset="0"/>
              </a:rPr>
              <a:t>Microsoft believes privacy is a fundamental right and will </a:t>
            </a:r>
            <a:r>
              <a:rPr lang="en-US">
                <a:solidFill>
                  <a:srgbClr val="0078D7"/>
                </a:solidFill>
                <a:latin typeface="Segoe UI Semibold" panose="020B0702040204020203" pitchFamily="34" charset="0"/>
                <a:cs typeface="Segoe UI Semibold" panose="020B0702040204020203" pitchFamily="34" charset="0"/>
              </a:rPr>
              <a:t>never share or use student data for marketing, advertising, or other commercial purposes</a:t>
            </a:r>
          </a:p>
          <a:p>
            <a:pPr marL="285750" indent="-285750">
              <a:lnSpc>
                <a:spcPct val="90000"/>
              </a:lnSpc>
              <a:spcAft>
                <a:spcPts val="1200"/>
              </a:spcAft>
              <a:buFont typeface="Arial" panose="020B0604020202020204" pitchFamily="34" charset="0"/>
              <a:buChar char="•"/>
            </a:pPr>
            <a:r>
              <a:rPr lang="en-US">
                <a:cs typeface="Segoe UI Semibold" panose="020B0702040204020203" pitchFamily="34" charset="0"/>
              </a:rPr>
              <a:t>Windows 10 provides clear privacy settings and controls so schools can </a:t>
            </a:r>
            <a:r>
              <a:rPr lang="en-US">
                <a:solidFill>
                  <a:srgbClr val="0078D7"/>
                </a:solidFill>
                <a:latin typeface="Segoe UI Semibold" panose="020B0702040204020203" pitchFamily="34" charset="0"/>
                <a:cs typeface="Segoe UI Semibold" panose="020B0702040204020203" pitchFamily="34" charset="0"/>
              </a:rPr>
              <a:t>easily set up the security and protection they need</a:t>
            </a:r>
          </a:p>
          <a:p>
            <a:pPr marL="285750" indent="-285750">
              <a:lnSpc>
                <a:spcPct val="90000"/>
              </a:lnSpc>
              <a:spcAft>
                <a:spcPts val="1200"/>
              </a:spcAft>
              <a:buFont typeface="Arial" panose="020B0604020202020204" pitchFamily="34" charset="0"/>
              <a:buChar char="•"/>
            </a:pPr>
            <a:r>
              <a:rPr lang="en-US">
                <a:cs typeface="Segoe UI Semibold" panose="020B0702040204020203" pitchFamily="34" charset="0"/>
              </a:rPr>
              <a:t>Microsoft Edge, the default Windows browser, supports an </a:t>
            </a:r>
            <a:r>
              <a:rPr lang="en-US">
                <a:solidFill>
                  <a:srgbClr val="0078D7"/>
                </a:solidFill>
                <a:latin typeface="Segoe UI Semibold" panose="020B0702040204020203" pitchFamily="34" charset="0"/>
                <a:cs typeface="Segoe UI Semibold" panose="020B0702040204020203" pitchFamily="34" charset="0"/>
              </a:rPr>
              <a:t>ad-free Bing search experience for K-12 students</a:t>
            </a:r>
          </a:p>
        </p:txBody>
      </p:sp>
      <p:grpSp>
        <p:nvGrpSpPr>
          <p:cNvPr id="5" name="Group 4" descr="Newspapers with headlines about Google and Android monitoring students">
            <a:extLst>
              <a:ext uri="{FF2B5EF4-FFF2-40B4-BE49-F238E27FC236}">
                <a16:creationId xmlns:a16="http://schemas.microsoft.com/office/drawing/2014/main" id="{65AF2FF9-521D-400E-BDC8-517FEEA49B64}"/>
              </a:ext>
            </a:extLst>
          </p:cNvPr>
          <p:cNvGrpSpPr/>
          <p:nvPr/>
        </p:nvGrpSpPr>
        <p:grpSpPr>
          <a:xfrm>
            <a:off x="6651239" y="2037725"/>
            <a:ext cx="5251467" cy="3407131"/>
            <a:chOff x="6495096" y="2731584"/>
            <a:chExt cx="5564214" cy="3699754"/>
          </a:xfrm>
        </p:grpSpPr>
        <p:grpSp>
          <p:nvGrpSpPr>
            <p:cNvPr id="19" name="Group 18">
              <a:extLst>
                <a:ext uri="{FF2B5EF4-FFF2-40B4-BE49-F238E27FC236}">
                  <a16:creationId xmlns:a16="http://schemas.microsoft.com/office/drawing/2014/main" id="{BAD4D20F-89D9-4417-9664-11C372EE5E5D}"/>
                </a:ext>
              </a:extLst>
            </p:cNvPr>
            <p:cNvGrpSpPr/>
            <p:nvPr/>
          </p:nvGrpSpPr>
          <p:grpSpPr>
            <a:xfrm rot="20676660">
              <a:off x="6495096" y="4472313"/>
              <a:ext cx="2917299" cy="1959025"/>
              <a:chOff x="2779261" y="4583606"/>
              <a:chExt cx="2790266" cy="2061094"/>
            </a:xfrm>
          </p:grpSpPr>
          <p:sp>
            <p:nvSpPr>
              <p:cNvPr id="67" name="Rectangle 66">
                <a:extLst>
                  <a:ext uri="{FF2B5EF4-FFF2-40B4-BE49-F238E27FC236}">
                    <a16:creationId xmlns:a16="http://schemas.microsoft.com/office/drawing/2014/main" id="{E408C37F-D305-497D-8036-2788238E10B4}"/>
                  </a:ext>
                </a:extLst>
              </p:cNvPr>
              <p:cNvSpPr/>
              <p:nvPr/>
            </p:nvSpPr>
            <p:spPr>
              <a:xfrm rot="424330">
                <a:off x="2779261" y="4583606"/>
                <a:ext cx="2790266" cy="206109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a:ea typeface="+mn-ea"/>
                  <a:cs typeface="+mn-cs"/>
                </a:endParaRPr>
              </a:p>
            </p:txBody>
          </p:sp>
          <p:cxnSp>
            <p:nvCxnSpPr>
              <p:cNvPr id="68" name="Straight Connector 67">
                <a:extLst>
                  <a:ext uri="{FF2B5EF4-FFF2-40B4-BE49-F238E27FC236}">
                    <a16:creationId xmlns:a16="http://schemas.microsoft.com/office/drawing/2014/main" id="{3C420030-686C-48E6-98AA-49DDA49EBE48}"/>
                  </a:ext>
                </a:extLst>
              </p:cNvPr>
              <p:cNvCxnSpPr/>
              <p:nvPr/>
            </p:nvCxnSpPr>
            <p:spPr>
              <a:xfrm rot="424330">
                <a:off x="3040611" y="4926497"/>
                <a:ext cx="2415454"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69" name="Group 68">
                <a:extLst>
                  <a:ext uri="{FF2B5EF4-FFF2-40B4-BE49-F238E27FC236}">
                    <a16:creationId xmlns:a16="http://schemas.microsoft.com/office/drawing/2014/main" id="{30044EB9-C681-4FCB-8086-695E7B650E12}"/>
                  </a:ext>
                </a:extLst>
              </p:cNvPr>
              <p:cNvGrpSpPr/>
              <p:nvPr/>
            </p:nvGrpSpPr>
            <p:grpSpPr>
              <a:xfrm rot="424330">
                <a:off x="2997091" y="4694614"/>
                <a:ext cx="2436285" cy="1174167"/>
                <a:chOff x="2945105" y="6003284"/>
                <a:chExt cx="2436285" cy="1174167"/>
              </a:xfrm>
            </p:grpSpPr>
            <p:sp>
              <p:nvSpPr>
                <p:cNvPr id="80" name="Rectangle 79">
                  <a:extLst>
                    <a:ext uri="{FF2B5EF4-FFF2-40B4-BE49-F238E27FC236}">
                      <a16:creationId xmlns:a16="http://schemas.microsoft.com/office/drawing/2014/main" id="{C698097C-C0E4-4BE3-8A69-85A7E80390B0}"/>
                    </a:ext>
                  </a:extLst>
                </p:cNvPr>
                <p:cNvSpPr/>
                <p:nvPr/>
              </p:nvSpPr>
              <p:spPr>
                <a:xfrm flipH="1">
                  <a:off x="2945105" y="6277356"/>
                  <a:ext cx="2436285" cy="738408"/>
                </a:xfrm>
                <a:prstGeom prst="rect">
                  <a:avLst/>
                </a:prstGeom>
                <a:noFill/>
              </p:spPr>
              <p:txBody>
                <a:bodyPr wrap="square" lIns="0" tIns="0" rIns="0" bIns="0">
                  <a:spAutoFit/>
                </a:bodyPr>
                <a:lstStyle/>
                <a:p>
                  <a:pPr marL="0" marR="0" lvl="0" indent="0" algn="l" defTabSz="914060" rtl="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a:ln>
                        <a:noFill/>
                      </a:ln>
                      <a:solidFill>
                        <a:srgbClr val="353535"/>
                      </a:solidFill>
                      <a:effectLst/>
                      <a:uLnTx/>
                      <a:uFillTx/>
                      <a:latin typeface="Times New Roman" panose="02020603050405020304" pitchFamily="18" charset="0"/>
                      <a:ea typeface="+mn-ea"/>
                      <a:cs typeface="Times New Roman" panose="02020603050405020304" pitchFamily="18" charset="0"/>
                    </a:rPr>
                    <a:t>Arizona sues Google over allegations it illegally tracked users’ locations</a:t>
                  </a:r>
                  <a:r>
                    <a:rPr kumimoji="0" lang="en-US" sz="1400" b="1" i="0" u="none" strike="noStrike" kern="0" cap="none" spc="0" normalizeH="0" baseline="30000" noProof="0">
                      <a:ln>
                        <a:noFill/>
                      </a:ln>
                      <a:solidFill>
                        <a:srgbClr val="353535"/>
                      </a:solidFill>
                      <a:effectLst/>
                      <a:uLnTx/>
                      <a:uFillTx/>
                      <a:latin typeface="Segoe UI"/>
                      <a:ea typeface="+mn-ea"/>
                      <a:cs typeface="Segoe UI Semibold" panose="020B0702040204020203" pitchFamily="34" charset="0"/>
                    </a:rPr>
                    <a:t>2</a:t>
                  </a:r>
                  <a:endParaRPr kumimoji="0" lang="en-US" sz="1400" b="1" i="0" u="none" strike="noStrike" kern="0" cap="none" spc="0" normalizeH="0" baseline="0" noProof="0">
                    <a:ln>
                      <a:noFill/>
                    </a:ln>
                    <a:solidFill>
                      <a:srgbClr val="353535"/>
                    </a:solidFill>
                    <a:effectLst/>
                    <a:uLnTx/>
                    <a:uFillTx/>
                    <a:latin typeface="Times New Roman" panose="02020603050405020304" pitchFamily="18" charset="0"/>
                    <a:ea typeface="+mn-ea"/>
                    <a:cs typeface="Times New Roman" panose="02020603050405020304" pitchFamily="18" charset="0"/>
                  </a:endParaRPr>
                </a:p>
              </p:txBody>
            </p:sp>
            <p:sp>
              <p:nvSpPr>
                <p:cNvPr id="81" name="Rectangle 80">
                  <a:extLst>
                    <a:ext uri="{FF2B5EF4-FFF2-40B4-BE49-F238E27FC236}">
                      <a16:creationId xmlns:a16="http://schemas.microsoft.com/office/drawing/2014/main" id="{B470B409-D9BF-4767-9604-A43B9DE5AD00}"/>
                    </a:ext>
                  </a:extLst>
                </p:cNvPr>
                <p:cNvSpPr/>
                <p:nvPr/>
              </p:nvSpPr>
              <p:spPr>
                <a:xfrm>
                  <a:off x="2946307" y="7019074"/>
                  <a:ext cx="2373851" cy="158377"/>
                </a:xfrm>
                <a:prstGeom prst="rect">
                  <a:avLst/>
                </a:prstGeom>
              </p:spPr>
              <p:txBody>
                <a:bodyPr wrap="square" lIns="0" tIns="0" rIns="0" bIns="0">
                  <a:spAutoFit/>
                </a:bodyPr>
                <a:lstStyle/>
                <a:p>
                  <a:pPr marL="0" marR="0" lvl="0" indent="0" algn="l" defTabSz="914060" rtl="0" eaLnBrk="1" fontAlgn="auto" latinLnBrk="0" hangingPunct="1">
                    <a:lnSpc>
                      <a:spcPct val="90000"/>
                    </a:lnSpc>
                    <a:spcBef>
                      <a:spcPts val="0"/>
                    </a:spcBef>
                    <a:spcAft>
                      <a:spcPts val="600"/>
                    </a:spcAft>
                    <a:buClrTx/>
                    <a:buSzTx/>
                    <a:buFontTx/>
                    <a:buNone/>
                    <a:tabLst/>
                    <a:defRPr/>
                  </a:pPr>
                  <a:r>
                    <a:rPr kumimoji="0" lang="en-US" sz="1001" b="0" i="1" u="none" strike="noStrike" kern="0" cap="none" spc="0" normalizeH="0" baseline="0" noProof="0">
                      <a:ln>
                        <a:noFill/>
                      </a:ln>
                      <a:solidFill>
                        <a:srgbClr val="353535"/>
                      </a:solidFill>
                      <a:effectLst/>
                      <a:uLnTx/>
                      <a:uFillTx/>
                      <a:latin typeface="Times New Roman" panose="02020603050405020304" pitchFamily="18" charset="0"/>
                      <a:ea typeface="+mn-ea"/>
                      <a:cs typeface="Times New Roman" panose="02020603050405020304" pitchFamily="18" charset="0"/>
                    </a:rPr>
                    <a:t>May 2020</a:t>
                  </a:r>
                </a:p>
              </p:txBody>
            </p:sp>
            <p:sp>
              <p:nvSpPr>
                <p:cNvPr id="82" name="Rectangle 81">
                  <a:extLst>
                    <a:ext uri="{FF2B5EF4-FFF2-40B4-BE49-F238E27FC236}">
                      <a16:creationId xmlns:a16="http://schemas.microsoft.com/office/drawing/2014/main" id="{9995F52A-0B87-4113-9F68-F02FA2B44F17}"/>
                    </a:ext>
                  </a:extLst>
                </p:cNvPr>
                <p:cNvSpPr/>
                <p:nvPr/>
              </p:nvSpPr>
              <p:spPr>
                <a:xfrm>
                  <a:off x="2958599" y="6003284"/>
                  <a:ext cx="2373851" cy="158377"/>
                </a:xfrm>
                <a:prstGeom prst="rect">
                  <a:avLst/>
                </a:prstGeom>
              </p:spPr>
              <p:txBody>
                <a:bodyPr wrap="square" lIns="0" tIns="0" rIns="0" bIns="0">
                  <a:spAutoFit/>
                </a:bodyPr>
                <a:lstStyle/>
                <a:p>
                  <a:pPr marL="0" marR="0" lvl="0" indent="0" algn="l" defTabSz="914060" rtl="0" eaLnBrk="1" fontAlgn="auto" latinLnBrk="0" hangingPunct="1">
                    <a:lnSpc>
                      <a:spcPct val="90000"/>
                    </a:lnSpc>
                    <a:spcBef>
                      <a:spcPts val="0"/>
                    </a:spcBef>
                    <a:spcAft>
                      <a:spcPts val="600"/>
                    </a:spcAft>
                    <a:buClrTx/>
                    <a:buSzTx/>
                    <a:buFontTx/>
                    <a:buNone/>
                    <a:tabLst/>
                    <a:defRPr/>
                  </a:pPr>
                  <a:r>
                    <a:rPr kumimoji="0" lang="en-US" sz="1001" b="1" i="0" u="none" strike="noStrike" kern="0" cap="none" spc="0" normalizeH="0" baseline="0" noProof="0">
                      <a:ln>
                        <a:noFill/>
                      </a:ln>
                      <a:solidFill>
                        <a:srgbClr val="353535"/>
                      </a:solidFill>
                      <a:effectLst/>
                      <a:uLnTx/>
                      <a:uFillTx/>
                      <a:latin typeface="Times New Roman" panose="02020603050405020304" pitchFamily="18" charset="0"/>
                      <a:ea typeface="+mn-ea"/>
                      <a:cs typeface="Times New Roman" panose="02020603050405020304" pitchFamily="18" charset="0"/>
                    </a:rPr>
                    <a:t>Washington Post</a:t>
                  </a:r>
                </a:p>
              </p:txBody>
            </p:sp>
          </p:grpSp>
          <p:cxnSp>
            <p:nvCxnSpPr>
              <p:cNvPr id="70" name="Straight Connector 69">
                <a:extLst>
                  <a:ext uri="{FF2B5EF4-FFF2-40B4-BE49-F238E27FC236}">
                    <a16:creationId xmlns:a16="http://schemas.microsoft.com/office/drawing/2014/main" id="{B15E0AF5-F366-451E-82B4-25D012813F59}"/>
                  </a:ext>
                </a:extLst>
              </p:cNvPr>
              <p:cNvCxnSpPr/>
              <p:nvPr/>
            </p:nvCxnSpPr>
            <p:spPr>
              <a:xfrm rot="424330">
                <a:off x="2917852" y="6016806"/>
                <a:ext cx="2415454"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679AF75F-9192-414F-894F-925EC2E9CB1E}"/>
                  </a:ext>
                </a:extLst>
              </p:cNvPr>
              <p:cNvSpPr/>
              <p:nvPr/>
            </p:nvSpPr>
            <p:spPr>
              <a:xfrm rot="424330">
                <a:off x="2879981" y="6011121"/>
                <a:ext cx="1003766" cy="2746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a:ea typeface="+mn-ea"/>
                  <a:cs typeface="+mn-cs"/>
                </a:endParaRPr>
              </a:p>
            </p:txBody>
          </p:sp>
          <p:cxnSp>
            <p:nvCxnSpPr>
              <p:cNvPr id="72" name="Straight Connector 71">
                <a:extLst>
                  <a:ext uri="{FF2B5EF4-FFF2-40B4-BE49-F238E27FC236}">
                    <a16:creationId xmlns:a16="http://schemas.microsoft.com/office/drawing/2014/main" id="{6C570CF0-1591-44F3-8ACC-8042B8A27E42}"/>
                  </a:ext>
                </a:extLst>
              </p:cNvPr>
              <p:cNvCxnSpPr>
                <a:cxnSpLocks/>
              </p:cNvCxnSpPr>
              <p:nvPr/>
            </p:nvCxnSpPr>
            <p:spPr>
              <a:xfrm rot="424330">
                <a:off x="4051391" y="6206082"/>
                <a:ext cx="1246786"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267C8DD-C511-4BA9-8F34-D3C7D353FD7E}"/>
                  </a:ext>
                </a:extLst>
              </p:cNvPr>
              <p:cNvCxnSpPr>
                <a:cxnSpLocks/>
              </p:cNvCxnSpPr>
              <p:nvPr/>
            </p:nvCxnSpPr>
            <p:spPr>
              <a:xfrm rot="424330">
                <a:off x="4039470" y="6279342"/>
                <a:ext cx="507897"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132B2128-ACE6-452E-8B9F-436C280DD16E}"/>
                  </a:ext>
                </a:extLst>
              </p:cNvPr>
              <p:cNvCxnSpPr>
                <a:cxnSpLocks/>
              </p:cNvCxnSpPr>
              <p:nvPr/>
            </p:nvCxnSpPr>
            <p:spPr>
              <a:xfrm rot="424330">
                <a:off x="4024738" y="6398088"/>
                <a:ext cx="507897"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80959ABA-4172-4C21-963B-5534B7B7EC43}"/>
                  </a:ext>
                </a:extLst>
              </p:cNvPr>
              <p:cNvCxnSpPr>
                <a:cxnSpLocks/>
              </p:cNvCxnSpPr>
              <p:nvPr/>
            </p:nvCxnSpPr>
            <p:spPr>
              <a:xfrm rot="424330">
                <a:off x="4010006" y="6516834"/>
                <a:ext cx="507897"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275BB032-B393-43D3-B3D4-3AE42E78574D}"/>
                  </a:ext>
                </a:extLst>
              </p:cNvPr>
              <p:cNvSpPr/>
              <p:nvPr/>
            </p:nvSpPr>
            <p:spPr>
              <a:xfrm rot="424330">
                <a:off x="4640845" y="6306333"/>
                <a:ext cx="628955" cy="295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a:ea typeface="+mn-ea"/>
                  <a:cs typeface="+mn-cs"/>
                </a:endParaRPr>
              </a:p>
            </p:txBody>
          </p:sp>
          <p:grpSp>
            <p:nvGrpSpPr>
              <p:cNvPr id="77" name="Group 76">
                <a:extLst>
                  <a:ext uri="{FF2B5EF4-FFF2-40B4-BE49-F238E27FC236}">
                    <a16:creationId xmlns:a16="http://schemas.microsoft.com/office/drawing/2014/main" id="{79A4FB69-361B-43E5-8832-65B914E7174E}"/>
                  </a:ext>
                </a:extLst>
              </p:cNvPr>
              <p:cNvGrpSpPr/>
              <p:nvPr/>
            </p:nvGrpSpPr>
            <p:grpSpPr>
              <a:xfrm rot="424330">
                <a:off x="2848342" y="6403474"/>
                <a:ext cx="1003766" cy="0"/>
                <a:chOff x="2276061" y="4343400"/>
                <a:chExt cx="1630017" cy="0"/>
              </a:xfrm>
            </p:grpSpPr>
            <p:cxnSp>
              <p:nvCxnSpPr>
                <p:cNvPr id="78" name="Straight Connector 77">
                  <a:extLst>
                    <a:ext uri="{FF2B5EF4-FFF2-40B4-BE49-F238E27FC236}">
                      <a16:creationId xmlns:a16="http://schemas.microsoft.com/office/drawing/2014/main" id="{1F41A67F-0E9D-4125-8DCB-30D597B4A3B6}"/>
                    </a:ext>
                  </a:extLst>
                </p:cNvPr>
                <p:cNvCxnSpPr>
                  <a:cxnSpLocks/>
                </p:cNvCxnSpPr>
                <p:nvPr/>
              </p:nvCxnSpPr>
              <p:spPr>
                <a:xfrm>
                  <a:off x="3140765" y="4343400"/>
                  <a:ext cx="765313"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E0EFD4A-AC09-45FB-9F89-1BC409FBBFF7}"/>
                    </a:ext>
                  </a:extLst>
                </p:cNvPr>
                <p:cNvCxnSpPr>
                  <a:cxnSpLocks/>
                </p:cNvCxnSpPr>
                <p:nvPr/>
              </p:nvCxnSpPr>
              <p:spPr>
                <a:xfrm>
                  <a:off x="2276061" y="4343400"/>
                  <a:ext cx="765313"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grpSp>
          <p:nvGrpSpPr>
            <p:cNvPr id="21" name="Group 20">
              <a:extLst>
                <a:ext uri="{FF2B5EF4-FFF2-40B4-BE49-F238E27FC236}">
                  <a16:creationId xmlns:a16="http://schemas.microsoft.com/office/drawing/2014/main" id="{BB1472CB-0234-4947-BEBE-43D618B7CD94}"/>
                </a:ext>
              </a:extLst>
            </p:cNvPr>
            <p:cNvGrpSpPr/>
            <p:nvPr/>
          </p:nvGrpSpPr>
          <p:grpSpPr>
            <a:xfrm>
              <a:off x="7451386" y="2731584"/>
              <a:ext cx="3098633" cy="2080796"/>
              <a:chOff x="11118343" y="546116"/>
              <a:chExt cx="2963706" cy="2189208"/>
            </a:xfrm>
          </p:grpSpPr>
          <p:grpSp>
            <p:nvGrpSpPr>
              <p:cNvPr id="50" name="Group 49">
                <a:extLst>
                  <a:ext uri="{FF2B5EF4-FFF2-40B4-BE49-F238E27FC236}">
                    <a16:creationId xmlns:a16="http://schemas.microsoft.com/office/drawing/2014/main" id="{DFB632C3-D62B-4230-873F-DE1457B15E1B}"/>
                  </a:ext>
                </a:extLst>
              </p:cNvPr>
              <p:cNvGrpSpPr/>
              <p:nvPr/>
            </p:nvGrpSpPr>
            <p:grpSpPr>
              <a:xfrm rot="427505">
                <a:off x="11118343" y="546116"/>
                <a:ext cx="2963706" cy="2189208"/>
                <a:chOff x="10750094" y="185185"/>
                <a:chExt cx="2963706" cy="2189208"/>
              </a:xfrm>
            </p:grpSpPr>
            <p:sp>
              <p:nvSpPr>
                <p:cNvPr id="52" name="Rectangle 51">
                  <a:extLst>
                    <a:ext uri="{FF2B5EF4-FFF2-40B4-BE49-F238E27FC236}">
                      <a16:creationId xmlns:a16="http://schemas.microsoft.com/office/drawing/2014/main" id="{1C870E00-7864-4AE3-A14A-335240E2983F}"/>
                    </a:ext>
                  </a:extLst>
                </p:cNvPr>
                <p:cNvSpPr/>
                <p:nvPr/>
              </p:nvSpPr>
              <p:spPr>
                <a:xfrm>
                  <a:off x="10750094" y="185185"/>
                  <a:ext cx="2963706" cy="2189208"/>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a:ea typeface="+mn-ea"/>
                    <a:cs typeface="+mn-cs"/>
                  </a:endParaRPr>
                </a:p>
              </p:txBody>
            </p:sp>
            <p:cxnSp>
              <p:nvCxnSpPr>
                <p:cNvPr id="53" name="Straight Connector 52">
                  <a:extLst>
                    <a:ext uri="{FF2B5EF4-FFF2-40B4-BE49-F238E27FC236}">
                      <a16:creationId xmlns:a16="http://schemas.microsoft.com/office/drawing/2014/main" id="{1536DB65-4B87-4E81-9B2F-A9E248A3E65A}"/>
                    </a:ext>
                  </a:extLst>
                </p:cNvPr>
                <p:cNvCxnSpPr/>
                <p:nvPr/>
              </p:nvCxnSpPr>
              <p:spPr>
                <a:xfrm>
                  <a:off x="10917115" y="1393513"/>
                  <a:ext cx="2565597"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1B8E0A1-773A-434F-8EE6-15587F774D1A}"/>
                    </a:ext>
                  </a:extLst>
                </p:cNvPr>
                <p:cNvCxnSpPr>
                  <a:cxnSpLocks/>
                </p:cNvCxnSpPr>
                <p:nvPr/>
              </p:nvCxnSpPr>
              <p:spPr>
                <a:xfrm>
                  <a:off x="12159148" y="1597650"/>
                  <a:ext cx="1324285"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7D2B3BF-6005-4322-BCC5-A80D0FD7FD1F}"/>
                    </a:ext>
                  </a:extLst>
                </p:cNvPr>
                <p:cNvCxnSpPr>
                  <a:cxnSpLocks/>
                </p:cNvCxnSpPr>
                <p:nvPr/>
              </p:nvCxnSpPr>
              <p:spPr>
                <a:xfrm>
                  <a:off x="12150692" y="2004673"/>
                  <a:ext cx="539468"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A362C05-F753-4C50-9E1D-E5A676AA7F6F}"/>
                    </a:ext>
                  </a:extLst>
                </p:cNvPr>
                <p:cNvCxnSpPr>
                  <a:cxnSpLocks/>
                </p:cNvCxnSpPr>
                <p:nvPr/>
              </p:nvCxnSpPr>
              <p:spPr>
                <a:xfrm>
                  <a:off x="12159147" y="2120481"/>
                  <a:ext cx="539468"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C2BFC40-2075-4738-A09E-33F93CA84417}"/>
                    </a:ext>
                  </a:extLst>
                </p:cNvPr>
                <p:cNvCxnSpPr>
                  <a:cxnSpLocks/>
                </p:cNvCxnSpPr>
                <p:nvPr/>
              </p:nvCxnSpPr>
              <p:spPr>
                <a:xfrm>
                  <a:off x="12159137" y="2247577"/>
                  <a:ext cx="539468"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855764B5-114A-46AF-8049-43FA3FE8E285}"/>
                    </a:ext>
                  </a:extLst>
                </p:cNvPr>
                <p:cNvSpPr/>
                <p:nvPr/>
              </p:nvSpPr>
              <p:spPr>
                <a:xfrm>
                  <a:off x="12815592" y="1684581"/>
                  <a:ext cx="668050" cy="5648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a:ea typeface="+mn-ea"/>
                    <a:cs typeface="+mn-cs"/>
                  </a:endParaRPr>
                </a:p>
              </p:txBody>
            </p:sp>
            <p:cxnSp>
              <p:nvCxnSpPr>
                <p:cNvPr id="59" name="Straight Connector 58">
                  <a:extLst>
                    <a:ext uri="{FF2B5EF4-FFF2-40B4-BE49-F238E27FC236}">
                      <a16:creationId xmlns:a16="http://schemas.microsoft.com/office/drawing/2014/main" id="{CCADCD81-846E-465C-8BBA-98208BE52B90}"/>
                    </a:ext>
                  </a:extLst>
                </p:cNvPr>
                <p:cNvCxnSpPr/>
                <p:nvPr/>
              </p:nvCxnSpPr>
              <p:spPr>
                <a:xfrm>
                  <a:off x="10915336" y="503188"/>
                  <a:ext cx="2565597"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E6AB33BC-1CDA-46E6-A1D6-C3816135F483}"/>
                    </a:ext>
                  </a:extLst>
                </p:cNvPr>
                <p:cNvSpPr/>
                <p:nvPr/>
              </p:nvSpPr>
              <p:spPr>
                <a:xfrm>
                  <a:off x="10874271" y="1531167"/>
                  <a:ext cx="1179965" cy="7420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a:ea typeface="+mn-ea"/>
                    <a:cs typeface="+mn-cs"/>
                  </a:endParaRPr>
                </a:p>
              </p:txBody>
            </p:sp>
            <p:grpSp>
              <p:nvGrpSpPr>
                <p:cNvPr id="61" name="Group 60">
                  <a:extLst>
                    <a:ext uri="{FF2B5EF4-FFF2-40B4-BE49-F238E27FC236}">
                      <a16:creationId xmlns:a16="http://schemas.microsoft.com/office/drawing/2014/main" id="{239AE3FC-83F9-4099-B633-C78A7F19C5E7}"/>
                    </a:ext>
                  </a:extLst>
                </p:cNvPr>
                <p:cNvGrpSpPr/>
                <p:nvPr/>
              </p:nvGrpSpPr>
              <p:grpSpPr>
                <a:xfrm>
                  <a:off x="10900577" y="290022"/>
                  <a:ext cx="2715359" cy="939261"/>
                  <a:chOff x="10916375" y="265189"/>
                  <a:chExt cx="2715359" cy="939261"/>
                </a:xfrm>
              </p:grpSpPr>
              <p:sp>
                <p:nvSpPr>
                  <p:cNvPr id="64" name="Rectangle 63">
                    <a:extLst>
                      <a:ext uri="{FF2B5EF4-FFF2-40B4-BE49-F238E27FC236}">
                        <a16:creationId xmlns:a16="http://schemas.microsoft.com/office/drawing/2014/main" id="{8D49E242-67D1-4711-B9B4-77692F89137D}"/>
                      </a:ext>
                    </a:extLst>
                  </p:cNvPr>
                  <p:cNvSpPr/>
                  <p:nvPr/>
                </p:nvSpPr>
                <p:spPr>
                  <a:xfrm>
                    <a:off x="10916375" y="1046073"/>
                    <a:ext cx="2458111" cy="158377"/>
                  </a:xfrm>
                  <a:prstGeom prst="rect">
                    <a:avLst/>
                  </a:prstGeom>
                </p:spPr>
                <p:txBody>
                  <a:bodyPr wrap="square" lIns="0" tIns="0" rIns="0" bIns="0">
                    <a:spAutoFit/>
                  </a:bodyPr>
                  <a:lstStyle/>
                  <a:p>
                    <a:pPr marL="0" marR="0" lvl="0" indent="0" algn="l" defTabSz="914060" rtl="0" eaLnBrk="1" fontAlgn="auto" latinLnBrk="0" hangingPunct="1">
                      <a:lnSpc>
                        <a:spcPct val="90000"/>
                      </a:lnSpc>
                      <a:spcBef>
                        <a:spcPts val="0"/>
                      </a:spcBef>
                      <a:spcAft>
                        <a:spcPts val="600"/>
                      </a:spcAft>
                      <a:buClrTx/>
                      <a:buSzTx/>
                      <a:buFontTx/>
                      <a:buNone/>
                      <a:tabLst/>
                      <a:defRPr/>
                    </a:pPr>
                    <a:r>
                      <a:rPr kumimoji="0" lang="en-US" sz="1001" b="0" i="1" u="none" strike="noStrike" kern="0" cap="none" spc="0" normalizeH="0" baseline="0" noProof="0">
                        <a:ln>
                          <a:noFill/>
                        </a:ln>
                        <a:solidFill>
                          <a:srgbClr val="353535"/>
                        </a:solidFill>
                        <a:effectLst/>
                        <a:uLnTx/>
                        <a:uFillTx/>
                        <a:latin typeface="Times New Roman" panose="02020603050405020304" pitchFamily="18" charset="0"/>
                        <a:ea typeface="+mn-ea"/>
                        <a:cs typeface="Times New Roman" panose="02020603050405020304" pitchFamily="18" charset="0"/>
                      </a:rPr>
                      <a:t>February 2020</a:t>
                    </a:r>
                  </a:p>
                </p:txBody>
              </p:sp>
              <p:sp>
                <p:nvSpPr>
                  <p:cNvPr id="65" name="Rectangle 64">
                    <a:extLst>
                      <a:ext uri="{FF2B5EF4-FFF2-40B4-BE49-F238E27FC236}">
                        <a16:creationId xmlns:a16="http://schemas.microsoft.com/office/drawing/2014/main" id="{F1369DD3-AB6A-456B-8ECC-FC8F7A0392EE}"/>
                      </a:ext>
                    </a:extLst>
                  </p:cNvPr>
                  <p:cNvSpPr/>
                  <p:nvPr/>
                </p:nvSpPr>
                <p:spPr>
                  <a:xfrm flipH="1">
                    <a:off x="10917967" y="543812"/>
                    <a:ext cx="2713767" cy="453000"/>
                  </a:xfrm>
                  <a:prstGeom prst="rect">
                    <a:avLst/>
                  </a:prstGeom>
                  <a:noFill/>
                  <a:ln>
                    <a:noFill/>
                  </a:ln>
                </p:spPr>
                <p:txBody>
                  <a:bodyPr wrap="square" lIns="0" tIns="0" rIns="0" bIns="0">
                    <a:spAutoFit/>
                  </a:bodyPr>
                  <a:lstStyle/>
                  <a:p>
                    <a:pPr marL="0" marR="0" lvl="0" indent="0" algn="l" defTabSz="914060" rtl="0" eaLnBrk="1" fontAlgn="auto" latinLnBrk="0" hangingPunct="1">
                      <a:lnSpc>
                        <a:spcPct val="100000"/>
                      </a:lnSpc>
                      <a:spcBef>
                        <a:spcPts val="0"/>
                      </a:spcBef>
                      <a:spcAft>
                        <a:spcPts val="600"/>
                      </a:spcAft>
                      <a:buClrTx/>
                      <a:buSzTx/>
                      <a:buFontTx/>
                      <a:buNone/>
                      <a:tabLst/>
                      <a:defRPr/>
                    </a:pPr>
                    <a:r>
                      <a:rPr kumimoji="0" lang="en-US" sz="1398" b="1" i="0" u="none" strike="noStrike" kern="0" cap="none" spc="0" normalizeH="0" baseline="0" noProof="0">
                        <a:ln>
                          <a:noFill/>
                        </a:ln>
                        <a:solidFill>
                          <a:srgbClr val="353535"/>
                        </a:solidFill>
                        <a:effectLst/>
                        <a:uLnTx/>
                        <a:uFillTx/>
                        <a:latin typeface="Times New Roman" panose="02020603050405020304" pitchFamily="18" charset="0"/>
                        <a:ea typeface="+mn-ea"/>
                        <a:cs typeface="Times New Roman" panose="02020603050405020304" pitchFamily="18" charset="0"/>
                      </a:rPr>
                      <a:t>Google secretly monitors millions</a:t>
                    </a:r>
                    <a:br>
                      <a:rPr kumimoji="0" lang="en-US" sz="1398" b="1" i="0" u="none" strike="noStrike" kern="0" cap="none" spc="0" normalizeH="0" baseline="0" noProof="0">
                        <a:ln>
                          <a:noFill/>
                        </a:ln>
                        <a:solidFill>
                          <a:srgbClr val="353535"/>
                        </a:solidFill>
                        <a:effectLst/>
                        <a:uLnTx/>
                        <a:uFillTx/>
                        <a:latin typeface="Times New Roman" panose="02020603050405020304" pitchFamily="18" charset="0"/>
                        <a:ea typeface="+mn-ea"/>
                        <a:cs typeface="Times New Roman" panose="02020603050405020304" pitchFamily="18" charset="0"/>
                      </a:rPr>
                    </a:br>
                    <a:r>
                      <a:rPr kumimoji="0" lang="en-US" sz="1398" b="1" i="0" u="none" strike="noStrike" kern="0" cap="none" spc="0" normalizeH="0" baseline="0" noProof="0">
                        <a:ln>
                          <a:noFill/>
                        </a:ln>
                        <a:solidFill>
                          <a:srgbClr val="353535"/>
                        </a:solidFill>
                        <a:effectLst/>
                        <a:uLnTx/>
                        <a:uFillTx/>
                        <a:latin typeface="Times New Roman" panose="02020603050405020304" pitchFamily="18" charset="0"/>
                        <a:ea typeface="+mn-ea"/>
                        <a:cs typeface="Times New Roman" panose="02020603050405020304" pitchFamily="18" charset="0"/>
                      </a:rPr>
                      <a:t>of schoolkids, lawsuit alleges</a:t>
                    </a:r>
                    <a:r>
                      <a:rPr kumimoji="0" lang="en-US" sz="1400" b="1" i="0" u="none" strike="noStrike" kern="0" cap="none" spc="0" normalizeH="0" baseline="30000" noProof="0">
                        <a:ln>
                          <a:noFill/>
                        </a:ln>
                        <a:solidFill>
                          <a:srgbClr val="353535"/>
                        </a:solidFill>
                        <a:effectLst/>
                        <a:uLnTx/>
                        <a:uFillTx/>
                        <a:latin typeface="Segoe UI"/>
                        <a:ea typeface="+mn-ea"/>
                        <a:cs typeface="Segoe UI Semibold" panose="020B0702040204020203" pitchFamily="34" charset="0"/>
                      </a:rPr>
                      <a:t>1</a:t>
                    </a:r>
                    <a:endParaRPr kumimoji="0" lang="en-US" sz="1398" b="1" i="0" u="none" strike="noStrike" kern="0" cap="none" spc="0" normalizeH="0" baseline="0" noProof="0">
                      <a:ln>
                        <a:noFill/>
                      </a:ln>
                      <a:solidFill>
                        <a:srgbClr val="353535"/>
                      </a:solidFill>
                      <a:effectLst/>
                      <a:uLnTx/>
                      <a:uFillTx/>
                      <a:latin typeface="Times New Roman" panose="02020603050405020304" pitchFamily="18" charset="0"/>
                      <a:ea typeface="+mn-ea"/>
                      <a:cs typeface="Times New Roman" panose="02020603050405020304" pitchFamily="18" charset="0"/>
                    </a:endParaRPr>
                  </a:p>
                </p:txBody>
              </p:sp>
              <p:sp>
                <p:nvSpPr>
                  <p:cNvPr id="66" name="Rectangle 65">
                    <a:extLst>
                      <a:ext uri="{FF2B5EF4-FFF2-40B4-BE49-F238E27FC236}">
                        <a16:creationId xmlns:a16="http://schemas.microsoft.com/office/drawing/2014/main" id="{A2825F02-22CC-4C6C-8251-E7958C91B299}"/>
                      </a:ext>
                    </a:extLst>
                  </p:cNvPr>
                  <p:cNvSpPr/>
                  <p:nvPr/>
                </p:nvSpPr>
                <p:spPr>
                  <a:xfrm>
                    <a:off x="10936691" y="265189"/>
                    <a:ext cx="2458111" cy="135231"/>
                  </a:xfrm>
                  <a:prstGeom prst="rect">
                    <a:avLst/>
                  </a:prstGeom>
                </p:spPr>
                <p:txBody>
                  <a:bodyPr wrap="square" lIns="0" tIns="0" rIns="0" bIns="0">
                    <a:spAutoFit/>
                  </a:bodyPr>
                  <a:lstStyle/>
                  <a:p>
                    <a:pPr marL="0" marR="0" lvl="0" indent="0" algn="l" defTabSz="914060" rtl="0" eaLnBrk="1" fontAlgn="auto" latinLnBrk="0" hangingPunct="1">
                      <a:lnSpc>
                        <a:spcPct val="90000"/>
                      </a:lnSpc>
                      <a:spcBef>
                        <a:spcPts val="0"/>
                      </a:spcBef>
                      <a:spcAft>
                        <a:spcPts val="600"/>
                      </a:spcAft>
                      <a:buClrTx/>
                      <a:buSzTx/>
                      <a:buFontTx/>
                      <a:buNone/>
                      <a:tabLst/>
                      <a:defRPr/>
                    </a:pPr>
                    <a:r>
                      <a:rPr kumimoji="0" lang="en-US" sz="1001" b="1" i="0" u="none" strike="noStrike" kern="0" cap="none" spc="0" normalizeH="0" baseline="0" noProof="0">
                        <a:ln>
                          <a:noFill/>
                        </a:ln>
                        <a:solidFill>
                          <a:srgbClr val="353535"/>
                        </a:solidFill>
                        <a:effectLst/>
                        <a:uLnTx/>
                        <a:uFillTx/>
                        <a:latin typeface="Times New Roman" panose="02020603050405020304" pitchFamily="18" charset="0"/>
                        <a:ea typeface="+mn-ea"/>
                        <a:cs typeface="Times New Roman" panose="02020603050405020304" pitchFamily="18" charset="0"/>
                      </a:rPr>
                      <a:t>CBS News</a:t>
                    </a:r>
                  </a:p>
                </p:txBody>
              </p:sp>
            </p:grpSp>
            <p:cxnSp>
              <p:nvCxnSpPr>
                <p:cNvPr id="62" name="Straight Connector 61">
                  <a:extLst>
                    <a:ext uri="{FF2B5EF4-FFF2-40B4-BE49-F238E27FC236}">
                      <a16:creationId xmlns:a16="http://schemas.microsoft.com/office/drawing/2014/main" id="{3CDDD657-C181-4A16-8B14-17A5F7940E94}"/>
                    </a:ext>
                  </a:extLst>
                </p:cNvPr>
                <p:cNvCxnSpPr>
                  <a:cxnSpLocks/>
                </p:cNvCxnSpPr>
                <p:nvPr/>
              </p:nvCxnSpPr>
              <p:spPr>
                <a:xfrm>
                  <a:off x="12157715" y="1883840"/>
                  <a:ext cx="539468"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FCEA4556-00C9-45EA-9DF2-FE71EEDC5D87}"/>
                    </a:ext>
                  </a:extLst>
                </p:cNvPr>
                <p:cNvCxnSpPr>
                  <a:cxnSpLocks/>
                </p:cNvCxnSpPr>
                <p:nvPr/>
              </p:nvCxnSpPr>
              <p:spPr>
                <a:xfrm>
                  <a:off x="12159147" y="1724744"/>
                  <a:ext cx="539468"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51" name="Rectangle 50">
                <a:extLst>
                  <a:ext uri="{FF2B5EF4-FFF2-40B4-BE49-F238E27FC236}">
                    <a16:creationId xmlns:a16="http://schemas.microsoft.com/office/drawing/2014/main" id="{4F15B1C7-A26E-4083-9813-265425046E59}"/>
                  </a:ext>
                </a:extLst>
              </p:cNvPr>
              <p:cNvSpPr/>
              <p:nvPr/>
            </p:nvSpPr>
            <p:spPr>
              <a:xfrm rot="418965">
                <a:off x="13458882" y="1510873"/>
                <a:ext cx="401565" cy="3302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a:ea typeface="+mn-ea"/>
                  <a:cs typeface="+mn-cs"/>
                </a:endParaRPr>
              </a:p>
            </p:txBody>
          </p:sp>
        </p:grpSp>
        <p:grpSp>
          <p:nvGrpSpPr>
            <p:cNvPr id="22" name="Group 21">
              <a:extLst>
                <a:ext uri="{FF2B5EF4-FFF2-40B4-BE49-F238E27FC236}">
                  <a16:creationId xmlns:a16="http://schemas.microsoft.com/office/drawing/2014/main" id="{D9C1B995-94A4-4B61-BB97-CEF1AF04181E}"/>
                </a:ext>
              </a:extLst>
            </p:cNvPr>
            <p:cNvGrpSpPr/>
            <p:nvPr/>
          </p:nvGrpSpPr>
          <p:grpSpPr>
            <a:xfrm rot="383521">
              <a:off x="8968404" y="4506330"/>
              <a:ext cx="3090906" cy="1877180"/>
              <a:chOff x="5737064" y="4415907"/>
              <a:chExt cx="2956315" cy="1974984"/>
            </a:xfrm>
          </p:grpSpPr>
          <p:sp>
            <p:nvSpPr>
              <p:cNvPr id="23" name="Rectangle 22">
                <a:extLst>
                  <a:ext uri="{FF2B5EF4-FFF2-40B4-BE49-F238E27FC236}">
                    <a16:creationId xmlns:a16="http://schemas.microsoft.com/office/drawing/2014/main" id="{40179AA9-ABBC-4315-93C1-B4D9CC32CB16}"/>
                  </a:ext>
                </a:extLst>
              </p:cNvPr>
              <p:cNvSpPr/>
              <p:nvPr/>
            </p:nvSpPr>
            <p:spPr>
              <a:xfrm>
                <a:off x="5737064" y="4415907"/>
                <a:ext cx="2956315" cy="19749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05D3172A-10EA-4CA5-BDB7-AC3FABE92D5D}"/>
                  </a:ext>
                </a:extLst>
              </p:cNvPr>
              <p:cNvSpPr/>
              <p:nvPr/>
            </p:nvSpPr>
            <p:spPr>
              <a:xfrm>
                <a:off x="8254304" y="4851414"/>
                <a:ext cx="224758" cy="6632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a:ea typeface="+mn-ea"/>
                  <a:cs typeface="+mn-cs"/>
                </a:endParaRPr>
              </a:p>
            </p:txBody>
          </p:sp>
          <p:cxnSp>
            <p:nvCxnSpPr>
              <p:cNvPr id="25" name="Straight Connector 24">
                <a:extLst>
                  <a:ext uri="{FF2B5EF4-FFF2-40B4-BE49-F238E27FC236}">
                    <a16:creationId xmlns:a16="http://schemas.microsoft.com/office/drawing/2014/main" id="{7045F8D2-89FC-4CF0-A04A-17C65996A4F1}"/>
                  </a:ext>
                </a:extLst>
              </p:cNvPr>
              <p:cNvCxnSpPr/>
              <p:nvPr/>
            </p:nvCxnSpPr>
            <p:spPr>
              <a:xfrm>
                <a:off x="5919864" y="5577205"/>
                <a:ext cx="2559198"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2C794D48-9948-4E6D-9739-FB3AE1C73B66}"/>
                  </a:ext>
                </a:extLst>
              </p:cNvPr>
              <p:cNvSpPr/>
              <p:nvPr/>
            </p:nvSpPr>
            <p:spPr>
              <a:xfrm>
                <a:off x="5919864" y="5651500"/>
                <a:ext cx="1063501" cy="334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a:ea typeface="+mn-ea"/>
                  <a:cs typeface="+mn-cs"/>
                </a:endParaRPr>
              </a:p>
            </p:txBody>
          </p:sp>
          <p:cxnSp>
            <p:nvCxnSpPr>
              <p:cNvPr id="27" name="Straight Connector 26">
                <a:extLst>
                  <a:ext uri="{FF2B5EF4-FFF2-40B4-BE49-F238E27FC236}">
                    <a16:creationId xmlns:a16="http://schemas.microsoft.com/office/drawing/2014/main" id="{2C398ABB-996D-485F-8939-D1A8956B1965}"/>
                  </a:ext>
                </a:extLst>
              </p:cNvPr>
              <p:cNvCxnSpPr>
                <a:cxnSpLocks/>
              </p:cNvCxnSpPr>
              <p:nvPr/>
            </p:nvCxnSpPr>
            <p:spPr>
              <a:xfrm>
                <a:off x="7158080" y="5677935"/>
                <a:ext cx="1320982"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CDE642D-BBD3-4696-B7D5-B5D309AF8CC9}"/>
                  </a:ext>
                </a:extLst>
              </p:cNvPr>
              <p:cNvCxnSpPr>
                <a:cxnSpLocks/>
              </p:cNvCxnSpPr>
              <p:nvPr/>
            </p:nvCxnSpPr>
            <p:spPr>
              <a:xfrm>
                <a:off x="7158080" y="5792592"/>
                <a:ext cx="1320982"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C4146E8-1C7B-48B1-9722-9FF490787CDD}"/>
                  </a:ext>
                </a:extLst>
              </p:cNvPr>
              <p:cNvCxnSpPr>
                <a:cxnSpLocks/>
              </p:cNvCxnSpPr>
              <p:nvPr/>
            </p:nvCxnSpPr>
            <p:spPr>
              <a:xfrm>
                <a:off x="7158080" y="5907249"/>
                <a:ext cx="1320982"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F8D7163-6CCB-4841-AD95-3F518D912724}"/>
                  </a:ext>
                </a:extLst>
              </p:cNvPr>
              <p:cNvCxnSpPr>
                <a:cxnSpLocks/>
              </p:cNvCxnSpPr>
              <p:nvPr/>
            </p:nvCxnSpPr>
            <p:spPr>
              <a:xfrm>
                <a:off x="7158080" y="6021906"/>
                <a:ext cx="538122"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B113655-5B61-4964-B7A2-353E6917ADC2}"/>
                  </a:ext>
                </a:extLst>
              </p:cNvPr>
              <p:cNvCxnSpPr>
                <a:cxnSpLocks/>
              </p:cNvCxnSpPr>
              <p:nvPr/>
            </p:nvCxnSpPr>
            <p:spPr>
              <a:xfrm>
                <a:off x="7158080" y="6136563"/>
                <a:ext cx="538122"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7EA8FAD-28FF-4D65-9D23-CECB12D1AE1F}"/>
                  </a:ext>
                </a:extLst>
              </p:cNvPr>
              <p:cNvCxnSpPr>
                <a:cxnSpLocks/>
              </p:cNvCxnSpPr>
              <p:nvPr/>
            </p:nvCxnSpPr>
            <p:spPr>
              <a:xfrm>
                <a:off x="7158080" y="6251221"/>
                <a:ext cx="538122"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6E588310-6B29-42C4-A6E9-EA31612A04D2}"/>
                  </a:ext>
                </a:extLst>
              </p:cNvPr>
              <p:cNvSpPr/>
              <p:nvPr/>
            </p:nvSpPr>
            <p:spPr>
              <a:xfrm>
                <a:off x="7812678" y="5968408"/>
                <a:ext cx="666384" cy="2828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a:ea typeface="+mn-ea"/>
                  <a:cs typeface="+mn-cs"/>
                </a:endParaRPr>
              </a:p>
            </p:txBody>
          </p:sp>
          <p:grpSp>
            <p:nvGrpSpPr>
              <p:cNvPr id="41" name="Group 40">
                <a:extLst>
                  <a:ext uri="{FF2B5EF4-FFF2-40B4-BE49-F238E27FC236}">
                    <a16:creationId xmlns:a16="http://schemas.microsoft.com/office/drawing/2014/main" id="{A68D04D5-755A-411F-A4DE-61C8091140D1}"/>
                  </a:ext>
                </a:extLst>
              </p:cNvPr>
              <p:cNvGrpSpPr/>
              <p:nvPr/>
            </p:nvGrpSpPr>
            <p:grpSpPr>
              <a:xfrm>
                <a:off x="5919864" y="6124811"/>
                <a:ext cx="1063501" cy="126410"/>
                <a:chOff x="2276061" y="4144618"/>
                <a:chExt cx="1630017" cy="198782"/>
              </a:xfrm>
            </p:grpSpPr>
            <p:cxnSp>
              <p:nvCxnSpPr>
                <p:cNvPr id="46" name="Straight Connector 45">
                  <a:extLst>
                    <a:ext uri="{FF2B5EF4-FFF2-40B4-BE49-F238E27FC236}">
                      <a16:creationId xmlns:a16="http://schemas.microsoft.com/office/drawing/2014/main" id="{9DBCA55D-58E6-4552-BFAB-A74298E0A466}"/>
                    </a:ext>
                  </a:extLst>
                </p:cNvPr>
                <p:cNvCxnSpPr>
                  <a:cxnSpLocks/>
                </p:cNvCxnSpPr>
                <p:nvPr/>
              </p:nvCxnSpPr>
              <p:spPr>
                <a:xfrm>
                  <a:off x="3140765" y="4144618"/>
                  <a:ext cx="765313"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D4DFFE7-7959-4DF6-A8DE-C35AA74448BF}"/>
                    </a:ext>
                  </a:extLst>
                </p:cNvPr>
                <p:cNvCxnSpPr>
                  <a:cxnSpLocks/>
                </p:cNvCxnSpPr>
                <p:nvPr/>
              </p:nvCxnSpPr>
              <p:spPr>
                <a:xfrm>
                  <a:off x="3140765" y="4343400"/>
                  <a:ext cx="765313"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60F5538-A7C7-42B6-A945-3F1CCF9016B8}"/>
                    </a:ext>
                  </a:extLst>
                </p:cNvPr>
                <p:cNvCxnSpPr>
                  <a:cxnSpLocks/>
                </p:cNvCxnSpPr>
                <p:nvPr/>
              </p:nvCxnSpPr>
              <p:spPr>
                <a:xfrm>
                  <a:off x="2276061" y="4144618"/>
                  <a:ext cx="765313"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66DBCF77-EE8F-4206-A958-CF019715DAED}"/>
                    </a:ext>
                  </a:extLst>
                </p:cNvPr>
                <p:cNvCxnSpPr>
                  <a:cxnSpLocks/>
                </p:cNvCxnSpPr>
                <p:nvPr/>
              </p:nvCxnSpPr>
              <p:spPr>
                <a:xfrm>
                  <a:off x="2276061" y="4343400"/>
                  <a:ext cx="765313"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42" name="Straight Connector 41">
                <a:extLst>
                  <a:ext uri="{FF2B5EF4-FFF2-40B4-BE49-F238E27FC236}">
                    <a16:creationId xmlns:a16="http://schemas.microsoft.com/office/drawing/2014/main" id="{8B4559B7-0FA6-4773-B2D7-ED95E1FE2FA6}"/>
                  </a:ext>
                </a:extLst>
              </p:cNvPr>
              <p:cNvCxnSpPr/>
              <p:nvPr/>
            </p:nvCxnSpPr>
            <p:spPr>
              <a:xfrm>
                <a:off x="5884919" y="4781094"/>
                <a:ext cx="2559198"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50603680-3450-42DF-B2A5-9BB81D94046F}"/>
                  </a:ext>
                </a:extLst>
              </p:cNvPr>
              <p:cNvSpPr/>
              <p:nvPr/>
            </p:nvSpPr>
            <p:spPr>
              <a:xfrm>
                <a:off x="5904334" y="5261432"/>
                <a:ext cx="1917114" cy="158377"/>
              </a:xfrm>
              <a:prstGeom prst="rect">
                <a:avLst/>
              </a:prstGeom>
            </p:spPr>
            <p:txBody>
              <a:bodyPr wrap="square" lIns="0" tIns="0" rIns="0" bIns="0">
                <a:spAutoFit/>
              </a:bodyPr>
              <a:lstStyle/>
              <a:p>
                <a:pPr marL="0" marR="0" lvl="0" indent="0" algn="l" defTabSz="914060" rtl="0" eaLnBrk="1" fontAlgn="auto" latinLnBrk="0" hangingPunct="1">
                  <a:lnSpc>
                    <a:spcPct val="90000"/>
                  </a:lnSpc>
                  <a:spcBef>
                    <a:spcPts val="0"/>
                  </a:spcBef>
                  <a:spcAft>
                    <a:spcPts val="600"/>
                  </a:spcAft>
                  <a:buClrTx/>
                  <a:buSzTx/>
                  <a:buFontTx/>
                  <a:buNone/>
                  <a:tabLst/>
                  <a:defRPr/>
                </a:pPr>
                <a:r>
                  <a:rPr kumimoji="0" lang="en-US" sz="1001" b="0" i="1" u="none" strike="noStrike" kern="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August 2020</a:t>
                </a:r>
              </a:p>
            </p:txBody>
          </p:sp>
          <p:sp>
            <p:nvSpPr>
              <p:cNvPr id="44" name="Rectangle 43">
                <a:extLst>
                  <a:ext uri="{FF2B5EF4-FFF2-40B4-BE49-F238E27FC236}">
                    <a16:creationId xmlns:a16="http://schemas.microsoft.com/office/drawing/2014/main" id="{433DED77-6C20-4812-A334-177E7A144B99}"/>
                  </a:ext>
                </a:extLst>
              </p:cNvPr>
              <p:cNvSpPr/>
              <p:nvPr/>
            </p:nvSpPr>
            <p:spPr>
              <a:xfrm flipH="1">
                <a:off x="5908570" y="4856196"/>
                <a:ext cx="2390048" cy="387900"/>
              </a:xfrm>
              <a:prstGeom prst="rect">
                <a:avLst/>
              </a:prstGeom>
              <a:noFill/>
            </p:spPr>
            <p:txBody>
              <a:bodyPr wrap="square" lIns="0" tIns="0" rIns="0" bIns="0">
                <a:spAutoFit/>
              </a:bodyPr>
              <a:lstStyle/>
              <a:p>
                <a:pPr marL="0" marR="0" lvl="0" indent="0" algn="l" defTabSz="914060" rtl="0" eaLnBrk="1" fontAlgn="auto" latinLnBrk="0" hangingPunct="1">
                  <a:lnSpc>
                    <a:spcPct val="100000"/>
                  </a:lnSpc>
                  <a:spcBef>
                    <a:spcPts val="0"/>
                  </a:spcBef>
                  <a:spcAft>
                    <a:spcPts val="600"/>
                  </a:spcAft>
                  <a:buClrTx/>
                  <a:buSzTx/>
                  <a:buFontTx/>
                  <a:buNone/>
                  <a:tabLst/>
                  <a:defRPr/>
                </a:pPr>
                <a:r>
                  <a:rPr kumimoji="0" lang="en-US" sz="1198" b="1" i="0" u="none" strike="noStrike" kern="0" cap="none" spc="0" normalizeH="0" baseline="0" noProof="0">
                    <a:ln>
                      <a:noFill/>
                    </a:ln>
                    <a:solidFill>
                      <a:srgbClr val="353535"/>
                    </a:solidFill>
                    <a:effectLst/>
                    <a:uLnTx/>
                    <a:uFillTx/>
                    <a:latin typeface="Segoe UI"/>
                    <a:ea typeface="+mn-ea"/>
                    <a:cs typeface="Segoe UI Semibold" panose="020B0702040204020203" pitchFamily="34" charset="0"/>
                  </a:rPr>
                  <a:t>Over a Billion Android Devices Are at Risk of Data Theft</a:t>
                </a:r>
                <a:r>
                  <a:rPr kumimoji="0" lang="en-US" sz="1198" b="1" i="0" u="none" strike="noStrike" kern="0" cap="none" spc="0" normalizeH="0" baseline="30000" noProof="0">
                    <a:ln>
                      <a:noFill/>
                    </a:ln>
                    <a:solidFill>
                      <a:srgbClr val="353535"/>
                    </a:solidFill>
                    <a:effectLst/>
                    <a:uLnTx/>
                    <a:uFillTx/>
                    <a:latin typeface="Segoe UI"/>
                    <a:ea typeface="+mn-ea"/>
                    <a:cs typeface="Segoe UI Semibold" panose="020B0702040204020203" pitchFamily="34" charset="0"/>
                  </a:rPr>
                  <a:t>3</a:t>
                </a:r>
              </a:p>
            </p:txBody>
          </p:sp>
          <p:sp>
            <p:nvSpPr>
              <p:cNvPr id="45" name="Rectangle 44">
                <a:extLst>
                  <a:ext uri="{FF2B5EF4-FFF2-40B4-BE49-F238E27FC236}">
                    <a16:creationId xmlns:a16="http://schemas.microsoft.com/office/drawing/2014/main" id="{B0C8415D-E876-4FFB-96F1-316EB8F51FE0}"/>
                  </a:ext>
                </a:extLst>
              </p:cNvPr>
              <p:cNvSpPr/>
              <p:nvPr/>
            </p:nvSpPr>
            <p:spPr>
              <a:xfrm>
                <a:off x="5888091" y="4539058"/>
                <a:ext cx="1917114" cy="145851"/>
              </a:xfrm>
              <a:prstGeom prst="rect">
                <a:avLst/>
              </a:prstGeom>
            </p:spPr>
            <p:txBody>
              <a:bodyPr wrap="square" lIns="0" tIns="0" rIns="0" bIns="0">
                <a:spAutoFit/>
              </a:bodyPr>
              <a:lstStyle/>
              <a:p>
                <a:pPr marL="0" marR="0" lvl="0" indent="0" algn="l" defTabSz="914060" rtl="0" eaLnBrk="1" fontAlgn="auto" latinLnBrk="0" hangingPunct="1">
                  <a:lnSpc>
                    <a:spcPct val="90000"/>
                  </a:lnSpc>
                  <a:spcBef>
                    <a:spcPts val="0"/>
                  </a:spcBef>
                  <a:spcAft>
                    <a:spcPts val="600"/>
                  </a:spcAft>
                  <a:buClrTx/>
                  <a:buSzTx/>
                  <a:buFontTx/>
                  <a:buNone/>
                  <a:tabLst/>
                  <a:defRPr/>
                </a:pPr>
                <a:r>
                  <a:rPr lang="en-US" sz="1001" kern="0">
                    <a:solidFill>
                      <a:srgbClr val="353535"/>
                    </a:solidFill>
                    <a:latin typeface="Segoe UI Semibold" panose="020B0702040204020203" pitchFamily="34" charset="0"/>
                    <a:cs typeface="Segoe UI Semibold" panose="020B0702040204020203" pitchFamily="34" charset="0"/>
                  </a:rPr>
                  <a:t>Wired</a:t>
                </a:r>
                <a:endParaRPr kumimoji="0" lang="en-US" sz="1001" b="0" i="0" u="none" strike="noStrike" kern="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grpSp>
      </p:grpSp>
      <p:sp>
        <p:nvSpPr>
          <p:cNvPr id="6" name="TextBox 5">
            <a:extLst>
              <a:ext uri="{FF2B5EF4-FFF2-40B4-BE49-F238E27FC236}">
                <a16:creationId xmlns:a16="http://schemas.microsoft.com/office/drawing/2014/main" id="{FDC6FBC6-0DB2-4CAA-BE54-92D494A0D290}"/>
              </a:ext>
            </a:extLst>
          </p:cNvPr>
          <p:cNvSpPr txBox="1"/>
          <p:nvPr/>
        </p:nvSpPr>
        <p:spPr>
          <a:xfrm>
            <a:off x="372139" y="6274304"/>
            <a:ext cx="3625703" cy="433965"/>
          </a:xfrm>
          <a:prstGeom prst="rect">
            <a:avLst/>
          </a:prstGeom>
          <a:noFill/>
        </p:spPr>
        <p:txBody>
          <a:bodyPr wrap="square" lIns="182880" tIns="146304" rIns="182880" bIns="146304" rtlCol="0">
            <a:spAutoFit/>
          </a:bodyPr>
          <a:lstStyle/>
          <a:p>
            <a:pPr>
              <a:lnSpc>
                <a:spcPct val="90000"/>
              </a:lnSpc>
              <a:spcAft>
                <a:spcPts val="600"/>
              </a:spcAft>
            </a:pPr>
            <a:r>
              <a:rPr lang="en-US" sz="1000" b="1">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References: </a:t>
            </a:r>
            <a:r>
              <a:rPr lang="en-US" sz="1000">
                <a:gradFill>
                  <a:gsLst>
                    <a:gs pos="2917">
                      <a:schemeClr val="tx1"/>
                    </a:gs>
                    <a:gs pos="30000">
                      <a:schemeClr val="tx1"/>
                    </a:gs>
                  </a:gsLst>
                  <a:lin ang="5400000" scaled="0"/>
                </a:gradFill>
              </a:rPr>
              <a:t>1. </a:t>
            </a:r>
            <a:r>
              <a:rPr lang="en-US" sz="1000">
                <a:gradFill>
                  <a:gsLst>
                    <a:gs pos="2917">
                      <a:schemeClr val="tx1"/>
                    </a:gs>
                    <a:gs pos="30000">
                      <a:schemeClr val="tx1"/>
                    </a:gs>
                  </a:gsLst>
                  <a:lin ang="5400000" scaled="0"/>
                </a:gradFill>
                <a:hlinkClick r:id="rId3"/>
              </a:rPr>
              <a:t>CBS News</a:t>
            </a:r>
            <a:r>
              <a:rPr lang="en-US" sz="1000">
                <a:gradFill>
                  <a:gsLst>
                    <a:gs pos="2917">
                      <a:schemeClr val="tx1"/>
                    </a:gs>
                    <a:gs pos="30000">
                      <a:schemeClr val="tx1"/>
                    </a:gs>
                  </a:gsLst>
                  <a:lin ang="5400000" scaled="0"/>
                </a:gradFill>
              </a:rPr>
              <a:t> 2. </a:t>
            </a:r>
            <a:r>
              <a:rPr lang="en-US" sz="1000">
                <a:gradFill>
                  <a:gsLst>
                    <a:gs pos="2917">
                      <a:schemeClr val="tx1"/>
                    </a:gs>
                    <a:gs pos="30000">
                      <a:schemeClr val="tx1"/>
                    </a:gs>
                  </a:gsLst>
                  <a:lin ang="5400000" scaled="0"/>
                </a:gradFill>
                <a:hlinkClick r:id="rId4"/>
              </a:rPr>
              <a:t>Washington Post</a:t>
            </a:r>
            <a:r>
              <a:rPr lang="en-US" sz="1000">
                <a:gradFill>
                  <a:gsLst>
                    <a:gs pos="2917">
                      <a:schemeClr val="tx1"/>
                    </a:gs>
                    <a:gs pos="30000">
                      <a:schemeClr val="tx1"/>
                    </a:gs>
                  </a:gsLst>
                  <a:lin ang="5400000" scaled="0"/>
                </a:gradFill>
              </a:rPr>
              <a:t> 3. </a:t>
            </a:r>
            <a:r>
              <a:rPr lang="en-US" sz="1000">
                <a:gradFill>
                  <a:gsLst>
                    <a:gs pos="2917">
                      <a:schemeClr val="tx1"/>
                    </a:gs>
                    <a:gs pos="30000">
                      <a:schemeClr val="tx1"/>
                    </a:gs>
                  </a:gsLst>
                  <a:lin ang="5400000" scaled="0"/>
                </a:gradFill>
                <a:hlinkClick r:id="rId5"/>
              </a:rPr>
              <a:t>Wired</a:t>
            </a:r>
            <a:endParaRPr lang="en-US" sz="1000">
              <a:gradFill>
                <a:gsLst>
                  <a:gs pos="2917">
                    <a:schemeClr val="tx1"/>
                  </a:gs>
                  <a:gs pos="30000">
                    <a:schemeClr val="tx1"/>
                  </a:gs>
                </a:gsLst>
                <a:lin ang="5400000" scaled="0"/>
              </a:gradFill>
            </a:endParaRPr>
          </a:p>
        </p:txBody>
      </p:sp>
      <p:sp>
        <p:nvSpPr>
          <p:cNvPr id="3" name="TextBox 2">
            <a:extLst>
              <a:ext uri="{FF2B5EF4-FFF2-40B4-BE49-F238E27FC236}">
                <a16:creationId xmlns:a16="http://schemas.microsoft.com/office/drawing/2014/main" id="{68CA09A5-5EBE-4822-A02B-58F9A71CB652}"/>
              </a:ext>
              <a:ext uri="{C183D7F6-B498-43B3-948B-1728B52AA6E4}">
                <adec:decorative xmlns:adec="http://schemas.microsoft.com/office/drawing/2017/decorative" val="1"/>
              </a:ext>
            </a:extLst>
          </p:cNvPr>
          <p:cNvSpPr txBox="1"/>
          <p:nvPr/>
        </p:nvSpPr>
        <p:spPr>
          <a:xfrm>
            <a:off x="10338984" y="1206"/>
            <a:ext cx="2095904" cy="544765"/>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lIns="182880" tIns="146304" rIns="182880" bIns="146304" rtlCol="0">
            <a:spAutoFit/>
          </a:bodyPr>
          <a:lstStyle/>
          <a:p>
            <a:pPr algn="ctr">
              <a:lnSpc>
                <a:spcPct val="90000"/>
              </a:lnSpc>
              <a:spcAft>
                <a:spcPts val="600"/>
              </a:spcAft>
            </a:pPr>
            <a:r>
              <a:rPr lang="en-US">
                <a:solidFill>
                  <a:schemeClr val="bg1"/>
                </a:solidFill>
              </a:rPr>
              <a:t>Optional slide</a:t>
            </a:r>
          </a:p>
        </p:txBody>
      </p:sp>
    </p:spTree>
    <p:extLst>
      <p:ext uri="{BB962C8B-B14F-4D97-AF65-F5344CB8AC3E}">
        <p14:creationId xmlns:p14="http://schemas.microsoft.com/office/powerpoint/2010/main" val="423344495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EFB62BB9-27BF-423A-AFA1-31676C4C1384}"/>
              </a:ext>
            </a:extLst>
          </p:cNvPr>
          <p:cNvSpPr>
            <a:spLocks noGrp="1"/>
          </p:cNvSpPr>
          <p:nvPr>
            <p:ph type="title"/>
          </p:nvPr>
        </p:nvSpPr>
        <p:spPr>
          <a:xfrm>
            <a:off x="457200" y="503238"/>
            <a:ext cx="11520488" cy="728441"/>
          </a:xfrm>
        </p:spPr>
        <p:txBody>
          <a:bodyPr/>
          <a:lstStyle/>
          <a:p>
            <a:r>
              <a:rPr lang="en-US"/>
              <a:t>Remote learning presents </a:t>
            </a:r>
            <a:r>
              <a:rPr lang="en-US">
                <a:solidFill>
                  <a:schemeClr val="tx2"/>
                </a:solidFill>
                <a:latin typeface="Segoe UI Semibold" panose="020B0702040204020203" pitchFamily="34" charset="0"/>
                <a:cs typeface="Segoe UI Semibold" panose="020B0702040204020203" pitchFamily="34" charset="0"/>
              </a:rPr>
              <a:t>new challenges</a:t>
            </a:r>
            <a:endParaRPr lang="en-US"/>
          </a:p>
        </p:txBody>
      </p:sp>
      <p:sp>
        <p:nvSpPr>
          <p:cNvPr id="64" name="Rectangle 63">
            <a:extLst>
              <a:ext uri="{FF2B5EF4-FFF2-40B4-BE49-F238E27FC236}">
                <a16:creationId xmlns:a16="http://schemas.microsoft.com/office/drawing/2014/main" id="{0C686E85-72CF-4E91-A9AE-CD20ABF73DB3}"/>
              </a:ext>
            </a:extLst>
          </p:cNvPr>
          <p:cNvSpPr/>
          <p:nvPr/>
        </p:nvSpPr>
        <p:spPr>
          <a:xfrm>
            <a:off x="457200" y="2505061"/>
            <a:ext cx="3586665" cy="552457"/>
          </a:xfrm>
          <a:prstGeom prst="rect">
            <a:avLst/>
          </a:prstGeom>
          <a:solidFill>
            <a:schemeClr val="bg1">
              <a:lumMod val="95000"/>
            </a:schemeClr>
          </a:solidFill>
        </p:spPr>
        <p:txBody>
          <a:bodyPr wrap="square" anchor="ctr">
            <a:noAutofit/>
          </a:bodyPr>
          <a:lstStyle/>
          <a:p>
            <a:pPr algn="ctr"/>
            <a:r>
              <a:rPr lang="en-US">
                <a:solidFill>
                  <a:srgbClr val="0078D7"/>
                </a:solidFill>
                <a:latin typeface="Segoe UI Semibold" panose="020B0702040204020203" pitchFamily="34" charset="0"/>
                <a:ea typeface="Segoe UI" pitchFamily="34" charset="0"/>
                <a:cs typeface="Segoe UI Semibold" panose="020B0702040204020203" pitchFamily="34" charset="0"/>
              </a:rPr>
              <a:t>Managing Uncertainty</a:t>
            </a:r>
          </a:p>
        </p:txBody>
      </p:sp>
      <p:sp>
        <p:nvSpPr>
          <p:cNvPr id="43" name="Rectangle 42">
            <a:extLst>
              <a:ext uri="{FF2B5EF4-FFF2-40B4-BE49-F238E27FC236}">
                <a16:creationId xmlns:a16="http://schemas.microsoft.com/office/drawing/2014/main" id="{4774428F-FB98-4E42-8A30-FF00E6A39912}"/>
              </a:ext>
            </a:extLst>
          </p:cNvPr>
          <p:cNvSpPr/>
          <p:nvPr/>
        </p:nvSpPr>
        <p:spPr bwMode="auto">
          <a:xfrm>
            <a:off x="457200" y="4244883"/>
            <a:ext cx="3586665" cy="11708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a:solidFill>
                  <a:schemeClr val="tx1"/>
                </a:solidFill>
                <a:ea typeface="Segoe UI" pitchFamily="34" charset="0"/>
                <a:cs typeface="Segoe UI" pitchFamily="34" charset="0"/>
              </a:rPr>
              <a:t>Planning for an ever-changing mix of remote, hybrid, and in-person learning creates new challenges for school leaders and IT administrators</a:t>
            </a:r>
          </a:p>
        </p:txBody>
      </p:sp>
      <p:sp>
        <p:nvSpPr>
          <p:cNvPr id="62" name="Rectangle 61">
            <a:extLst>
              <a:ext uri="{FF2B5EF4-FFF2-40B4-BE49-F238E27FC236}">
                <a16:creationId xmlns:a16="http://schemas.microsoft.com/office/drawing/2014/main" id="{F7CB8DD1-6B66-4483-8F2D-B9F59E242317}"/>
              </a:ext>
            </a:extLst>
          </p:cNvPr>
          <p:cNvSpPr/>
          <p:nvPr/>
        </p:nvSpPr>
        <p:spPr>
          <a:xfrm>
            <a:off x="4424112" y="2505061"/>
            <a:ext cx="3586665" cy="552457"/>
          </a:xfrm>
          <a:prstGeom prst="rect">
            <a:avLst/>
          </a:prstGeom>
          <a:solidFill>
            <a:schemeClr val="bg1">
              <a:lumMod val="95000"/>
            </a:schemeClr>
          </a:solidFill>
        </p:spPr>
        <p:txBody>
          <a:bodyPr wrap="square" anchor="ctr">
            <a:noAutofit/>
          </a:bodyPr>
          <a:lstStyle/>
          <a:p>
            <a:pPr algn="ctr"/>
            <a:r>
              <a:rPr lang="en-US">
                <a:solidFill>
                  <a:srgbClr val="0078D7"/>
                </a:solidFill>
                <a:latin typeface="Segoe UI Semibold" panose="020B0702040204020203" pitchFamily="34" charset="0"/>
                <a:cs typeface="Segoe UI Semibold" panose="020B0702040204020203" pitchFamily="34" charset="0"/>
              </a:rPr>
              <a:t>Building Teacher Capacity</a:t>
            </a:r>
          </a:p>
        </p:txBody>
      </p:sp>
      <p:sp>
        <p:nvSpPr>
          <p:cNvPr id="44" name="Rectangle 43">
            <a:extLst>
              <a:ext uri="{FF2B5EF4-FFF2-40B4-BE49-F238E27FC236}">
                <a16:creationId xmlns:a16="http://schemas.microsoft.com/office/drawing/2014/main" id="{11132103-916D-4187-B82A-ED1F906DF7DD}"/>
              </a:ext>
            </a:extLst>
          </p:cNvPr>
          <p:cNvSpPr/>
          <p:nvPr/>
        </p:nvSpPr>
        <p:spPr bwMode="auto">
          <a:xfrm>
            <a:off x="4424112" y="4244883"/>
            <a:ext cx="3586665" cy="11708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a:solidFill>
                  <a:schemeClr val="tx1"/>
                </a:solidFill>
                <a:ea typeface="Segoe UI" pitchFamily="34" charset="0"/>
                <a:cs typeface="Segoe UI" pitchFamily="34" charset="0"/>
              </a:rPr>
              <a:t>Managing a remote or hybrid classroom requires educators to develop new skills and knowledge to keep students engaged</a:t>
            </a:r>
          </a:p>
        </p:txBody>
      </p:sp>
      <p:sp>
        <p:nvSpPr>
          <p:cNvPr id="63" name="Rectangle 62">
            <a:extLst>
              <a:ext uri="{FF2B5EF4-FFF2-40B4-BE49-F238E27FC236}">
                <a16:creationId xmlns:a16="http://schemas.microsoft.com/office/drawing/2014/main" id="{41FA3962-D90C-4C0F-A9CD-937B13A18039}"/>
              </a:ext>
            </a:extLst>
          </p:cNvPr>
          <p:cNvSpPr/>
          <p:nvPr/>
        </p:nvSpPr>
        <p:spPr>
          <a:xfrm>
            <a:off x="8391022" y="2505061"/>
            <a:ext cx="3586665" cy="552457"/>
          </a:xfrm>
          <a:prstGeom prst="rect">
            <a:avLst/>
          </a:prstGeom>
          <a:solidFill>
            <a:schemeClr val="bg1">
              <a:lumMod val="95000"/>
            </a:schemeClr>
          </a:solidFill>
        </p:spPr>
        <p:txBody>
          <a:bodyPr wrap="square" anchor="ctr">
            <a:noAutofit/>
          </a:bodyPr>
          <a:lstStyle/>
          <a:p>
            <a:pPr algn="ctr"/>
            <a:r>
              <a:rPr lang="en-US">
                <a:solidFill>
                  <a:srgbClr val="0078D7"/>
                </a:solidFill>
                <a:latin typeface="Segoe UI Semibold" panose="020B0702040204020203" pitchFamily="34" charset="0"/>
                <a:cs typeface="Segoe UI Semibold" panose="020B0702040204020203" pitchFamily="34" charset="0"/>
              </a:rPr>
              <a:t>Keeping Students Safe</a:t>
            </a:r>
          </a:p>
        </p:txBody>
      </p:sp>
      <p:sp>
        <p:nvSpPr>
          <p:cNvPr id="46" name="Rectangle 45">
            <a:extLst>
              <a:ext uri="{FF2B5EF4-FFF2-40B4-BE49-F238E27FC236}">
                <a16:creationId xmlns:a16="http://schemas.microsoft.com/office/drawing/2014/main" id="{41733C43-88BD-4C5D-9164-2B680FACF926}"/>
              </a:ext>
            </a:extLst>
          </p:cNvPr>
          <p:cNvSpPr/>
          <p:nvPr/>
        </p:nvSpPr>
        <p:spPr bwMode="auto">
          <a:xfrm>
            <a:off x="8391022" y="4244882"/>
            <a:ext cx="3586665" cy="15285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a:solidFill>
                  <a:schemeClr val="tx1"/>
                </a:solidFill>
                <a:ea typeface="Segoe UI" pitchFamily="34" charset="0"/>
                <a:cs typeface="Segoe UI" pitchFamily="34" charset="0"/>
              </a:rPr>
              <a:t>Schools leaders need to provide safe environments </a:t>
            </a:r>
            <a:r>
              <a:rPr lang="en-US" sz="1800">
                <a:solidFill>
                  <a:srgbClr val="000000"/>
                </a:solidFill>
                <a:cs typeface="Times New Roman"/>
              </a:rPr>
              <a:t>while providing teachers with simple controls to manage their classrooms</a:t>
            </a:r>
            <a:endParaRPr lang="en-US">
              <a:solidFill>
                <a:schemeClr val="tx1"/>
              </a:solidFill>
              <a:ea typeface="Segoe UI" pitchFamily="34" charset="0"/>
              <a:cs typeface="Segoe UI" pitchFamily="34" charset="0"/>
            </a:endParaRPr>
          </a:p>
        </p:txBody>
      </p:sp>
      <p:cxnSp>
        <p:nvCxnSpPr>
          <p:cNvPr id="27" name="Straight Connector 26">
            <a:extLst>
              <a:ext uri="{FF2B5EF4-FFF2-40B4-BE49-F238E27FC236}">
                <a16:creationId xmlns:a16="http://schemas.microsoft.com/office/drawing/2014/main" id="{B9678D9E-EF77-4BDB-931E-BDCCDAC24C18}"/>
              </a:ext>
              <a:ext uri="{C183D7F6-B498-43B3-948B-1728B52AA6E4}">
                <adec:decorative xmlns:adec="http://schemas.microsoft.com/office/drawing/2017/decorative" val="1"/>
              </a:ext>
            </a:extLst>
          </p:cNvPr>
          <p:cNvCxnSpPr>
            <a:cxnSpLocks/>
          </p:cNvCxnSpPr>
          <p:nvPr/>
        </p:nvCxnSpPr>
        <p:spPr>
          <a:xfrm>
            <a:off x="4233989" y="4244883"/>
            <a:ext cx="0" cy="1170862"/>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E97E39F-8625-4A5F-81DC-4FA26858FEFA}"/>
              </a:ext>
              <a:ext uri="{C183D7F6-B498-43B3-948B-1728B52AA6E4}">
                <adec:decorative xmlns:adec="http://schemas.microsoft.com/office/drawing/2017/decorative" val="1"/>
              </a:ext>
            </a:extLst>
          </p:cNvPr>
          <p:cNvCxnSpPr>
            <a:cxnSpLocks/>
          </p:cNvCxnSpPr>
          <p:nvPr/>
        </p:nvCxnSpPr>
        <p:spPr>
          <a:xfrm>
            <a:off x="8200900" y="4244883"/>
            <a:ext cx="0" cy="1170862"/>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F2C83A94-90BE-4590-9AD5-BDAFB49F0206}"/>
              </a:ext>
              <a:ext uri="{C183D7F6-B498-43B3-948B-1728B52AA6E4}">
                <adec:decorative xmlns:adec="http://schemas.microsoft.com/office/drawing/2017/decorative" val="1"/>
              </a:ext>
            </a:extLst>
          </p:cNvPr>
          <p:cNvGrpSpPr/>
          <p:nvPr/>
        </p:nvGrpSpPr>
        <p:grpSpPr>
          <a:xfrm>
            <a:off x="5799898" y="3486388"/>
            <a:ext cx="793942" cy="669318"/>
            <a:chOff x="5761038" y="3129843"/>
            <a:chExt cx="871662" cy="734838"/>
          </a:xfrm>
        </p:grpSpPr>
        <p:sp>
          <p:nvSpPr>
            <p:cNvPr id="50" name="Freeform: Shape 49">
              <a:extLst>
                <a:ext uri="{FF2B5EF4-FFF2-40B4-BE49-F238E27FC236}">
                  <a16:creationId xmlns:a16="http://schemas.microsoft.com/office/drawing/2014/main" id="{03B2903D-BCE0-4AF5-A5E2-967EB35D6061}"/>
                </a:ext>
              </a:extLst>
            </p:cNvPr>
            <p:cNvSpPr/>
            <p:nvPr/>
          </p:nvSpPr>
          <p:spPr>
            <a:xfrm>
              <a:off x="5761038" y="3244018"/>
              <a:ext cx="238788" cy="259452"/>
            </a:xfrm>
            <a:custGeom>
              <a:avLst/>
              <a:gdLst>
                <a:gd name="connsiteX0" fmla="*/ 42577 w 217931"/>
                <a:gd name="connsiteY0" fmla="*/ 65437 h 236791"/>
                <a:gd name="connsiteX1" fmla="*/ 109919 w 217931"/>
                <a:gd name="connsiteY1" fmla="*/ 0 h 236791"/>
                <a:gd name="connsiteX2" fmla="*/ 178118 w 217931"/>
                <a:gd name="connsiteY2" fmla="*/ 65437 h 236791"/>
                <a:gd name="connsiteX3" fmla="*/ 109919 w 217931"/>
                <a:gd name="connsiteY3" fmla="*/ 130874 h 236791"/>
                <a:gd name="connsiteX4" fmla="*/ 42577 w 217931"/>
                <a:gd name="connsiteY4" fmla="*/ 65437 h 236791"/>
                <a:gd name="connsiteX5" fmla="*/ 42577 w 217931"/>
                <a:gd name="connsiteY5" fmla="*/ 65437 h 236791"/>
                <a:gd name="connsiteX6" fmla="*/ 217932 w 217931"/>
                <a:gd name="connsiteY6" fmla="*/ 236792 h 236791"/>
                <a:gd name="connsiteX7" fmla="*/ 108966 w 217931"/>
                <a:gd name="connsiteY7" fmla="*/ 130874 h 236791"/>
                <a:gd name="connsiteX8" fmla="*/ 0 w 217931"/>
                <a:gd name="connsiteY8" fmla="*/ 236792 h 236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931" h="236791">
                  <a:moveTo>
                    <a:pt x="42577" y="65437"/>
                  </a:moveTo>
                  <a:cubicBezTo>
                    <a:pt x="42577" y="29242"/>
                    <a:pt x="72676" y="0"/>
                    <a:pt x="109919" y="0"/>
                  </a:cubicBezTo>
                  <a:cubicBezTo>
                    <a:pt x="147161" y="0"/>
                    <a:pt x="178118" y="29242"/>
                    <a:pt x="178118" y="65437"/>
                  </a:cubicBezTo>
                  <a:cubicBezTo>
                    <a:pt x="178118" y="101632"/>
                    <a:pt x="147066" y="130874"/>
                    <a:pt x="109919" y="130874"/>
                  </a:cubicBezTo>
                  <a:cubicBezTo>
                    <a:pt x="72771" y="130874"/>
                    <a:pt x="42577" y="101632"/>
                    <a:pt x="42577" y="65437"/>
                  </a:cubicBezTo>
                  <a:lnTo>
                    <a:pt x="42577" y="65437"/>
                  </a:lnTo>
                  <a:close/>
                  <a:moveTo>
                    <a:pt x="217932" y="236792"/>
                  </a:moveTo>
                  <a:cubicBezTo>
                    <a:pt x="217932" y="178213"/>
                    <a:pt x="169164" y="130874"/>
                    <a:pt x="108966" y="130874"/>
                  </a:cubicBezTo>
                  <a:cubicBezTo>
                    <a:pt x="48768" y="130874"/>
                    <a:pt x="0" y="178308"/>
                    <a:pt x="0" y="236792"/>
                  </a:cubicBezTo>
                </a:path>
              </a:pathLst>
            </a:custGeom>
            <a:ln w="19050" cap="sq">
              <a:solidFill>
                <a:schemeClr val="tx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1" name="Freeform: Shape 50">
              <a:extLst>
                <a:ext uri="{FF2B5EF4-FFF2-40B4-BE49-F238E27FC236}">
                  <a16:creationId xmlns:a16="http://schemas.microsoft.com/office/drawing/2014/main" id="{9D2DF4B5-8F6E-4846-A28E-BF6E95F795D1}"/>
                </a:ext>
              </a:extLst>
            </p:cNvPr>
            <p:cNvSpPr/>
            <p:nvPr/>
          </p:nvSpPr>
          <p:spPr>
            <a:xfrm>
              <a:off x="6393912" y="3244018"/>
              <a:ext cx="238788" cy="259452"/>
            </a:xfrm>
            <a:custGeom>
              <a:avLst/>
              <a:gdLst>
                <a:gd name="connsiteX0" fmla="*/ 42481 w 217931"/>
                <a:gd name="connsiteY0" fmla="*/ 65437 h 236791"/>
                <a:gd name="connsiteX1" fmla="*/ 109823 w 217931"/>
                <a:gd name="connsiteY1" fmla="*/ 0 h 236791"/>
                <a:gd name="connsiteX2" fmla="*/ 178022 w 217931"/>
                <a:gd name="connsiteY2" fmla="*/ 65437 h 236791"/>
                <a:gd name="connsiteX3" fmla="*/ 109823 w 217931"/>
                <a:gd name="connsiteY3" fmla="*/ 130874 h 236791"/>
                <a:gd name="connsiteX4" fmla="*/ 42481 w 217931"/>
                <a:gd name="connsiteY4" fmla="*/ 65437 h 236791"/>
                <a:gd name="connsiteX5" fmla="*/ 42481 w 217931"/>
                <a:gd name="connsiteY5" fmla="*/ 65437 h 236791"/>
                <a:gd name="connsiteX6" fmla="*/ 217932 w 217931"/>
                <a:gd name="connsiteY6" fmla="*/ 236792 h 236791"/>
                <a:gd name="connsiteX7" fmla="*/ 108966 w 217931"/>
                <a:gd name="connsiteY7" fmla="*/ 130874 h 236791"/>
                <a:gd name="connsiteX8" fmla="*/ 0 w 217931"/>
                <a:gd name="connsiteY8" fmla="*/ 236792 h 236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931" h="236791">
                  <a:moveTo>
                    <a:pt x="42481" y="65437"/>
                  </a:moveTo>
                  <a:cubicBezTo>
                    <a:pt x="42481" y="29242"/>
                    <a:pt x="72581" y="0"/>
                    <a:pt x="109823" y="0"/>
                  </a:cubicBezTo>
                  <a:cubicBezTo>
                    <a:pt x="147066" y="0"/>
                    <a:pt x="178022" y="29242"/>
                    <a:pt x="178022" y="65437"/>
                  </a:cubicBezTo>
                  <a:cubicBezTo>
                    <a:pt x="178022" y="101632"/>
                    <a:pt x="146971" y="130874"/>
                    <a:pt x="109823" y="130874"/>
                  </a:cubicBezTo>
                  <a:cubicBezTo>
                    <a:pt x="72676" y="130874"/>
                    <a:pt x="42481" y="101632"/>
                    <a:pt x="42481" y="65437"/>
                  </a:cubicBezTo>
                  <a:lnTo>
                    <a:pt x="42481" y="65437"/>
                  </a:lnTo>
                  <a:close/>
                  <a:moveTo>
                    <a:pt x="217932" y="236792"/>
                  </a:moveTo>
                  <a:cubicBezTo>
                    <a:pt x="217932" y="178213"/>
                    <a:pt x="169164" y="130874"/>
                    <a:pt x="108966" y="130874"/>
                  </a:cubicBezTo>
                  <a:cubicBezTo>
                    <a:pt x="48673" y="130874"/>
                    <a:pt x="0" y="178213"/>
                    <a:pt x="0" y="236792"/>
                  </a:cubicBezTo>
                </a:path>
              </a:pathLst>
            </a:custGeom>
            <a:ln w="19050" cap="sq">
              <a:solidFill>
                <a:schemeClr val="tx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2" name="Freeform: Shape 51">
              <a:extLst>
                <a:ext uri="{FF2B5EF4-FFF2-40B4-BE49-F238E27FC236}">
                  <a16:creationId xmlns:a16="http://schemas.microsoft.com/office/drawing/2014/main" id="{5D449458-9F5F-4D4E-99C1-20DAA126DE8C}"/>
                </a:ext>
              </a:extLst>
            </p:cNvPr>
            <p:cNvSpPr/>
            <p:nvPr/>
          </p:nvSpPr>
          <p:spPr>
            <a:xfrm>
              <a:off x="6077475" y="3605333"/>
              <a:ext cx="238789" cy="259348"/>
            </a:xfrm>
            <a:custGeom>
              <a:avLst/>
              <a:gdLst>
                <a:gd name="connsiteX0" fmla="*/ 42481 w 217932"/>
                <a:gd name="connsiteY0" fmla="*/ 65437 h 236696"/>
                <a:gd name="connsiteX1" fmla="*/ 109823 w 217932"/>
                <a:gd name="connsiteY1" fmla="*/ 0 h 236696"/>
                <a:gd name="connsiteX2" fmla="*/ 178022 w 217932"/>
                <a:gd name="connsiteY2" fmla="*/ 65437 h 236696"/>
                <a:gd name="connsiteX3" fmla="*/ 109823 w 217932"/>
                <a:gd name="connsiteY3" fmla="*/ 130873 h 236696"/>
                <a:gd name="connsiteX4" fmla="*/ 42481 w 217932"/>
                <a:gd name="connsiteY4" fmla="*/ 65437 h 236696"/>
                <a:gd name="connsiteX5" fmla="*/ 42481 w 217932"/>
                <a:gd name="connsiteY5" fmla="*/ 65437 h 236696"/>
                <a:gd name="connsiteX6" fmla="*/ 217932 w 217932"/>
                <a:gd name="connsiteY6" fmla="*/ 236696 h 236696"/>
                <a:gd name="connsiteX7" fmla="*/ 108966 w 217932"/>
                <a:gd name="connsiteY7" fmla="*/ 130778 h 236696"/>
                <a:gd name="connsiteX8" fmla="*/ 0 w 217932"/>
                <a:gd name="connsiteY8" fmla="*/ 236696 h 236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932" h="236696">
                  <a:moveTo>
                    <a:pt x="42481" y="65437"/>
                  </a:moveTo>
                  <a:cubicBezTo>
                    <a:pt x="42481" y="29242"/>
                    <a:pt x="72580" y="0"/>
                    <a:pt x="109823" y="0"/>
                  </a:cubicBezTo>
                  <a:cubicBezTo>
                    <a:pt x="147066" y="0"/>
                    <a:pt x="178022" y="29242"/>
                    <a:pt x="178022" y="65437"/>
                  </a:cubicBezTo>
                  <a:cubicBezTo>
                    <a:pt x="178022" y="101632"/>
                    <a:pt x="146971" y="130873"/>
                    <a:pt x="109823" y="130873"/>
                  </a:cubicBezTo>
                  <a:cubicBezTo>
                    <a:pt x="72676" y="130873"/>
                    <a:pt x="42481" y="101537"/>
                    <a:pt x="42481" y="65437"/>
                  </a:cubicBezTo>
                  <a:lnTo>
                    <a:pt x="42481" y="65437"/>
                  </a:lnTo>
                  <a:close/>
                  <a:moveTo>
                    <a:pt x="217932" y="236696"/>
                  </a:moveTo>
                  <a:cubicBezTo>
                    <a:pt x="217932" y="178118"/>
                    <a:pt x="169164" y="130778"/>
                    <a:pt x="108966" y="130778"/>
                  </a:cubicBezTo>
                  <a:cubicBezTo>
                    <a:pt x="48768" y="130778"/>
                    <a:pt x="0" y="178118"/>
                    <a:pt x="0" y="236696"/>
                  </a:cubicBezTo>
                </a:path>
              </a:pathLst>
            </a:custGeom>
            <a:ln w="19050" cap="sq">
              <a:solidFill>
                <a:schemeClr val="tx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3" name="Freeform: Shape 52">
              <a:extLst>
                <a:ext uri="{FF2B5EF4-FFF2-40B4-BE49-F238E27FC236}">
                  <a16:creationId xmlns:a16="http://schemas.microsoft.com/office/drawing/2014/main" id="{ACF6FFD0-7D62-4F6F-81C9-5BFE54244647}"/>
                </a:ext>
              </a:extLst>
            </p:cNvPr>
            <p:cNvSpPr/>
            <p:nvPr/>
          </p:nvSpPr>
          <p:spPr>
            <a:xfrm>
              <a:off x="5962777" y="3129843"/>
              <a:ext cx="470168" cy="94659"/>
            </a:xfrm>
            <a:custGeom>
              <a:avLst/>
              <a:gdLst>
                <a:gd name="connsiteX0" fmla="*/ 429101 w 429101"/>
                <a:gd name="connsiteY0" fmla="*/ 86392 h 86391"/>
                <a:gd name="connsiteX1" fmla="*/ 214503 w 429101"/>
                <a:gd name="connsiteY1" fmla="*/ 0 h 86391"/>
                <a:gd name="connsiteX2" fmla="*/ 0 w 429101"/>
                <a:gd name="connsiteY2" fmla="*/ 86392 h 86391"/>
              </a:gdLst>
              <a:ahLst/>
              <a:cxnLst>
                <a:cxn ang="0">
                  <a:pos x="connsiteX0" y="connsiteY0"/>
                </a:cxn>
                <a:cxn ang="0">
                  <a:pos x="connsiteX1" y="connsiteY1"/>
                </a:cxn>
                <a:cxn ang="0">
                  <a:pos x="connsiteX2" y="connsiteY2"/>
                </a:cxn>
              </a:cxnLst>
              <a:rect l="l" t="t" r="r" b="b"/>
              <a:pathLst>
                <a:path w="429101" h="86391">
                  <a:moveTo>
                    <a:pt x="429101" y="86392"/>
                  </a:moveTo>
                  <a:cubicBezTo>
                    <a:pt x="373285" y="32957"/>
                    <a:pt x="297847" y="0"/>
                    <a:pt x="214503" y="0"/>
                  </a:cubicBezTo>
                  <a:cubicBezTo>
                    <a:pt x="131159" y="0"/>
                    <a:pt x="55817" y="32957"/>
                    <a:pt x="0" y="86392"/>
                  </a:cubicBezTo>
                </a:path>
              </a:pathLst>
            </a:custGeom>
            <a:ln w="19050" cap="sq">
              <a:solidFill>
                <a:schemeClr val="tx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4" name="Freeform: Shape 53">
              <a:extLst>
                <a:ext uri="{FF2B5EF4-FFF2-40B4-BE49-F238E27FC236}">
                  <a16:creationId xmlns:a16="http://schemas.microsoft.com/office/drawing/2014/main" id="{A52C4E70-AC8D-4FE3-B1A7-8502CAFBAA13}"/>
                </a:ext>
              </a:extLst>
            </p:cNvPr>
            <p:cNvSpPr/>
            <p:nvPr/>
          </p:nvSpPr>
          <p:spPr>
            <a:xfrm>
              <a:off x="5859246" y="3511508"/>
              <a:ext cx="212697" cy="276464"/>
            </a:xfrm>
            <a:custGeom>
              <a:avLst/>
              <a:gdLst>
                <a:gd name="connsiteX0" fmla="*/ 0 w 194119"/>
                <a:gd name="connsiteY0" fmla="*/ 0 h 252317"/>
                <a:gd name="connsiteX1" fmla="*/ 194120 w 194119"/>
                <a:gd name="connsiteY1" fmla="*/ 252317 h 252317"/>
              </a:gdLst>
              <a:ahLst/>
              <a:cxnLst>
                <a:cxn ang="0">
                  <a:pos x="connsiteX0" y="connsiteY0"/>
                </a:cxn>
                <a:cxn ang="0">
                  <a:pos x="connsiteX1" y="connsiteY1"/>
                </a:cxn>
              </a:cxnLst>
              <a:rect l="l" t="t" r="r" b="b"/>
              <a:pathLst>
                <a:path w="194119" h="252317">
                  <a:moveTo>
                    <a:pt x="0" y="0"/>
                  </a:moveTo>
                  <a:cubicBezTo>
                    <a:pt x="13621" y="115157"/>
                    <a:pt x="90107" y="210979"/>
                    <a:pt x="194120" y="252317"/>
                  </a:cubicBezTo>
                </a:path>
              </a:pathLst>
            </a:custGeom>
            <a:ln w="19050" cap="sq">
              <a:solidFill>
                <a:schemeClr val="tx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5" name="Freeform: Shape 54">
              <a:extLst>
                <a:ext uri="{FF2B5EF4-FFF2-40B4-BE49-F238E27FC236}">
                  <a16:creationId xmlns:a16="http://schemas.microsoft.com/office/drawing/2014/main" id="{732B46FC-4770-4F13-9167-874F994E9819}"/>
                </a:ext>
              </a:extLst>
            </p:cNvPr>
            <p:cNvSpPr/>
            <p:nvPr/>
          </p:nvSpPr>
          <p:spPr>
            <a:xfrm>
              <a:off x="6331189" y="3511508"/>
              <a:ext cx="205287" cy="273333"/>
            </a:xfrm>
            <a:custGeom>
              <a:avLst/>
              <a:gdLst>
                <a:gd name="connsiteX0" fmla="*/ 0 w 187356"/>
                <a:gd name="connsiteY0" fmla="*/ 249460 h 249459"/>
                <a:gd name="connsiteX1" fmla="*/ 187357 w 187356"/>
                <a:gd name="connsiteY1" fmla="*/ 0 h 249459"/>
              </a:gdLst>
              <a:ahLst/>
              <a:cxnLst>
                <a:cxn ang="0">
                  <a:pos x="connsiteX0" y="connsiteY0"/>
                </a:cxn>
                <a:cxn ang="0">
                  <a:pos x="connsiteX1" y="connsiteY1"/>
                </a:cxn>
              </a:cxnLst>
              <a:rect l="l" t="t" r="r" b="b"/>
              <a:pathLst>
                <a:path w="187356" h="249459">
                  <a:moveTo>
                    <a:pt x="0" y="249460"/>
                  </a:moveTo>
                  <a:cubicBezTo>
                    <a:pt x="100584" y="206693"/>
                    <a:pt x="174022" y="112586"/>
                    <a:pt x="187357" y="0"/>
                  </a:cubicBezTo>
                </a:path>
              </a:pathLst>
            </a:custGeom>
            <a:ln w="19050" cap="sq">
              <a:solidFill>
                <a:schemeClr val="tx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sp>
        <p:nvSpPr>
          <p:cNvPr id="56" name="shield_3">
            <a:extLst>
              <a:ext uri="{FF2B5EF4-FFF2-40B4-BE49-F238E27FC236}">
                <a16:creationId xmlns:a16="http://schemas.microsoft.com/office/drawing/2014/main" id="{B3A078BE-FE18-4787-8A5E-43891F94F148}"/>
              </a:ext>
              <a:ext uri="{C183D7F6-B498-43B3-948B-1728B52AA6E4}">
                <adec:decorative xmlns:adec="http://schemas.microsoft.com/office/drawing/2017/decorative" val="1"/>
              </a:ext>
            </a:extLst>
          </p:cNvPr>
          <p:cNvSpPr>
            <a:spLocks noChangeAspect="1" noEditPoints="1"/>
          </p:cNvSpPr>
          <p:nvPr/>
        </p:nvSpPr>
        <p:spPr bwMode="auto">
          <a:xfrm>
            <a:off x="9891603" y="3364847"/>
            <a:ext cx="585502" cy="593410"/>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41" name="Group 40">
            <a:extLst>
              <a:ext uri="{FF2B5EF4-FFF2-40B4-BE49-F238E27FC236}">
                <a16:creationId xmlns:a16="http://schemas.microsoft.com/office/drawing/2014/main" id="{38528EFF-750A-44A8-A027-3DF082A13D66}"/>
              </a:ext>
              <a:ext uri="{C183D7F6-B498-43B3-948B-1728B52AA6E4}">
                <adec:decorative xmlns:adec="http://schemas.microsoft.com/office/drawing/2017/decorative" val="1"/>
              </a:ext>
            </a:extLst>
          </p:cNvPr>
          <p:cNvGrpSpPr/>
          <p:nvPr/>
        </p:nvGrpSpPr>
        <p:grpSpPr>
          <a:xfrm>
            <a:off x="1774082" y="3343629"/>
            <a:ext cx="952900" cy="635846"/>
            <a:chOff x="1636055" y="3166473"/>
            <a:chExt cx="1228954" cy="820050"/>
          </a:xfrm>
        </p:grpSpPr>
        <p:sp>
          <p:nvSpPr>
            <p:cNvPr id="48" name="Laptop_E770" title="Icon of a laptop">
              <a:extLst>
                <a:ext uri="{FF2B5EF4-FFF2-40B4-BE49-F238E27FC236}">
                  <a16:creationId xmlns:a16="http://schemas.microsoft.com/office/drawing/2014/main" id="{727B6433-9291-43A8-9213-332EDA1C90B5}"/>
                </a:ext>
              </a:extLst>
            </p:cNvPr>
            <p:cNvSpPr>
              <a:spLocks noChangeAspect="1" noEditPoints="1"/>
            </p:cNvSpPr>
            <p:nvPr/>
          </p:nvSpPr>
          <p:spPr bwMode="auto">
            <a:xfrm>
              <a:off x="1636055" y="3166473"/>
              <a:ext cx="1228954" cy="82005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nvGrpSpPr>
            <p:cNvPr id="39" name="Group 38">
              <a:extLst>
                <a:ext uri="{FF2B5EF4-FFF2-40B4-BE49-F238E27FC236}">
                  <a16:creationId xmlns:a16="http://schemas.microsoft.com/office/drawing/2014/main" id="{2F7ED5D7-AB87-4D19-809B-3F451E507C5F}"/>
                </a:ext>
              </a:extLst>
            </p:cNvPr>
            <p:cNvGrpSpPr/>
            <p:nvPr/>
          </p:nvGrpSpPr>
          <p:grpSpPr>
            <a:xfrm>
              <a:off x="2069306" y="3269251"/>
              <a:ext cx="362452" cy="360098"/>
              <a:chOff x="3772417" y="3035178"/>
              <a:chExt cx="319641" cy="317566"/>
            </a:xfrm>
          </p:grpSpPr>
          <p:sp>
            <p:nvSpPr>
              <p:cNvPr id="58" name="Oval 165">
                <a:extLst>
                  <a:ext uri="{FF2B5EF4-FFF2-40B4-BE49-F238E27FC236}">
                    <a16:creationId xmlns:a16="http://schemas.microsoft.com/office/drawing/2014/main" id="{6A051C93-E06A-4FB2-ACF5-8AF5E4345DD2}"/>
                  </a:ext>
                </a:extLst>
              </p:cNvPr>
              <p:cNvSpPr>
                <a:spLocks noChangeArrowheads="1"/>
              </p:cNvSpPr>
              <p:nvPr/>
            </p:nvSpPr>
            <p:spPr bwMode="auto">
              <a:xfrm rot="2700000">
                <a:off x="3773455" y="3034140"/>
                <a:ext cx="317566" cy="319641"/>
              </a:xfrm>
              <a:prstGeom prst="ellipse">
                <a:avLst/>
              </a:pr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59" name="Line 166">
                <a:extLst>
                  <a:ext uri="{FF2B5EF4-FFF2-40B4-BE49-F238E27FC236}">
                    <a16:creationId xmlns:a16="http://schemas.microsoft.com/office/drawing/2014/main" id="{9F2496A1-B514-49C3-8AA3-5147CEB5F8A3}"/>
                  </a:ext>
                </a:extLst>
              </p:cNvPr>
              <p:cNvSpPr>
                <a:spLocks noChangeShapeType="1"/>
              </p:cNvSpPr>
              <p:nvPr/>
            </p:nvSpPr>
            <p:spPr bwMode="auto">
              <a:xfrm rot="2700000">
                <a:off x="3932238" y="3036646"/>
                <a:ext cx="0" cy="317566"/>
              </a:xfrm>
              <a:prstGeom prst="line">
                <a:avLst/>
              </a:pr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sp>
          <p:nvSpPr>
            <p:cNvPr id="60" name="Wifi_E701" title="Icon of a wireless signal">
              <a:extLst>
                <a:ext uri="{FF2B5EF4-FFF2-40B4-BE49-F238E27FC236}">
                  <a16:creationId xmlns:a16="http://schemas.microsoft.com/office/drawing/2014/main" id="{18E15321-9D4D-46C1-B721-440F2636A057}"/>
                </a:ext>
              </a:extLst>
            </p:cNvPr>
            <p:cNvSpPr>
              <a:spLocks noChangeAspect="1" noEditPoints="1"/>
            </p:cNvSpPr>
            <p:nvPr/>
          </p:nvSpPr>
          <p:spPr bwMode="auto">
            <a:xfrm rot="2700000">
              <a:off x="2179669" y="3378403"/>
              <a:ext cx="141726" cy="141794"/>
            </a:xfrm>
            <a:custGeom>
              <a:avLst/>
              <a:gdLst>
                <a:gd name="T0" fmla="*/ 2506 w 2874"/>
                <a:gd name="T1" fmla="*/ 2756 h 2874"/>
                <a:gd name="T2" fmla="*/ 2256 w 2874"/>
                <a:gd name="T3" fmla="*/ 2506 h 2874"/>
                <a:gd name="T4" fmla="*/ 2506 w 2874"/>
                <a:gd name="T5" fmla="*/ 2256 h 2874"/>
                <a:gd name="T6" fmla="*/ 2756 w 2874"/>
                <a:gd name="T7" fmla="*/ 2506 h 2874"/>
                <a:gd name="T8" fmla="*/ 2506 w 2874"/>
                <a:gd name="T9" fmla="*/ 2756 h 2874"/>
                <a:gd name="T10" fmla="*/ 2874 w 2874"/>
                <a:gd name="T11" fmla="*/ 1504 h 2874"/>
                <a:gd name="T12" fmla="*/ 1504 w 2874"/>
                <a:gd name="T13" fmla="*/ 2874 h 2874"/>
                <a:gd name="T14" fmla="*/ 2874 w 2874"/>
                <a:gd name="T15" fmla="*/ 744 h 2874"/>
                <a:gd name="T16" fmla="*/ 744 w 2874"/>
                <a:gd name="T17" fmla="*/ 2874 h 2874"/>
                <a:gd name="T18" fmla="*/ 2874 w 2874"/>
                <a:gd name="T19" fmla="*/ 0 h 2874"/>
                <a:gd name="T20" fmla="*/ 0 w 2874"/>
                <a:gd name="T21" fmla="*/ 2874 h 2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4" h="2874">
                  <a:moveTo>
                    <a:pt x="2506" y="2756"/>
                  </a:moveTo>
                  <a:cubicBezTo>
                    <a:pt x="2368" y="2756"/>
                    <a:pt x="2256" y="2644"/>
                    <a:pt x="2256" y="2506"/>
                  </a:cubicBezTo>
                  <a:cubicBezTo>
                    <a:pt x="2256" y="2368"/>
                    <a:pt x="2368" y="2256"/>
                    <a:pt x="2506" y="2256"/>
                  </a:cubicBezTo>
                  <a:cubicBezTo>
                    <a:pt x="2644" y="2256"/>
                    <a:pt x="2756" y="2368"/>
                    <a:pt x="2756" y="2506"/>
                  </a:cubicBezTo>
                  <a:cubicBezTo>
                    <a:pt x="2756" y="2644"/>
                    <a:pt x="2644" y="2756"/>
                    <a:pt x="2506" y="2756"/>
                  </a:cubicBezTo>
                  <a:close/>
                  <a:moveTo>
                    <a:pt x="2874" y="1504"/>
                  </a:moveTo>
                  <a:cubicBezTo>
                    <a:pt x="2117" y="1504"/>
                    <a:pt x="1504" y="2117"/>
                    <a:pt x="1504" y="2874"/>
                  </a:cubicBezTo>
                  <a:moveTo>
                    <a:pt x="2874" y="744"/>
                  </a:moveTo>
                  <a:cubicBezTo>
                    <a:pt x="1698" y="744"/>
                    <a:pt x="744" y="1698"/>
                    <a:pt x="744" y="2874"/>
                  </a:cubicBezTo>
                  <a:moveTo>
                    <a:pt x="2874" y="0"/>
                  </a:moveTo>
                  <a:cubicBezTo>
                    <a:pt x="1287" y="0"/>
                    <a:pt x="0" y="1287"/>
                    <a:pt x="0" y="28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Tree>
    <p:extLst>
      <p:ext uri="{BB962C8B-B14F-4D97-AF65-F5344CB8AC3E}">
        <p14:creationId xmlns:p14="http://schemas.microsoft.com/office/powerpoint/2010/main" val="129772660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E52E863-0E53-4790-BD46-BD399ADF26C8}"/>
              </a:ext>
            </a:extLst>
          </p:cNvPr>
          <p:cNvSpPr>
            <a:spLocks noGrp="1"/>
          </p:cNvSpPr>
          <p:nvPr>
            <p:ph type="title"/>
          </p:nvPr>
        </p:nvSpPr>
        <p:spPr>
          <a:xfrm>
            <a:off x="457200" y="503238"/>
            <a:ext cx="11520488" cy="1178454"/>
          </a:xfrm>
        </p:spPr>
        <p:txBody>
          <a:bodyPr/>
          <a:lstStyle/>
          <a:p>
            <a:r>
              <a:rPr lang="en-US">
                <a:solidFill>
                  <a:schemeClr val="tx2"/>
                </a:solidFill>
                <a:latin typeface="Segoe UI Semibold" panose="020B0702040204020203" pitchFamily="34" charset="0"/>
                <a:cs typeface="Segoe UI Semibold" panose="020B0702040204020203" pitchFamily="34" charset="0"/>
              </a:rPr>
              <a:t>Hybrid learning</a:t>
            </a:r>
            <a:r>
              <a:rPr lang="en-US"/>
              <a:t> is the future</a:t>
            </a:r>
            <a:endParaRPr lang="en-US">
              <a:solidFill>
                <a:schemeClr val="tx2"/>
              </a:solidFill>
              <a:latin typeface="Segoe UI Semibold" panose="020B0702040204020203" pitchFamily="34" charset="0"/>
              <a:cs typeface="Segoe UI Semibold" panose="020B0702040204020203" pitchFamily="34" charset="0"/>
            </a:endParaRPr>
          </a:p>
        </p:txBody>
      </p:sp>
      <p:sp>
        <p:nvSpPr>
          <p:cNvPr id="35" name="TextBox 34">
            <a:extLst>
              <a:ext uri="{FF2B5EF4-FFF2-40B4-BE49-F238E27FC236}">
                <a16:creationId xmlns:a16="http://schemas.microsoft.com/office/drawing/2014/main" id="{48998216-2DD9-41F2-9159-16282532EEEF}"/>
              </a:ext>
            </a:extLst>
          </p:cNvPr>
          <p:cNvSpPr txBox="1"/>
          <p:nvPr/>
        </p:nvSpPr>
        <p:spPr>
          <a:xfrm>
            <a:off x="403610" y="1227320"/>
            <a:ext cx="11520477" cy="646331"/>
          </a:xfrm>
          <a:prstGeom prst="rect">
            <a:avLst/>
          </a:prstGeom>
          <a:noFill/>
        </p:spPr>
        <p:txBody>
          <a:bodyPr wrap="square">
            <a:spAutoFit/>
          </a:bodyPr>
          <a:lstStyle/>
          <a:p>
            <a:r>
              <a:rPr lang="en-US"/>
              <a:t>Hybrid learning involves more than virtual classes—it is a holistic learning experience that enables all students to continue their education regardless of weather, transportation limitations, or other obstacles they may face.</a:t>
            </a:r>
          </a:p>
        </p:txBody>
      </p:sp>
      <p:sp>
        <p:nvSpPr>
          <p:cNvPr id="36" name="TextBox 35">
            <a:extLst>
              <a:ext uri="{FF2B5EF4-FFF2-40B4-BE49-F238E27FC236}">
                <a16:creationId xmlns:a16="http://schemas.microsoft.com/office/drawing/2014/main" id="{9E9F1AFB-0BE1-4241-A09E-CA62030F9EC8}"/>
              </a:ext>
            </a:extLst>
          </p:cNvPr>
          <p:cNvSpPr txBox="1"/>
          <p:nvPr/>
        </p:nvSpPr>
        <p:spPr>
          <a:xfrm>
            <a:off x="403610" y="2018052"/>
            <a:ext cx="11520477" cy="369332"/>
          </a:xfrm>
          <a:prstGeom prst="rect">
            <a:avLst/>
          </a:prstGeom>
          <a:noFill/>
        </p:spPr>
        <p:txBody>
          <a:bodyPr wrap="square">
            <a:spAutoFit/>
          </a:bodyPr>
          <a:lstStyle/>
          <a:p>
            <a:r>
              <a:rPr lang="en-US">
                <a:solidFill>
                  <a:schemeClr val="tx2"/>
                </a:solidFill>
                <a:latin typeface="Segoe UI Semibold" panose="020B0702040204020203" pitchFamily="34" charset="0"/>
                <a:cs typeface="Segoe UI Semibold" panose="020B0702040204020203" pitchFamily="34" charset="0"/>
              </a:rPr>
              <a:t>An agile hybrid learning system requires:</a:t>
            </a:r>
          </a:p>
        </p:txBody>
      </p:sp>
      <p:sp>
        <p:nvSpPr>
          <p:cNvPr id="43" name="Rectangle 42">
            <a:extLst>
              <a:ext uri="{FF2B5EF4-FFF2-40B4-BE49-F238E27FC236}">
                <a16:creationId xmlns:a16="http://schemas.microsoft.com/office/drawing/2014/main" id="{A2D17DEC-88BA-48C3-AA85-567B9C058A69}"/>
              </a:ext>
            </a:extLst>
          </p:cNvPr>
          <p:cNvSpPr/>
          <p:nvPr/>
        </p:nvSpPr>
        <p:spPr>
          <a:xfrm>
            <a:off x="457201" y="4456638"/>
            <a:ext cx="3586665" cy="830997"/>
          </a:xfrm>
          <a:prstGeom prst="rect">
            <a:avLst/>
          </a:prstGeom>
        </p:spPr>
        <p:txBody>
          <a:bodyPr wrap="square" lIns="0" tIns="0" rIns="0" bIns="0">
            <a:spAutoFit/>
          </a:bodyPr>
          <a:lstStyle/>
          <a:p>
            <a:pPr algn="ctr" defTabSz="932472" fontAlgn="base">
              <a:spcBef>
                <a:spcPct val="0"/>
              </a:spcBef>
              <a:spcAft>
                <a:spcPts val="600"/>
              </a:spcAft>
            </a:pPr>
            <a:r>
              <a:rPr lang="en-US"/>
              <a:t>Accessible and secure devices for students that enable learning </a:t>
            </a:r>
            <a:br>
              <a:rPr lang="en-US"/>
            </a:br>
            <a:r>
              <a:rPr lang="en-US"/>
              <a:t>online and off</a:t>
            </a:r>
          </a:p>
        </p:txBody>
      </p:sp>
      <p:sp>
        <p:nvSpPr>
          <p:cNvPr id="44" name="Rectangle 43">
            <a:extLst>
              <a:ext uri="{FF2B5EF4-FFF2-40B4-BE49-F238E27FC236}">
                <a16:creationId xmlns:a16="http://schemas.microsoft.com/office/drawing/2014/main" id="{60339C3E-C42F-482A-837A-D588EFCAFEF4}"/>
              </a:ext>
            </a:extLst>
          </p:cNvPr>
          <p:cNvSpPr/>
          <p:nvPr/>
        </p:nvSpPr>
        <p:spPr>
          <a:xfrm>
            <a:off x="4424113" y="4456638"/>
            <a:ext cx="3586665" cy="830997"/>
          </a:xfrm>
          <a:prstGeom prst="rect">
            <a:avLst/>
          </a:prstGeom>
        </p:spPr>
        <p:txBody>
          <a:bodyPr wrap="square" lIns="0" tIns="0" rIns="0" bIns="0">
            <a:spAutoFit/>
          </a:bodyPr>
          <a:lstStyle/>
          <a:p>
            <a:pPr algn="ctr" defTabSz="932472" fontAlgn="base">
              <a:spcBef>
                <a:spcPct val="0"/>
              </a:spcBef>
              <a:spcAft>
                <a:spcPts val="600"/>
              </a:spcAft>
            </a:pPr>
            <a:r>
              <a:rPr lang="en-US"/>
              <a:t>Training and resources for teachers so they can confidently engage students online</a:t>
            </a:r>
          </a:p>
        </p:txBody>
      </p:sp>
      <p:sp>
        <p:nvSpPr>
          <p:cNvPr id="45" name="Rectangle 44">
            <a:extLst>
              <a:ext uri="{FF2B5EF4-FFF2-40B4-BE49-F238E27FC236}">
                <a16:creationId xmlns:a16="http://schemas.microsoft.com/office/drawing/2014/main" id="{FB11E50E-51EA-42D6-BC3E-91150B046E4A}"/>
              </a:ext>
            </a:extLst>
          </p:cNvPr>
          <p:cNvSpPr/>
          <p:nvPr/>
        </p:nvSpPr>
        <p:spPr>
          <a:xfrm>
            <a:off x="8391023" y="4456638"/>
            <a:ext cx="3586665" cy="830997"/>
          </a:xfrm>
          <a:prstGeom prst="rect">
            <a:avLst/>
          </a:prstGeom>
        </p:spPr>
        <p:txBody>
          <a:bodyPr wrap="square" lIns="0" tIns="0" rIns="0" bIns="0">
            <a:spAutoFit/>
          </a:bodyPr>
          <a:lstStyle/>
          <a:p>
            <a:pPr algn="ctr" defTabSz="932472" fontAlgn="base">
              <a:spcBef>
                <a:spcPct val="0"/>
              </a:spcBef>
              <a:spcAft>
                <a:spcPts val="600"/>
              </a:spcAft>
            </a:pPr>
            <a:r>
              <a:rPr lang="en-US"/>
              <a:t>Easy-to-manage technology that keeps students safe and </a:t>
            </a:r>
            <a:br>
              <a:rPr lang="en-US"/>
            </a:br>
            <a:r>
              <a:rPr lang="en-US"/>
              <a:t>school data secure </a:t>
            </a:r>
          </a:p>
        </p:txBody>
      </p:sp>
      <p:sp>
        <p:nvSpPr>
          <p:cNvPr id="46" name="Oval 45">
            <a:extLst>
              <a:ext uri="{FF2B5EF4-FFF2-40B4-BE49-F238E27FC236}">
                <a16:creationId xmlns:a16="http://schemas.microsoft.com/office/drawing/2014/main" id="{250105E1-C013-4CEF-A66F-C3CFE4277B9D}"/>
              </a:ext>
              <a:ext uri="{C183D7F6-B498-43B3-948B-1728B52AA6E4}">
                <adec:decorative xmlns:adec="http://schemas.microsoft.com/office/drawing/2017/decorative" val="1"/>
              </a:ext>
            </a:extLst>
          </p:cNvPr>
          <p:cNvSpPr/>
          <p:nvPr/>
        </p:nvSpPr>
        <p:spPr bwMode="auto">
          <a:xfrm>
            <a:off x="1517399" y="2764130"/>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sp>
        <p:nvSpPr>
          <p:cNvPr id="47" name="Oval 46">
            <a:extLst>
              <a:ext uri="{FF2B5EF4-FFF2-40B4-BE49-F238E27FC236}">
                <a16:creationId xmlns:a16="http://schemas.microsoft.com/office/drawing/2014/main" id="{7D3DA912-C986-4FBA-9D67-424EA9CA531D}"/>
              </a:ext>
              <a:ext uri="{C183D7F6-B498-43B3-948B-1728B52AA6E4}">
                <adec:decorative xmlns:adec="http://schemas.microsoft.com/office/drawing/2017/decorative" val="1"/>
              </a:ext>
            </a:extLst>
          </p:cNvPr>
          <p:cNvSpPr/>
          <p:nvPr/>
        </p:nvSpPr>
        <p:spPr bwMode="auto">
          <a:xfrm>
            <a:off x="9451221" y="2764130"/>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sp>
        <p:nvSpPr>
          <p:cNvPr id="48" name="Oval 47">
            <a:extLst>
              <a:ext uri="{FF2B5EF4-FFF2-40B4-BE49-F238E27FC236}">
                <a16:creationId xmlns:a16="http://schemas.microsoft.com/office/drawing/2014/main" id="{C0FDCD9E-1509-411A-B1A2-8885BC03CF59}"/>
              </a:ext>
              <a:ext uri="{C183D7F6-B498-43B3-948B-1728B52AA6E4}">
                <adec:decorative xmlns:adec="http://schemas.microsoft.com/office/drawing/2017/decorative" val="1"/>
              </a:ext>
            </a:extLst>
          </p:cNvPr>
          <p:cNvSpPr/>
          <p:nvPr/>
        </p:nvSpPr>
        <p:spPr bwMode="auto">
          <a:xfrm>
            <a:off x="5484311" y="2764130"/>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nvGrpSpPr>
          <p:cNvPr id="49" name="Group 48">
            <a:extLst>
              <a:ext uri="{FF2B5EF4-FFF2-40B4-BE49-F238E27FC236}">
                <a16:creationId xmlns:a16="http://schemas.microsoft.com/office/drawing/2014/main" id="{C5C1766B-9104-4368-B339-B683EC622A4A}"/>
              </a:ext>
              <a:ext uri="{C183D7F6-B498-43B3-948B-1728B52AA6E4}">
                <adec:decorative xmlns:adec="http://schemas.microsoft.com/office/drawing/2017/decorative" val="1"/>
              </a:ext>
            </a:extLst>
          </p:cNvPr>
          <p:cNvGrpSpPr/>
          <p:nvPr/>
        </p:nvGrpSpPr>
        <p:grpSpPr>
          <a:xfrm>
            <a:off x="4233990" y="4456638"/>
            <a:ext cx="3966911" cy="894693"/>
            <a:chOff x="4233989" y="4234258"/>
            <a:chExt cx="3966911" cy="1170862"/>
          </a:xfrm>
        </p:grpSpPr>
        <p:cxnSp>
          <p:nvCxnSpPr>
            <p:cNvPr id="50" name="Straight Connector 49">
              <a:extLst>
                <a:ext uri="{FF2B5EF4-FFF2-40B4-BE49-F238E27FC236}">
                  <a16:creationId xmlns:a16="http://schemas.microsoft.com/office/drawing/2014/main" id="{EAFD82EC-29B7-49AF-A012-F85D72A49622}"/>
                </a:ext>
              </a:extLst>
            </p:cNvPr>
            <p:cNvCxnSpPr>
              <a:cxnSpLocks/>
            </p:cNvCxnSpPr>
            <p:nvPr/>
          </p:nvCxnSpPr>
          <p:spPr>
            <a:xfrm>
              <a:off x="4233989" y="4234258"/>
              <a:ext cx="0" cy="1170862"/>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B2A09AE-23B7-476E-8CB9-2491928F47A8}"/>
                </a:ext>
              </a:extLst>
            </p:cNvPr>
            <p:cNvCxnSpPr>
              <a:cxnSpLocks/>
            </p:cNvCxnSpPr>
            <p:nvPr/>
          </p:nvCxnSpPr>
          <p:spPr>
            <a:xfrm>
              <a:off x="8200900" y="4234258"/>
              <a:ext cx="0" cy="1170862"/>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52" name="UniversalApp_E8CC">
            <a:extLst>
              <a:ext uri="{FF2B5EF4-FFF2-40B4-BE49-F238E27FC236}">
                <a16:creationId xmlns:a16="http://schemas.microsoft.com/office/drawing/2014/main" id="{A28E3DD5-0B73-4D2C-88EA-4B062B9F5B7E}"/>
              </a:ext>
              <a:ext uri="{C183D7F6-B498-43B3-948B-1728B52AA6E4}">
                <adec:decorative xmlns:adec="http://schemas.microsoft.com/office/drawing/2017/decorative" val="1"/>
              </a:ext>
            </a:extLst>
          </p:cNvPr>
          <p:cNvSpPr>
            <a:spLocks noChangeAspect="1" noEditPoints="1"/>
          </p:cNvSpPr>
          <p:nvPr/>
        </p:nvSpPr>
        <p:spPr bwMode="auto">
          <a:xfrm>
            <a:off x="1818824" y="3180467"/>
            <a:ext cx="863418" cy="633590"/>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nvGrpSpPr>
          <p:cNvPr id="53" name="Group 52">
            <a:extLst>
              <a:ext uri="{FF2B5EF4-FFF2-40B4-BE49-F238E27FC236}">
                <a16:creationId xmlns:a16="http://schemas.microsoft.com/office/drawing/2014/main" id="{4D9AF249-91A8-4A64-9788-60CE3AF6F438}"/>
              </a:ext>
              <a:ext uri="{C183D7F6-B498-43B3-948B-1728B52AA6E4}">
                <adec:decorative xmlns:adec="http://schemas.microsoft.com/office/drawing/2017/decorative" val="1"/>
              </a:ext>
            </a:extLst>
          </p:cNvPr>
          <p:cNvGrpSpPr/>
          <p:nvPr/>
        </p:nvGrpSpPr>
        <p:grpSpPr>
          <a:xfrm>
            <a:off x="5779635" y="3180467"/>
            <a:ext cx="875620" cy="671068"/>
            <a:chOff x="5836854" y="2985881"/>
            <a:chExt cx="752704" cy="576866"/>
          </a:xfrm>
        </p:grpSpPr>
        <p:grpSp>
          <p:nvGrpSpPr>
            <p:cNvPr id="54" name="Group 53">
              <a:extLst>
                <a:ext uri="{FF2B5EF4-FFF2-40B4-BE49-F238E27FC236}">
                  <a16:creationId xmlns:a16="http://schemas.microsoft.com/office/drawing/2014/main" id="{7AD0DD32-16F8-4D92-B449-6AABF31B73D4}"/>
                </a:ext>
              </a:extLst>
            </p:cNvPr>
            <p:cNvGrpSpPr/>
            <p:nvPr/>
          </p:nvGrpSpPr>
          <p:grpSpPr>
            <a:xfrm>
              <a:off x="6021643" y="3046324"/>
              <a:ext cx="383126" cy="338014"/>
              <a:chOff x="8200900" y="2784024"/>
              <a:chExt cx="580420" cy="512077"/>
            </a:xfrm>
          </p:grpSpPr>
          <p:grpSp>
            <p:nvGrpSpPr>
              <p:cNvPr id="56" name="Graphic 63">
                <a:extLst>
                  <a:ext uri="{FF2B5EF4-FFF2-40B4-BE49-F238E27FC236}">
                    <a16:creationId xmlns:a16="http://schemas.microsoft.com/office/drawing/2014/main" id="{3F02A0BF-DB8D-4B36-A103-A385059F0154}"/>
                  </a:ext>
                </a:extLst>
              </p:cNvPr>
              <p:cNvGrpSpPr/>
              <p:nvPr/>
            </p:nvGrpSpPr>
            <p:grpSpPr>
              <a:xfrm>
                <a:off x="8234192" y="2917874"/>
                <a:ext cx="164270" cy="177411"/>
                <a:chOff x="832392" y="1752609"/>
                <a:chExt cx="290032" cy="313234"/>
              </a:xfrm>
              <a:noFill/>
            </p:grpSpPr>
            <p:sp>
              <p:nvSpPr>
                <p:cNvPr id="68" name="Freeform: Shape 67">
                  <a:extLst>
                    <a:ext uri="{FF2B5EF4-FFF2-40B4-BE49-F238E27FC236}">
                      <a16:creationId xmlns:a16="http://schemas.microsoft.com/office/drawing/2014/main" id="{B5244040-8D27-4B23-90BD-B232BF7D154C}"/>
                    </a:ext>
                  </a:extLst>
                </p:cNvPr>
                <p:cNvSpPr/>
                <p:nvPr/>
              </p:nvSpPr>
              <p:spPr>
                <a:xfrm>
                  <a:off x="894265" y="1752609"/>
                  <a:ext cx="174019" cy="174020"/>
                </a:xfrm>
                <a:custGeom>
                  <a:avLst/>
                  <a:gdLst>
                    <a:gd name="connsiteX0" fmla="*/ 87976 w 174019"/>
                    <a:gd name="connsiteY0" fmla="*/ 0 h 174019"/>
                    <a:gd name="connsiteX1" fmla="*/ 0 w 174019"/>
                    <a:gd name="connsiteY1" fmla="*/ 88943 h 174019"/>
                    <a:gd name="connsiteX2" fmla="*/ 87976 w 174019"/>
                    <a:gd name="connsiteY2" fmla="*/ 177886 h 174019"/>
                    <a:gd name="connsiteX3" fmla="*/ 177500 w 174019"/>
                    <a:gd name="connsiteY3" fmla="*/ 88943 h 174019"/>
                    <a:gd name="connsiteX4" fmla="*/ 87976 w 174019"/>
                    <a:gd name="connsiteY4" fmla="*/ 0 h 174019"/>
                    <a:gd name="connsiteX5" fmla="*/ 87976 w 174019"/>
                    <a:gd name="connsiteY5" fmla="*/ 0 h 174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019" h="174019">
                      <a:moveTo>
                        <a:pt x="87976" y="0"/>
                      </a:moveTo>
                      <a:cubicBezTo>
                        <a:pt x="39058" y="0"/>
                        <a:pt x="0" y="40411"/>
                        <a:pt x="0" y="88943"/>
                      </a:cubicBezTo>
                      <a:cubicBezTo>
                        <a:pt x="0" y="137475"/>
                        <a:pt x="39058" y="177886"/>
                        <a:pt x="87976" y="177886"/>
                      </a:cubicBezTo>
                      <a:cubicBezTo>
                        <a:pt x="138442" y="177886"/>
                        <a:pt x="177500" y="137475"/>
                        <a:pt x="177500" y="88943"/>
                      </a:cubicBezTo>
                      <a:cubicBezTo>
                        <a:pt x="177500" y="40411"/>
                        <a:pt x="138442" y="0"/>
                        <a:pt x="87976" y="0"/>
                      </a:cubicBezTo>
                      <a:lnTo>
                        <a:pt x="87976" y="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 name="Freeform: Shape 68">
                  <a:extLst>
                    <a:ext uri="{FF2B5EF4-FFF2-40B4-BE49-F238E27FC236}">
                      <a16:creationId xmlns:a16="http://schemas.microsoft.com/office/drawing/2014/main" id="{DD76BF1E-887E-438A-AB3E-495B83FCAC62}"/>
                    </a:ext>
                  </a:extLst>
                </p:cNvPr>
                <p:cNvSpPr/>
                <p:nvPr/>
              </p:nvSpPr>
              <p:spPr>
                <a:xfrm>
                  <a:off x="832392" y="1930495"/>
                  <a:ext cx="290032" cy="135348"/>
                </a:xfrm>
                <a:custGeom>
                  <a:avLst/>
                  <a:gdLst>
                    <a:gd name="connsiteX0" fmla="*/ 301247 w 290031"/>
                    <a:gd name="connsiteY0" fmla="*/ 148883 h 135348"/>
                    <a:gd name="connsiteX1" fmla="*/ 149850 w 290031"/>
                    <a:gd name="connsiteY1" fmla="*/ 0 h 135348"/>
                    <a:gd name="connsiteX2" fmla="*/ 0 w 290031"/>
                    <a:gd name="connsiteY2" fmla="*/ 148883 h 135348"/>
                  </a:gdLst>
                  <a:ahLst/>
                  <a:cxnLst>
                    <a:cxn ang="0">
                      <a:pos x="connsiteX0" y="connsiteY0"/>
                    </a:cxn>
                    <a:cxn ang="0">
                      <a:pos x="connsiteX1" y="connsiteY1"/>
                    </a:cxn>
                    <a:cxn ang="0">
                      <a:pos x="connsiteX2" y="connsiteY2"/>
                    </a:cxn>
                  </a:cxnLst>
                  <a:rect l="l" t="t" r="r" b="b"/>
                  <a:pathLst>
                    <a:path w="290031" h="135348">
                      <a:moveTo>
                        <a:pt x="301247" y="148883"/>
                      </a:moveTo>
                      <a:cubicBezTo>
                        <a:pt x="301247" y="66321"/>
                        <a:pt x="234539" y="0"/>
                        <a:pt x="149850" y="0"/>
                      </a:cubicBezTo>
                      <a:cubicBezTo>
                        <a:pt x="66901" y="0"/>
                        <a:pt x="0" y="66321"/>
                        <a:pt x="0" y="148883"/>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57" name="Graphic 63">
                <a:extLst>
                  <a:ext uri="{FF2B5EF4-FFF2-40B4-BE49-F238E27FC236}">
                    <a16:creationId xmlns:a16="http://schemas.microsoft.com/office/drawing/2014/main" id="{361AB15A-687C-4E9F-94A9-05EEF96DB316}"/>
                  </a:ext>
                </a:extLst>
              </p:cNvPr>
              <p:cNvGrpSpPr/>
              <p:nvPr/>
            </p:nvGrpSpPr>
            <p:grpSpPr>
              <a:xfrm>
                <a:off x="8234192" y="3143337"/>
                <a:ext cx="120465" cy="131416"/>
                <a:chOff x="832392" y="2150682"/>
                <a:chExt cx="212690" cy="232026"/>
              </a:xfrm>
              <a:noFill/>
            </p:grpSpPr>
            <p:sp>
              <p:nvSpPr>
                <p:cNvPr id="66" name="Freeform: Shape 65">
                  <a:extLst>
                    <a:ext uri="{FF2B5EF4-FFF2-40B4-BE49-F238E27FC236}">
                      <a16:creationId xmlns:a16="http://schemas.microsoft.com/office/drawing/2014/main" id="{4610B179-1BCA-4664-9D9A-A13AA1E92BAE}"/>
                    </a:ext>
                  </a:extLst>
                </p:cNvPr>
                <p:cNvSpPr/>
                <p:nvPr/>
              </p:nvSpPr>
              <p:spPr>
                <a:xfrm>
                  <a:off x="879183" y="2150682"/>
                  <a:ext cx="116013" cy="116013"/>
                </a:xfrm>
                <a:custGeom>
                  <a:avLst/>
                  <a:gdLst>
                    <a:gd name="connsiteX0" fmla="*/ 66514 w 116012"/>
                    <a:gd name="connsiteY0" fmla="*/ 0 h 116012"/>
                    <a:gd name="connsiteX1" fmla="*/ 0 w 116012"/>
                    <a:gd name="connsiteY1" fmla="*/ 67287 h 116012"/>
                    <a:gd name="connsiteX2" fmla="*/ 66514 w 116012"/>
                    <a:gd name="connsiteY2" fmla="*/ 134575 h 116012"/>
                    <a:gd name="connsiteX3" fmla="*/ 134188 w 116012"/>
                    <a:gd name="connsiteY3" fmla="*/ 67287 h 116012"/>
                    <a:gd name="connsiteX4" fmla="*/ 66514 w 116012"/>
                    <a:gd name="connsiteY4" fmla="*/ 0 h 116012"/>
                    <a:gd name="connsiteX5" fmla="*/ 66514 w 116012"/>
                    <a:gd name="connsiteY5" fmla="*/ 0 h 11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12" h="116012">
                      <a:moveTo>
                        <a:pt x="66514" y="0"/>
                      </a:moveTo>
                      <a:cubicBezTo>
                        <a:pt x="29583" y="0"/>
                        <a:pt x="0" y="30550"/>
                        <a:pt x="0" y="67287"/>
                      </a:cubicBezTo>
                      <a:cubicBezTo>
                        <a:pt x="0" y="104025"/>
                        <a:pt x="29583" y="134575"/>
                        <a:pt x="66514" y="134575"/>
                      </a:cubicBezTo>
                      <a:cubicBezTo>
                        <a:pt x="104605" y="134575"/>
                        <a:pt x="134188" y="104025"/>
                        <a:pt x="134188" y="67287"/>
                      </a:cubicBezTo>
                      <a:cubicBezTo>
                        <a:pt x="134188" y="30550"/>
                        <a:pt x="104798" y="0"/>
                        <a:pt x="66514" y="0"/>
                      </a:cubicBezTo>
                      <a:lnTo>
                        <a:pt x="66514" y="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Freeform: Shape 66">
                  <a:extLst>
                    <a:ext uri="{FF2B5EF4-FFF2-40B4-BE49-F238E27FC236}">
                      <a16:creationId xmlns:a16="http://schemas.microsoft.com/office/drawing/2014/main" id="{08BFEBAB-D1D0-415C-BE25-C801DFED9BDE}"/>
                    </a:ext>
                  </a:extLst>
                </p:cNvPr>
                <p:cNvSpPr/>
                <p:nvPr/>
              </p:nvSpPr>
              <p:spPr>
                <a:xfrm>
                  <a:off x="832392" y="2285257"/>
                  <a:ext cx="212690" cy="96677"/>
                </a:xfrm>
                <a:custGeom>
                  <a:avLst/>
                  <a:gdLst>
                    <a:gd name="connsiteX0" fmla="*/ 227772 w 212690"/>
                    <a:gd name="connsiteY0" fmla="*/ 112532 h 96677"/>
                    <a:gd name="connsiteX1" fmla="*/ 113306 w 212690"/>
                    <a:gd name="connsiteY1" fmla="*/ 0 h 96677"/>
                    <a:gd name="connsiteX2" fmla="*/ 0 w 212690"/>
                    <a:gd name="connsiteY2" fmla="*/ 112532 h 96677"/>
                  </a:gdLst>
                  <a:ahLst/>
                  <a:cxnLst>
                    <a:cxn ang="0">
                      <a:pos x="connsiteX0" y="connsiteY0"/>
                    </a:cxn>
                    <a:cxn ang="0">
                      <a:pos x="connsiteX1" y="connsiteY1"/>
                    </a:cxn>
                    <a:cxn ang="0">
                      <a:pos x="connsiteX2" y="connsiteY2"/>
                    </a:cxn>
                  </a:cxnLst>
                  <a:rect l="l" t="t" r="r" b="b"/>
                  <a:pathLst>
                    <a:path w="212690" h="96677">
                      <a:moveTo>
                        <a:pt x="227772" y="112532"/>
                      </a:moveTo>
                      <a:cubicBezTo>
                        <a:pt x="227772" y="50079"/>
                        <a:pt x="177306" y="0"/>
                        <a:pt x="113306" y="0"/>
                      </a:cubicBezTo>
                      <a:cubicBezTo>
                        <a:pt x="50466" y="0"/>
                        <a:pt x="0" y="50079"/>
                        <a:pt x="0" y="112532"/>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58" name="Graphic 63">
                <a:extLst>
                  <a:ext uri="{FF2B5EF4-FFF2-40B4-BE49-F238E27FC236}">
                    <a16:creationId xmlns:a16="http://schemas.microsoft.com/office/drawing/2014/main" id="{E422AE29-B9FF-4985-BF46-654C6A6D4F9A}"/>
                  </a:ext>
                </a:extLst>
              </p:cNvPr>
              <p:cNvGrpSpPr/>
              <p:nvPr/>
            </p:nvGrpSpPr>
            <p:grpSpPr>
              <a:xfrm>
                <a:off x="8428797" y="3143337"/>
                <a:ext cx="120465" cy="131416"/>
                <a:chOff x="1175983" y="2150682"/>
                <a:chExt cx="212690" cy="232026"/>
              </a:xfrm>
              <a:noFill/>
            </p:grpSpPr>
            <p:sp>
              <p:nvSpPr>
                <p:cNvPr id="64" name="Freeform: Shape 63">
                  <a:extLst>
                    <a:ext uri="{FF2B5EF4-FFF2-40B4-BE49-F238E27FC236}">
                      <a16:creationId xmlns:a16="http://schemas.microsoft.com/office/drawing/2014/main" id="{03271A36-E91B-4236-83FF-43BEC02B7697}"/>
                    </a:ext>
                  </a:extLst>
                </p:cNvPr>
                <p:cNvSpPr/>
                <p:nvPr/>
              </p:nvSpPr>
              <p:spPr>
                <a:xfrm>
                  <a:off x="1222775" y="2150682"/>
                  <a:ext cx="116013" cy="116013"/>
                </a:xfrm>
                <a:custGeom>
                  <a:avLst/>
                  <a:gdLst>
                    <a:gd name="connsiteX0" fmla="*/ 66514 w 116012"/>
                    <a:gd name="connsiteY0" fmla="*/ 0 h 116012"/>
                    <a:gd name="connsiteX1" fmla="*/ 0 w 116012"/>
                    <a:gd name="connsiteY1" fmla="*/ 67287 h 116012"/>
                    <a:gd name="connsiteX2" fmla="*/ 66514 w 116012"/>
                    <a:gd name="connsiteY2" fmla="*/ 134575 h 116012"/>
                    <a:gd name="connsiteX3" fmla="*/ 134188 w 116012"/>
                    <a:gd name="connsiteY3" fmla="*/ 67287 h 116012"/>
                    <a:gd name="connsiteX4" fmla="*/ 66514 w 116012"/>
                    <a:gd name="connsiteY4" fmla="*/ 0 h 116012"/>
                    <a:gd name="connsiteX5" fmla="*/ 66514 w 116012"/>
                    <a:gd name="connsiteY5" fmla="*/ 0 h 11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12" h="116012">
                      <a:moveTo>
                        <a:pt x="66514" y="0"/>
                      </a:moveTo>
                      <a:cubicBezTo>
                        <a:pt x="29583" y="0"/>
                        <a:pt x="0" y="30550"/>
                        <a:pt x="0" y="67287"/>
                      </a:cubicBezTo>
                      <a:cubicBezTo>
                        <a:pt x="0" y="104025"/>
                        <a:pt x="29583" y="134575"/>
                        <a:pt x="66514" y="134575"/>
                      </a:cubicBezTo>
                      <a:cubicBezTo>
                        <a:pt x="104605" y="134575"/>
                        <a:pt x="134188" y="104025"/>
                        <a:pt x="134188" y="67287"/>
                      </a:cubicBezTo>
                      <a:cubicBezTo>
                        <a:pt x="134188" y="30550"/>
                        <a:pt x="104605" y="0"/>
                        <a:pt x="66514" y="0"/>
                      </a:cubicBezTo>
                      <a:lnTo>
                        <a:pt x="66514" y="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 name="Freeform: Shape 64">
                  <a:extLst>
                    <a:ext uri="{FF2B5EF4-FFF2-40B4-BE49-F238E27FC236}">
                      <a16:creationId xmlns:a16="http://schemas.microsoft.com/office/drawing/2014/main" id="{1B408096-709F-4C62-921C-C3A3CB9215A8}"/>
                    </a:ext>
                  </a:extLst>
                </p:cNvPr>
                <p:cNvSpPr/>
                <p:nvPr/>
              </p:nvSpPr>
              <p:spPr>
                <a:xfrm>
                  <a:off x="1175983" y="2285257"/>
                  <a:ext cx="212690" cy="96677"/>
                </a:xfrm>
                <a:custGeom>
                  <a:avLst/>
                  <a:gdLst>
                    <a:gd name="connsiteX0" fmla="*/ 227772 w 212690"/>
                    <a:gd name="connsiteY0" fmla="*/ 112532 h 96677"/>
                    <a:gd name="connsiteX1" fmla="*/ 113306 w 212690"/>
                    <a:gd name="connsiteY1" fmla="*/ 0 h 96677"/>
                    <a:gd name="connsiteX2" fmla="*/ 0 w 212690"/>
                    <a:gd name="connsiteY2" fmla="*/ 112532 h 96677"/>
                  </a:gdLst>
                  <a:ahLst/>
                  <a:cxnLst>
                    <a:cxn ang="0">
                      <a:pos x="connsiteX0" y="connsiteY0"/>
                    </a:cxn>
                    <a:cxn ang="0">
                      <a:pos x="connsiteX1" y="connsiteY1"/>
                    </a:cxn>
                    <a:cxn ang="0">
                      <a:pos x="connsiteX2" y="connsiteY2"/>
                    </a:cxn>
                  </a:cxnLst>
                  <a:rect l="l" t="t" r="r" b="b"/>
                  <a:pathLst>
                    <a:path w="212690" h="96677">
                      <a:moveTo>
                        <a:pt x="227772" y="112532"/>
                      </a:moveTo>
                      <a:cubicBezTo>
                        <a:pt x="227772" y="50079"/>
                        <a:pt x="177306" y="0"/>
                        <a:pt x="113306" y="0"/>
                      </a:cubicBezTo>
                      <a:cubicBezTo>
                        <a:pt x="50466" y="0"/>
                        <a:pt x="0" y="50079"/>
                        <a:pt x="0" y="112532"/>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59" name="Graphic 63">
                <a:extLst>
                  <a:ext uri="{FF2B5EF4-FFF2-40B4-BE49-F238E27FC236}">
                    <a16:creationId xmlns:a16="http://schemas.microsoft.com/office/drawing/2014/main" id="{C3C574E6-B7B4-4B4B-927C-83B71B64EF6C}"/>
                  </a:ext>
                </a:extLst>
              </p:cNvPr>
              <p:cNvGrpSpPr/>
              <p:nvPr/>
            </p:nvGrpSpPr>
            <p:grpSpPr>
              <a:xfrm>
                <a:off x="8623402" y="3143337"/>
                <a:ext cx="120465" cy="131416"/>
                <a:chOff x="1519574" y="2150682"/>
                <a:chExt cx="212690" cy="232026"/>
              </a:xfrm>
              <a:noFill/>
            </p:grpSpPr>
            <p:sp>
              <p:nvSpPr>
                <p:cNvPr id="62" name="Freeform: Shape 61">
                  <a:extLst>
                    <a:ext uri="{FF2B5EF4-FFF2-40B4-BE49-F238E27FC236}">
                      <a16:creationId xmlns:a16="http://schemas.microsoft.com/office/drawing/2014/main" id="{B7B341BF-B5CF-48F4-83A3-761AB7B9EE4C}"/>
                    </a:ext>
                  </a:extLst>
                </p:cNvPr>
                <p:cNvSpPr/>
                <p:nvPr/>
              </p:nvSpPr>
              <p:spPr>
                <a:xfrm>
                  <a:off x="1566366" y="2150682"/>
                  <a:ext cx="116013" cy="116013"/>
                </a:xfrm>
                <a:custGeom>
                  <a:avLst/>
                  <a:gdLst>
                    <a:gd name="connsiteX0" fmla="*/ 66514 w 116012"/>
                    <a:gd name="connsiteY0" fmla="*/ 0 h 116012"/>
                    <a:gd name="connsiteX1" fmla="*/ 0 w 116012"/>
                    <a:gd name="connsiteY1" fmla="*/ 67287 h 116012"/>
                    <a:gd name="connsiteX2" fmla="*/ 66514 w 116012"/>
                    <a:gd name="connsiteY2" fmla="*/ 134575 h 116012"/>
                    <a:gd name="connsiteX3" fmla="*/ 134188 w 116012"/>
                    <a:gd name="connsiteY3" fmla="*/ 67287 h 116012"/>
                    <a:gd name="connsiteX4" fmla="*/ 66514 w 116012"/>
                    <a:gd name="connsiteY4" fmla="*/ 0 h 116012"/>
                    <a:gd name="connsiteX5" fmla="*/ 66514 w 116012"/>
                    <a:gd name="connsiteY5" fmla="*/ 0 h 11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12" h="116012">
                      <a:moveTo>
                        <a:pt x="66514" y="0"/>
                      </a:moveTo>
                      <a:cubicBezTo>
                        <a:pt x="29583" y="0"/>
                        <a:pt x="0" y="30550"/>
                        <a:pt x="0" y="67287"/>
                      </a:cubicBezTo>
                      <a:cubicBezTo>
                        <a:pt x="0" y="104025"/>
                        <a:pt x="29583" y="134575"/>
                        <a:pt x="66514" y="134575"/>
                      </a:cubicBezTo>
                      <a:cubicBezTo>
                        <a:pt x="104605" y="134575"/>
                        <a:pt x="134188" y="104025"/>
                        <a:pt x="134188" y="67287"/>
                      </a:cubicBezTo>
                      <a:cubicBezTo>
                        <a:pt x="134188" y="30550"/>
                        <a:pt x="104605" y="0"/>
                        <a:pt x="66514" y="0"/>
                      </a:cubicBezTo>
                      <a:lnTo>
                        <a:pt x="66514" y="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Freeform: Shape 62">
                  <a:extLst>
                    <a:ext uri="{FF2B5EF4-FFF2-40B4-BE49-F238E27FC236}">
                      <a16:creationId xmlns:a16="http://schemas.microsoft.com/office/drawing/2014/main" id="{CA9BBB2E-FA6E-4326-B6A5-57749D1F43D8}"/>
                    </a:ext>
                  </a:extLst>
                </p:cNvPr>
                <p:cNvSpPr/>
                <p:nvPr/>
              </p:nvSpPr>
              <p:spPr>
                <a:xfrm>
                  <a:off x="1519574" y="2285257"/>
                  <a:ext cx="212690" cy="96677"/>
                </a:xfrm>
                <a:custGeom>
                  <a:avLst/>
                  <a:gdLst>
                    <a:gd name="connsiteX0" fmla="*/ 227772 w 212690"/>
                    <a:gd name="connsiteY0" fmla="*/ 112532 h 96677"/>
                    <a:gd name="connsiteX1" fmla="*/ 113306 w 212690"/>
                    <a:gd name="connsiteY1" fmla="*/ 0 h 96677"/>
                    <a:gd name="connsiteX2" fmla="*/ 0 w 212690"/>
                    <a:gd name="connsiteY2" fmla="*/ 112532 h 96677"/>
                  </a:gdLst>
                  <a:ahLst/>
                  <a:cxnLst>
                    <a:cxn ang="0">
                      <a:pos x="connsiteX0" y="connsiteY0"/>
                    </a:cxn>
                    <a:cxn ang="0">
                      <a:pos x="connsiteX1" y="connsiteY1"/>
                    </a:cxn>
                    <a:cxn ang="0">
                      <a:pos x="connsiteX2" y="connsiteY2"/>
                    </a:cxn>
                  </a:cxnLst>
                  <a:rect l="l" t="t" r="r" b="b"/>
                  <a:pathLst>
                    <a:path w="212690" h="96677">
                      <a:moveTo>
                        <a:pt x="227772" y="112532"/>
                      </a:moveTo>
                      <a:cubicBezTo>
                        <a:pt x="227772" y="50079"/>
                        <a:pt x="177306" y="0"/>
                        <a:pt x="113306" y="0"/>
                      </a:cubicBezTo>
                      <a:cubicBezTo>
                        <a:pt x="50466" y="0"/>
                        <a:pt x="0" y="50079"/>
                        <a:pt x="0" y="112532"/>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60" name="Freeform: Shape 59">
                <a:extLst>
                  <a:ext uri="{FF2B5EF4-FFF2-40B4-BE49-F238E27FC236}">
                    <a16:creationId xmlns:a16="http://schemas.microsoft.com/office/drawing/2014/main" id="{EE022AA0-2D9C-44CE-9C94-018931461358}"/>
                  </a:ext>
                </a:extLst>
              </p:cNvPr>
              <p:cNvSpPr/>
              <p:nvPr/>
            </p:nvSpPr>
            <p:spPr>
              <a:xfrm>
                <a:off x="8308551" y="2784024"/>
                <a:ext cx="470907" cy="295686"/>
              </a:xfrm>
              <a:custGeom>
                <a:avLst/>
                <a:gdLst>
                  <a:gd name="connsiteX0" fmla="*/ 0 w 831424"/>
                  <a:gd name="connsiteY0" fmla="*/ 203022 h 522057"/>
                  <a:gd name="connsiteX1" fmla="*/ 0 w 831424"/>
                  <a:gd name="connsiteY1" fmla="*/ 0 h 522057"/>
                  <a:gd name="connsiteX2" fmla="*/ 837419 w 831424"/>
                  <a:gd name="connsiteY2" fmla="*/ 0 h 522057"/>
                  <a:gd name="connsiteX3" fmla="*/ 837419 w 831424"/>
                  <a:gd name="connsiteY3" fmla="*/ 522251 h 522057"/>
                  <a:gd name="connsiteX4" fmla="*/ 187941 w 831424"/>
                  <a:gd name="connsiteY4" fmla="*/ 522251 h 522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1424" h="522057">
                    <a:moveTo>
                      <a:pt x="0" y="203022"/>
                    </a:moveTo>
                    <a:lnTo>
                      <a:pt x="0" y="0"/>
                    </a:lnTo>
                    <a:lnTo>
                      <a:pt x="837419" y="0"/>
                    </a:lnTo>
                    <a:lnTo>
                      <a:pt x="837419" y="522251"/>
                    </a:lnTo>
                    <a:lnTo>
                      <a:pt x="187941" y="52225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 name="Freeform: Shape 60">
                <a:extLst>
                  <a:ext uri="{FF2B5EF4-FFF2-40B4-BE49-F238E27FC236}">
                    <a16:creationId xmlns:a16="http://schemas.microsoft.com/office/drawing/2014/main" id="{3716747F-4418-4BC8-8147-49714A7E6607}"/>
                  </a:ext>
                </a:extLst>
              </p:cNvPr>
              <p:cNvSpPr/>
              <p:nvPr/>
            </p:nvSpPr>
            <p:spPr>
              <a:xfrm>
                <a:off x="8200900" y="3285150"/>
                <a:ext cx="580420" cy="10951"/>
              </a:xfrm>
              <a:custGeom>
                <a:avLst/>
                <a:gdLst>
                  <a:gd name="connsiteX0" fmla="*/ 0 w 1024779"/>
                  <a:gd name="connsiteY0" fmla="*/ 0 h 0"/>
                  <a:gd name="connsiteX1" fmla="*/ 1027486 w 1024779"/>
                  <a:gd name="connsiteY1" fmla="*/ 0 h 0"/>
                </a:gdLst>
                <a:ahLst/>
                <a:cxnLst>
                  <a:cxn ang="0">
                    <a:pos x="connsiteX0" y="connsiteY0"/>
                  </a:cxn>
                  <a:cxn ang="0">
                    <a:pos x="connsiteX1" y="connsiteY1"/>
                  </a:cxn>
                </a:cxnLst>
                <a:rect l="l" t="t" r="r" b="b"/>
                <a:pathLst>
                  <a:path w="1024779">
                    <a:moveTo>
                      <a:pt x="0" y="0"/>
                    </a:moveTo>
                    <a:lnTo>
                      <a:pt x="1027486" y="0"/>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55" name="monitor" title="Icon of a monitor">
              <a:extLst>
                <a:ext uri="{FF2B5EF4-FFF2-40B4-BE49-F238E27FC236}">
                  <a16:creationId xmlns:a16="http://schemas.microsoft.com/office/drawing/2014/main" id="{462114AB-EAF1-4195-8FA5-891804F00A20}"/>
                </a:ext>
              </a:extLst>
            </p:cNvPr>
            <p:cNvSpPr>
              <a:spLocks noChangeAspect="1" noEditPoints="1"/>
            </p:cNvSpPr>
            <p:nvPr/>
          </p:nvSpPr>
          <p:spPr bwMode="auto">
            <a:xfrm>
              <a:off x="5836854" y="2985881"/>
              <a:ext cx="752704" cy="57686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sp>
        <p:nvSpPr>
          <p:cNvPr id="70" name="server_2">
            <a:extLst>
              <a:ext uri="{FF2B5EF4-FFF2-40B4-BE49-F238E27FC236}">
                <a16:creationId xmlns:a16="http://schemas.microsoft.com/office/drawing/2014/main" id="{BE0B1C70-16BD-48A3-AAE0-7B058614ABC0}"/>
              </a:ext>
              <a:ext uri="{C183D7F6-B498-43B3-948B-1728B52AA6E4}">
                <adec:decorative xmlns:adec="http://schemas.microsoft.com/office/drawing/2017/decorative" val="1"/>
              </a:ext>
            </a:extLst>
          </p:cNvPr>
          <p:cNvSpPr>
            <a:spLocks noChangeAspect="1" noEditPoints="1"/>
          </p:cNvSpPr>
          <p:nvPr/>
        </p:nvSpPr>
        <p:spPr bwMode="auto">
          <a:xfrm>
            <a:off x="9885232" y="3126002"/>
            <a:ext cx="598246" cy="742520"/>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Tree>
    <p:extLst>
      <p:ext uri="{BB962C8B-B14F-4D97-AF65-F5344CB8AC3E}">
        <p14:creationId xmlns:p14="http://schemas.microsoft.com/office/powerpoint/2010/main" val="1310389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8BD29-2165-40C5-ACE1-DE43A911C8F7}"/>
              </a:ext>
            </a:extLst>
          </p:cNvPr>
          <p:cNvSpPr>
            <a:spLocks noGrp="1"/>
          </p:cNvSpPr>
          <p:nvPr>
            <p:ph type="title"/>
          </p:nvPr>
        </p:nvSpPr>
        <p:spPr>
          <a:xfrm>
            <a:off x="457200" y="502479"/>
            <a:ext cx="11520487" cy="917575"/>
          </a:xfrm>
        </p:spPr>
        <p:txBody>
          <a:bodyPr/>
          <a:lstStyle/>
          <a:p>
            <a:r>
              <a:rPr lang="en-US"/>
              <a:t>Empower students to </a:t>
            </a:r>
            <a:r>
              <a:rPr lang="en-US">
                <a:solidFill>
                  <a:schemeClr val="tx2"/>
                </a:solidFill>
                <a:latin typeface="Segoe UI Semibold" panose="020B0702040204020203" pitchFamily="34" charset="0"/>
                <a:cs typeface="Segoe UI Semibold" panose="020B0702040204020203" pitchFamily="34" charset="0"/>
              </a:rPr>
              <a:t>learn anywhere </a:t>
            </a:r>
            <a:r>
              <a:rPr lang="en-US">
                <a:solidFill>
                  <a:schemeClr val="bg1"/>
                </a:solidFill>
              </a:rPr>
              <a:t>with Microsoft Education</a:t>
            </a:r>
          </a:p>
        </p:txBody>
      </p:sp>
      <p:sp>
        <p:nvSpPr>
          <p:cNvPr id="27" name="Title 1">
            <a:extLst>
              <a:ext uri="{FF2B5EF4-FFF2-40B4-BE49-F238E27FC236}">
                <a16:creationId xmlns:a16="http://schemas.microsoft.com/office/drawing/2014/main" id="{406F4DA5-9CCB-44A8-9BA2-B764E3537065}"/>
              </a:ext>
            </a:extLst>
          </p:cNvPr>
          <p:cNvSpPr txBox="1">
            <a:spLocks/>
          </p:cNvSpPr>
          <p:nvPr/>
        </p:nvSpPr>
        <p:spPr>
          <a:xfrm>
            <a:off x="457200" y="1451448"/>
            <a:ext cx="11391712" cy="553998"/>
          </a:xfrm>
          <a:prstGeom prst="rect">
            <a:avLst/>
          </a:prstGeom>
        </p:spPr>
        <p:txBody>
          <a:bodyPr vert="horz" wrap="square" lIns="0" tIns="0" rIns="0" bIns="0" rtlCol="0" anchor="t">
            <a:noAutofit/>
          </a:bodyPr>
          <a:lstStyle>
            <a:lvl1pPr algn="l" defTabSz="932742" rtl="0" eaLnBrk="1" latinLnBrk="0" hangingPunct="1">
              <a:lnSpc>
                <a:spcPct val="90000"/>
              </a:lnSpc>
              <a:spcBef>
                <a:spcPct val="0"/>
              </a:spcBef>
              <a:buNone/>
              <a:defRPr lang="en-US" sz="4000" b="0" kern="1200" cap="none" spc="-102" baseline="0" dirty="0" smtClean="0">
                <a:ln w="3175">
                  <a:noFill/>
                </a:ln>
                <a:solidFill>
                  <a:schemeClr val="accent2"/>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a:ln>
                  <a:noFill/>
                </a:ln>
                <a:solidFill>
                  <a:schemeClr val="tx1"/>
                </a:solidFill>
                <a:effectLst/>
                <a:uLnTx/>
                <a:uFillTx/>
                <a:latin typeface="Segoe UI Semilight"/>
                <a:ea typeface="+mn-ea"/>
                <a:cs typeface="Segoe UI" pitchFamily="34" charset="0"/>
              </a:rPr>
              <a:t>Microsoft Education provides an </a:t>
            </a:r>
            <a:r>
              <a:rPr kumimoji="0" lang="en-US" sz="2000" b="0" i="0" u="none" strike="noStrike" kern="1200" cap="none" spc="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effective, accessible, </a:t>
            </a:r>
            <a:r>
              <a:rPr lang="en-US" sz="2000" spc="0">
                <a:ln>
                  <a:noFill/>
                </a:ln>
                <a:solidFill>
                  <a:schemeClr val="tx1"/>
                </a:solidFill>
                <a:latin typeface="Segoe UI Semilight"/>
              </a:rPr>
              <a:t>and</a:t>
            </a:r>
            <a:r>
              <a:rPr kumimoji="0" lang="en-US" sz="20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 </a:t>
            </a:r>
            <a:r>
              <a:rPr kumimoji="0" lang="en-US" sz="2000" b="0" i="0" u="none" strike="noStrike" kern="1200" cap="none" spc="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secure</a:t>
            </a:r>
            <a:r>
              <a:rPr kumimoji="0" lang="en-US" sz="20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 </a:t>
            </a:r>
            <a:r>
              <a:rPr lang="en-US" sz="2000" spc="0">
                <a:ln>
                  <a:noFill/>
                </a:ln>
                <a:solidFill>
                  <a:schemeClr val="tx1"/>
                </a:solidFill>
                <a:latin typeface="Segoe UI Semilight"/>
              </a:rPr>
              <a:t>platform</a:t>
            </a:r>
            <a:r>
              <a:rPr kumimoji="0" lang="en-US" sz="2000" b="0" i="0" u="none" strike="noStrike" kern="1200" cap="none" spc="0" normalizeH="0" baseline="0" noProof="0">
                <a:ln>
                  <a:noFill/>
                </a:ln>
                <a:solidFill>
                  <a:schemeClr val="tx1"/>
                </a:solidFill>
                <a:effectLst/>
                <a:uLnTx/>
                <a:uFillTx/>
                <a:latin typeface="Segoe UI Semilight"/>
                <a:ea typeface="+mn-ea"/>
                <a:cs typeface="Segoe UI" pitchFamily="34" charset="0"/>
              </a:rPr>
              <a:t> to drive student success—whether students are at school, at home, or on the go.</a:t>
            </a:r>
          </a:p>
        </p:txBody>
      </p:sp>
      <p:sp>
        <p:nvSpPr>
          <p:cNvPr id="48" name="Rectangle 47">
            <a:extLst>
              <a:ext uri="{FF2B5EF4-FFF2-40B4-BE49-F238E27FC236}">
                <a16:creationId xmlns:a16="http://schemas.microsoft.com/office/drawing/2014/main" id="{31EDF028-1C62-4EE5-9F7E-149A568EF264}"/>
              </a:ext>
            </a:extLst>
          </p:cNvPr>
          <p:cNvSpPr/>
          <p:nvPr/>
        </p:nvSpPr>
        <p:spPr>
          <a:xfrm>
            <a:off x="457200" y="2494436"/>
            <a:ext cx="3586665" cy="552457"/>
          </a:xfrm>
          <a:prstGeom prst="rect">
            <a:avLst/>
          </a:prstGeom>
          <a:solidFill>
            <a:schemeClr val="bg1">
              <a:lumMod val="95000"/>
            </a:schemeClr>
          </a:solidFill>
        </p:spPr>
        <p:txBody>
          <a:bodyPr wrap="square" anchor="ctr">
            <a:noAutofit/>
          </a:bodyPr>
          <a:lstStyle/>
          <a:p>
            <a:pPr algn="ctr"/>
            <a:r>
              <a:rPr lang="en-US">
                <a:solidFill>
                  <a:srgbClr val="0078D7"/>
                </a:solidFill>
                <a:latin typeface="Segoe UI Semibold" panose="020B0702040204020203" pitchFamily="34" charset="0"/>
                <a:ea typeface="Segoe UI" pitchFamily="34" charset="0"/>
                <a:cs typeface="Segoe UI Semibold" panose="020B0702040204020203" pitchFamily="34" charset="0"/>
              </a:rPr>
              <a:t>Learning Outcomes</a:t>
            </a:r>
            <a:endParaRPr lang="en-US"/>
          </a:p>
        </p:txBody>
      </p:sp>
      <p:sp>
        <p:nvSpPr>
          <p:cNvPr id="32" name="Rectangle 31">
            <a:extLst>
              <a:ext uri="{FF2B5EF4-FFF2-40B4-BE49-F238E27FC236}">
                <a16:creationId xmlns:a16="http://schemas.microsoft.com/office/drawing/2014/main" id="{CC0C07B2-0658-439D-8E19-D47EC6046B74}"/>
              </a:ext>
            </a:extLst>
          </p:cNvPr>
          <p:cNvSpPr/>
          <p:nvPr/>
        </p:nvSpPr>
        <p:spPr>
          <a:xfrm>
            <a:off x="457200" y="5011764"/>
            <a:ext cx="3586665" cy="923330"/>
          </a:xfrm>
          <a:prstGeom prst="rect">
            <a:avLst/>
          </a:prstGeom>
        </p:spPr>
        <p:txBody>
          <a:bodyPr wrap="square">
            <a:spAutoFit/>
          </a:bodyPr>
          <a:lstStyle/>
          <a:p>
            <a:pPr algn="ctr" defTabSz="932472" fontAlgn="base">
              <a:spcBef>
                <a:spcPct val="0"/>
              </a:spcBef>
              <a:spcAft>
                <a:spcPts val="600"/>
              </a:spcAft>
            </a:pPr>
            <a:r>
              <a:rPr lang="en-US">
                <a:solidFill>
                  <a:schemeClr val="tx2"/>
                </a:solidFill>
                <a:latin typeface="Segoe UI Semibold" panose="020B0702040204020203" pitchFamily="34" charset="0"/>
                <a:cs typeface="Segoe UI Semibold" panose="020B0702040204020203" pitchFamily="34" charset="0"/>
              </a:rPr>
              <a:t>Achieve better learning</a:t>
            </a:r>
            <a:br>
              <a:rPr lang="en-US">
                <a:solidFill>
                  <a:schemeClr val="tx2"/>
                </a:solidFill>
                <a:latin typeface="Segoe UI Semibold" panose="020B0702040204020203" pitchFamily="34" charset="0"/>
                <a:cs typeface="Segoe UI Semibold" panose="020B0702040204020203" pitchFamily="34" charset="0"/>
              </a:rPr>
            </a:br>
            <a:r>
              <a:rPr lang="en-US">
                <a:solidFill>
                  <a:schemeClr val="tx2"/>
                </a:solidFill>
                <a:latin typeface="Segoe UI Semibold" panose="020B0702040204020203" pitchFamily="34" charset="0"/>
                <a:cs typeface="Segoe UI Semibold" panose="020B0702040204020203" pitchFamily="34" charset="0"/>
              </a:rPr>
              <a:t>outcomes </a:t>
            </a:r>
            <a:r>
              <a:rPr lang="en-US">
                <a:cs typeface="Segoe UI" pitchFamily="34" charset="0"/>
              </a:rPr>
              <a:t>with the best </a:t>
            </a:r>
            <a:br>
              <a:rPr lang="en-US">
                <a:cs typeface="Segoe UI" pitchFamily="34" charset="0"/>
              </a:rPr>
            </a:br>
            <a:r>
              <a:rPr lang="en-US">
                <a:cs typeface="Segoe UI" pitchFamily="34" charset="0"/>
              </a:rPr>
              <a:t>devices for learning anywhere</a:t>
            </a:r>
          </a:p>
        </p:txBody>
      </p:sp>
      <p:sp>
        <p:nvSpPr>
          <p:cNvPr id="50" name="Rectangle 49">
            <a:extLst>
              <a:ext uri="{FF2B5EF4-FFF2-40B4-BE49-F238E27FC236}">
                <a16:creationId xmlns:a16="http://schemas.microsoft.com/office/drawing/2014/main" id="{83F36303-DABB-4FA1-B92E-4449F1DED382}"/>
              </a:ext>
            </a:extLst>
          </p:cNvPr>
          <p:cNvSpPr/>
          <p:nvPr/>
        </p:nvSpPr>
        <p:spPr>
          <a:xfrm>
            <a:off x="4424112" y="2494436"/>
            <a:ext cx="3586665" cy="552457"/>
          </a:xfrm>
          <a:prstGeom prst="rect">
            <a:avLst/>
          </a:prstGeom>
          <a:solidFill>
            <a:schemeClr val="bg1">
              <a:lumMod val="95000"/>
            </a:schemeClr>
          </a:solidFill>
        </p:spPr>
        <p:txBody>
          <a:bodyPr wrap="square" anchor="ctr">
            <a:noAutofit/>
          </a:bodyPr>
          <a:lstStyle/>
          <a:p>
            <a:pPr algn="ctr"/>
            <a:r>
              <a:rPr lang="en-US">
                <a:solidFill>
                  <a:srgbClr val="0078D7"/>
                </a:solidFill>
                <a:latin typeface="Segoe UI Semibold" panose="020B0702040204020203" pitchFamily="34" charset="0"/>
                <a:cs typeface="Segoe UI Semibold" panose="020B0702040204020203" pitchFamily="34" charset="0"/>
              </a:rPr>
              <a:t>Teacher Training</a:t>
            </a:r>
            <a:endParaRPr lang="en-US"/>
          </a:p>
        </p:txBody>
      </p:sp>
      <p:sp>
        <p:nvSpPr>
          <p:cNvPr id="33" name="Rectangle 32">
            <a:extLst>
              <a:ext uri="{FF2B5EF4-FFF2-40B4-BE49-F238E27FC236}">
                <a16:creationId xmlns:a16="http://schemas.microsoft.com/office/drawing/2014/main" id="{CD5F72C1-0E2A-43D0-95D2-5BD96CC00850}"/>
              </a:ext>
            </a:extLst>
          </p:cNvPr>
          <p:cNvSpPr/>
          <p:nvPr/>
        </p:nvSpPr>
        <p:spPr>
          <a:xfrm>
            <a:off x="4424112" y="5011764"/>
            <a:ext cx="3586665" cy="923330"/>
          </a:xfrm>
          <a:prstGeom prst="rect">
            <a:avLst/>
          </a:prstGeom>
        </p:spPr>
        <p:txBody>
          <a:bodyPr wrap="square" lIns="0" rIns="0">
            <a:spAutoFit/>
          </a:bodyPr>
          <a:lstStyle/>
          <a:p>
            <a:pPr algn="ctr" defTabSz="932472" fontAlgn="base">
              <a:spcBef>
                <a:spcPct val="0"/>
              </a:spcBef>
              <a:spcAft>
                <a:spcPts val="600"/>
              </a:spcAft>
            </a:pPr>
            <a:r>
              <a:rPr lang="en-US">
                <a:solidFill>
                  <a:schemeClr val="tx2"/>
                </a:solidFill>
                <a:latin typeface="Segoe UI Semibold" panose="020B0702040204020203" pitchFamily="34" charset="0"/>
                <a:cs typeface="Segoe UI Semibold" panose="020B0702040204020203" pitchFamily="34" charset="0"/>
              </a:rPr>
              <a:t>Empower teachers to transform their classrooms </a:t>
            </a:r>
            <a:r>
              <a:rPr lang="en-US">
                <a:cs typeface="Segoe UI" pitchFamily="34" charset="0"/>
              </a:rPr>
              <a:t>with training, tools, and resources</a:t>
            </a:r>
          </a:p>
        </p:txBody>
      </p:sp>
      <p:sp>
        <p:nvSpPr>
          <p:cNvPr id="52" name="Rectangle 51">
            <a:extLst>
              <a:ext uri="{FF2B5EF4-FFF2-40B4-BE49-F238E27FC236}">
                <a16:creationId xmlns:a16="http://schemas.microsoft.com/office/drawing/2014/main" id="{1801AC70-38C6-48FD-8835-1905961E77BD}"/>
              </a:ext>
            </a:extLst>
          </p:cNvPr>
          <p:cNvSpPr/>
          <p:nvPr/>
        </p:nvSpPr>
        <p:spPr>
          <a:xfrm>
            <a:off x="8391022" y="2494436"/>
            <a:ext cx="3586665" cy="552457"/>
          </a:xfrm>
          <a:prstGeom prst="rect">
            <a:avLst/>
          </a:prstGeom>
          <a:solidFill>
            <a:schemeClr val="bg1">
              <a:lumMod val="95000"/>
            </a:schemeClr>
          </a:solidFill>
        </p:spPr>
        <p:txBody>
          <a:bodyPr wrap="square" anchor="ctr">
            <a:noAutofit/>
          </a:bodyPr>
          <a:lstStyle/>
          <a:p>
            <a:pPr algn="ctr"/>
            <a:r>
              <a:rPr lang="en-US">
                <a:solidFill>
                  <a:srgbClr val="0078D7"/>
                </a:solidFill>
                <a:latin typeface="Segoe UI Semibold" panose="020B0702040204020203" pitchFamily="34" charset="0"/>
                <a:cs typeface="Segoe UI Semibold" panose="020B0702040204020203" pitchFamily="34" charset="0"/>
              </a:rPr>
              <a:t>Student Safety</a:t>
            </a:r>
            <a:endParaRPr lang="en-US"/>
          </a:p>
        </p:txBody>
      </p:sp>
      <p:sp>
        <p:nvSpPr>
          <p:cNvPr id="34" name="Rectangle 33">
            <a:extLst>
              <a:ext uri="{FF2B5EF4-FFF2-40B4-BE49-F238E27FC236}">
                <a16:creationId xmlns:a16="http://schemas.microsoft.com/office/drawing/2014/main" id="{6C4F5C21-A01C-4DDA-887F-25667E1F8960}"/>
              </a:ext>
            </a:extLst>
          </p:cNvPr>
          <p:cNvSpPr/>
          <p:nvPr/>
        </p:nvSpPr>
        <p:spPr>
          <a:xfrm>
            <a:off x="8391022" y="5011764"/>
            <a:ext cx="3586665" cy="923330"/>
          </a:xfrm>
          <a:prstGeom prst="rect">
            <a:avLst/>
          </a:prstGeom>
        </p:spPr>
        <p:txBody>
          <a:bodyPr wrap="square">
            <a:spAutoFit/>
          </a:bodyPr>
          <a:lstStyle/>
          <a:p>
            <a:pPr algn="ctr" defTabSz="932472" fontAlgn="base">
              <a:spcBef>
                <a:spcPct val="0"/>
              </a:spcBef>
              <a:spcAft>
                <a:spcPts val="600"/>
              </a:spcAft>
            </a:pPr>
            <a:r>
              <a:rPr lang="en-US">
                <a:solidFill>
                  <a:schemeClr val="tx2"/>
                </a:solidFill>
                <a:latin typeface="Segoe UI Semibold" panose="020B0702040204020203" pitchFamily="34" charset="0"/>
                <a:cs typeface="Segoe UI Semibold" panose="020B0702040204020203" pitchFamily="34" charset="0"/>
              </a:rPr>
              <a:t>Keep students safe and data secure </a:t>
            </a:r>
            <a:r>
              <a:rPr lang="en-US">
                <a:cs typeface="Segoe UI" pitchFamily="34" charset="0"/>
              </a:rPr>
              <a:t>with classroom controls and comprehensive security</a:t>
            </a:r>
          </a:p>
        </p:txBody>
      </p:sp>
      <p:grpSp>
        <p:nvGrpSpPr>
          <p:cNvPr id="36" name="Group 35">
            <a:extLst>
              <a:ext uri="{FF2B5EF4-FFF2-40B4-BE49-F238E27FC236}">
                <a16:creationId xmlns:a16="http://schemas.microsoft.com/office/drawing/2014/main" id="{57F9EA72-FC69-4977-AF87-9F8A9B7DD596}"/>
              </a:ext>
              <a:ext uri="{C183D7F6-B498-43B3-948B-1728B52AA6E4}">
                <adec:decorative xmlns:adec="http://schemas.microsoft.com/office/drawing/2017/decorative" val="1"/>
              </a:ext>
            </a:extLst>
          </p:cNvPr>
          <p:cNvGrpSpPr/>
          <p:nvPr/>
        </p:nvGrpSpPr>
        <p:grpSpPr>
          <a:xfrm>
            <a:off x="4233989" y="5011764"/>
            <a:ext cx="3966911" cy="917575"/>
            <a:chOff x="4233989" y="4234258"/>
            <a:chExt cx="3966911" cy="1170862"/>
          </a:xfrm>
        </p:grpSpPr>
        <p:cxnSp>
          <p:nvCxnSpPr>
            <p:cNvPr id="37" name="Straight Connector 36">
              <a:extLst>
                <a:ext uri="{FF2B5EF4-FFF2-40B4-BE49-F238E27FC236}">
                  <a16:creationId xmlns:a16="http://schemas.microsoft.com/office/drawing/2014/main" id="{6F2B56C6-43E4-4B55-B7D7-D12E7F86D7CE}"/>
                </a:ext>
              </a:extLst>
            </p:cNvPr>
            <p:cNvCxnSpPr>
              <a:cxnSpLocks/>
            </p:cNvCxnSpPr>
            <p:nvPr/>
          </p:nvCxnSpPr>
          <p:spPr>
            <a:xfrm>
              <a:off x="4233989" y="4234258"/>
              <a:ext cx="0" cy="1170862"/>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82CE9F1-EA4A-457F-A9F2-D8885CBF63E8}"/>
                </a:ext>
              </a:extLst>
            </p:cNvPr>
            <p:cNvCxnSpPr>
              <a:cxnSpLocks/>
            </p:cNvCxnSpPr>
            <p:nvPr/>
          </p:nvCxnSpPr>
          <p:spPr>
            <a:xfrm>
              <a:off x="8200900" y="4234258"/>
              <a:ext cx="0" cy="1170862"/>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ABE3C3-25C9-4E1F-9681-B5EBF0BC0077}"/>
              </a:ext>
              <a:ext uri="{C183D7F6-B498-43B3-948B-1728B52AA6E4}">
                <adec:decorative xmlns:adec="http://schemas.microsoft.com/office/drawing/2017/decorative" val="1"/>
              </a:ext>
            </a:extLst>
          </p:cNvPr>
          <p:cNvGrpSpPr/>
          <p:nvPr/>
        </p:nvGrpSpPr>
        <p:grpSpPr>
          <a:xfrm>
            <a:off x="9451220" y="3231556"/>
            <a:ext cx="1466268" cy="1466264"/>
            <a:chOff x="9451220" y="3231556"/>
            <a:chExt cx="1466268" cy="1466264"/>
          </a:xfrm>
        </p:grpSpPr>
        <p:grpSp>
          <p:nvGrpSpPr>
            <p:cNvPr id="21" name="Group 20">
              <a:extLst>
                <a:ext uri="{FF2B5EF4-FFF2-40B4-BE49-F238E27FC236}">
                  <a16:creationId xmlns:a16="http://schemas.microsoft.com/office/drawing/2014/main" id="{3E1DEF94-1A15-440C-9DDB-FA45704A65DF}"/>
                </a:ext>
              </a:extLst>
            </p:cNvPr>
            <p:cNvGrpSpPr/>
            <p:nvPr/>
          </p:nvGrpSpPr>
          <p:grpSpPr>
            <a:xfrm>
              <a:off x="9858188" y="3517807"/>
              <a:ext cx="652332" cy="893762"/>
              <a:chOff x="12901109" y="3390467"/>
              <a:chExt cx="2338892" cy="3204519"/>
            </a:xfrm>
          </p:grpSpPr>
          <p:sp>
            <p:nvSpPr>
              <p:cNvPr id="45" name="Freeform: Shape 44">
                <a:extLst>
                  <a:ext uri="{FF2B5EF4-FFF2-40B4-BE49-F238E27FC236}">
                    <a16:creationId xmlns:a16="http://schemas.microsoft.com/office/drawing/2014/main" id="{52EC2480-4C13-4446-AE4E-A11E9354ED9B}"/>
                  </a:ext>
                </a:extLst>
              </p:cNvPr>
              <p:cNvSpPr/>
              <p:nvPr/>
            </p:nvSpPr>
            <p:spPr>
              <a:xfrm>
                <a:off x="13188664" y="3390467"/>
                <a:ext cx="1006470" cy="1052478"/>
              </a:xfrm>
              <a:custGeom>
                <a:avLst/>
                <a:gdLst>
                  <a:gd name="connsiteX0" fmla="*/ 0 w 443429"/>
                  <a:gd name="connsiteY0" fmla="*/ 463700 h 463700"/>
                  <a:gd name="connsiteX1" fmla="*/ 0 w 443429"/>
                  <a:gd name="connsiteY1" fmla="*/ 221715 h 463700"/>
                  <a:gd name="connsiteX2" fmla="*/ 221715 w 443429"/>
                  <a:gd name="connsiteY2" fmla="*/ 0 h 463700"/>
                  <a:gd name="connsiteX3" fmla="*/ 443429 w 443429"/>
                  <a:gd name="connsiteY3" fmla="*/ 221715 h 463700"/>
                  <a:gd name="connsiteX4" fmla="*/ 443429 w 443429"/>
                  <a:gd name="connsiteY4" fmla="*/ 463700 h 463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429" h="463700">
                    <a:moveTo>
                      <a:pt x="0" y="463700"/>
                    </a:moveTo>
                    <a:cubicBezTo>
                      <a:pt x="0" y="221715"/>
                      <a:pt x="0" y="221715"/>
                      <a:pt x="0" y="221715"/>
                    </a:cubicBezTo>
                    <a:cubicBezTo>
                      <a:pt x="0" y="101355"/>
                      <a:pt x="97555" y="0"/>
                      <a:pt x="221715" y="0"/>
                    </a:cubicBezTo>
                    <a:cubicBezTo>
                      <a:pt x="345875" y="0"/>
                      <a:pt x="443429" y="100088"/>
                      <a:pt x="443429" y="221715"/>
                    </a:cubicBezTo>
                    <a:cubicBezTo>
                      <a:pt x="443429" y="463700"/>
                      <a:pt x="443429" y="463700"/>
                      <a:pt x="443429" y="463700"/>
                    </a:cubicBezTo>
                  </a:path>
                </a:pathLst>
              </a:custGeom>
              <a:noFill/>
              <a:ln w="19050" cap="sq">
                <a:solidFill>
                  <a:schemeClr val="tx2"/>
                </a:solidFill>
                <a:prstDash val="solid"/>
                <a:miter/>
              </a:ln>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p>
            </p:txBody>
          </p:sp>
          <p:sp>
            <p:nvSpPr>
              <p:cNvPr id="47" name="Freeform: Shape 46">
                <a:extLst>
                  <a:ext uri="{FF2B5EF4-FFF2-40B4-BE49-F238E27FC236}">
                    <a16:creationId xmlns:a16="http://schemas.microsoft.com/office/drawing/2014/main" id="{00D3FC02-8097-4CF1-8847-D55E4EB38C36}"/>
                  </a:ext>
                </a:extLst>
              </p:cNvPr>
              <p:cNvSpPr/>
              <p:nvPr/>
            </p:nvSpPr>
            <p:spPr>
              <a:xfrm>
                <a:off x="12901109" y="4476924"/>
                <a:ext cx="1610742" cy="1194621"/>
              </a:xfrm>
              <a:custGeom>
                <a:avLst/>
                <a:gdLst>
                  <a:gd name="connsiteX0" fmla="*/ 0 w 708219"/>
                  <a:gd name="connsiteY0" fmla="*/ 524513 h 524513"/>
                  <a:gd name="connsiteX1" fmla="*/ 708219 w 708219"/>
                  <a:gd name="connsiteY1" fmla="*/ 524513 h 524513"/>
                  <a:gd name="connsiteX2" fmla="*/ 708219 w 708219"/>
                  <a:gd name="connsiteY2" fmla="*/ 0 h 524513"/>
                  <a:gd name="connsiteX3" fmla="*/ 0 w 708219"/>
                  <a:gd name="connsiteY3" fmla="*/ 0 h 524513"/>
                  <a:gd name="connsiteX4" fmla="*/ 0 w 708219"/>
                  <a:gd name="connsiteY4" fmla="*/ 524513 h 524513"/>
                  <a:gd name="connsiteX5" fmla="*/ 0 w 708219"/>
                  <a:gd name="connsiteY5" fmla="*/ 524513 h 524513"/>
                  <a:gd name="connsiteX6" fmla="*/ 0 w 708219"/>
                  <a:gd name="connsiteY6" fmla="*/ 524513 h 524513"/>
                  <a:gd name="connsiteX0" fmla="*/ 708219 w 880918"/>
                  <a:gd name="connsiteY0" fmla="*/ 524513 h 697212"/>
                  <a:gd name="connsiteX1" fmla="*/ 708219 w 880918"/>
                  <a:gd name="connsiteY1" fmla="*/ 0 h 697212"/>
                  <a:gd name="connsiteX2" fmla="*/ 0 w 880918"/>
                  <a:gd name="connsiteY2" fmla="*/ 0 h 697212"/>
                  <a:gd name="connsiteX3" fmla="*/ 0 w 880918"/>
                  <a:gd name="connsiteY3" fmla="*/ 524513 h 697212"/>
                  <a:gd name="connsiteX4" fmla="*/ 0 w 880918"/>
                  <a:gd name="connsiteY4" fmla="*/ 524513 h 697212"/>
                  <a:gd name="connsiteX5" fmla="*/ 0 w 880918"/>
                  <a:gd name="connsiteY5" fmla="*/ 524513 h 697212"/>
                  <a:gd name="connsiteX6" fmla="*/ 880918 w 880918"/>
                  <a:gd name="connsiteY6" fmla="*/ 697212 h 697212"/>
                  <a:gd name="connsiteX0" fmla="*/ 708219 w 708219"/>
                  <a:gd name="connsiteY0" fmla="*/ 524513 h 524513"/>
                  <a:gd name="connsiteX1" fmla="*/ 708219 w 708219"/>
                  <a:gd name="connsiteY1" fmla="*/ 0 h 524513"/>
                  <a:gd name="connsiteX2" fmla="*/ 0 w 708219"/>
                  <a:gd name="connsiteY2" fmla="*/ 0 h 524513"/>
                  <a:gd name="connsiteX3" fmla="*/ 0 w 708219"/>
                  <a:gd name="connsiteY3" fmla="*/ 524513 h 524513"/>
                  <a:gd name="connsiteX4" fmla="*/ 0 w 708219"/>
                  <a:gd name="connsiteY4" fmla="*/ 524513 h 524513"/>
                  <a:gd name="connsiteX5" fmla="*/ 0 w 708219"/>
                  <a:gd name="connsiteY5" fmla="*/ 524513 h 524513"/>
                  <a:gd name="connsiteX6" fmla="*/ 323244 w 708219"/>
                  <a:gd name="connsiteY6" fmla="*/ 517317 h 524513"/>
                  <a:gd name="connsiteX0" fmla="*/ 708219 w 708219"/>
                  <a:gd name="connsiteY0" fmla="*/ 524513 h 524513"/>
                  <a:gd name="connsiteX1" fmla="*/ 708219 w 708219"/>
                  <a:gd name="connsiteY1" fmla="*/ 0 h 524513"/>
                  <a:gd name="connsiteX2" fmla="*/ 0 w 708219"/>
                  <a:gd name="connsiteY2" fmla="*/ 0 h 524513"/>
                  <a:gd name="connsiteX3" fmla="*/ 0 w 708219"/>
                  <a:gd name="connsiteY3" fmla="*/ 524513 h 524513"/>
                  <a:gd name="connsiteX4" fmla="*/ 0 w 708219"/>
                  <a:gd name="connsiteY4" fmla="*/ 524513 h 524513"/>
                  <a:gd name="connsiteX5" fmla="*/ 0 w 708219"/>
                  <a:gd name="connsiteY5" fmla="*/ 524513 h 524513"/>
                  <a:gd name="connsiteX6" fmla="*/ 49804 w 708219"/>
                  <a:gd name="connsiteY6" fmla="*/ 520915 h 524513"/>
                  <a:gd name="connsiteX0" fmla="*/ 701023 w 758848"/>
                  <a:gd name="connsiteY0" fmla="*/ 420384 h 553506"/>
                  <a:gd name="connsiteX1" fmla="*/ 708219 w 758848"/>
                  <a:gd name="connsiteY1" fmla="*/ 28993 h 553506"/>
                  <a:gd name="connsiteX2" fmla="*/ 0 w 758848"/>
                  <a:gd name="connsiteY2" fmla="*/ 28993 h 553506"/>
                  <a:gd name="connsiteX3" fmla="*/ 0 w 758848"/>
                  <a:gd name="connsiteY3" fmla="*/ 553506 h 553506"/>
                  <a:gd name="connsiteX4" fmla="*/ 0 w 758848"/>
                  <a:gd name="connsiteY4" fmla="*/ 553506 h 553506"/>
                  <a:gd name="connsiteX5" fmla="*/ 0 w 758848"/>
                  <a:gd name="connsiteY5" fmla="*/ 553506 h 553506"/>
                  <a:gd name="connsiteX6" fmla="*/ 49804 w 758848"/>
                  <a:gd name="connsiteY6" fmla="*/ 549908 h 553506"/>
                  <a:gd name="connsiteX0" fmla="*/ 701023 w 758850"/>
                  <a:gd name="connsiteY0" fmla="*/ 401195 h 534317"/>
                  <a:gd name="connsiteX1" fmla="*/ 708219 w 758850"/>
                  <a:gd name="connsiteY1" fmla="*/ 9804 h 534317"/>
                  <a:gd name="connsiteX2" fmla="*/ 0 w 758850"/>
                  <a:gd name="connsiteY2" fmla="*/ 9804 h 534317"/>
                  <a:gd name="connsiteX3" fmla="*/ 0 w 758850"/>
                  <a:gd name="connsiteY3" fmla="*/ 534317 h 534317"/>
                  <a:gd name="connsiteX4" fmla="*/ 0 w 758850"/>
                  <a:gd name="connsiteY4" fmla="*/ 534317 h 534317"/>
                  <a:gd name="connsiteX5" fmla="*/ 0 w 758850"/>
                  <a:gd name="connsiteY5" fmla="*/ 534317 h 534317"/>
                  <a:gd name="connsiteX6" fmla="*/ 49804 w 758850"/>
                  <a:gd name="connsiteY6" fmla="*/ 530719 h 534317"/>
                  <a:gd name="connsiteX0" fmla="*/ 701023 w 708500"/>
                  <a:gd name="connsiteY0" fmla="*/ 401195 h 534317"/>
                  <a:gd name="connsiteX1" fmla="*/ 708219 w 708500"/>
                  <a:gd name="connsiteY1" fmla="*/ 9804 h 534317"/>
                  <a:gd name="connsiteX2" fmla="*/ 0 w 708500"/>
                  <a:gd name="connsiteY2" fmla="*/ 9804 h 534317"/>
                  <a:gd name="connsiteX3" fmla="*/ 0 w 708500"/>
                  <a:gd name="connsiteY3" fmla="*/ 534317 h 534317"/>
                  <a:gd name="connsiteX4" fmla="*/ 0 w 708500"/>
                  <a:gd name="connsiteY4" fmla="*/ 534317 h 534317"/>
                  <a:gd name="connsiteX5" fmla="*/ 0 w 708500"/>
                  <a:gd name="connsiteY5" fmla="*/ 534317 h 534317"/>
                  <a:gd name="connsiteX6" fmla="*/ 49804 w 708500"/>
                  <a:gd name="connsiteY6" fmla="*/ 530719 h 534317"/>
                  <a:gd name="connsiteX0" fmla="*/ 701023 w 708500"/>
                  <a:gd name="connsiteY0" fmla="*/ 391391 h 524513"/>
                  <a:gd name="connsiteX1" fmla="*/ 708219 w 708500"/>
                  <a:gd name="connsiteY1" fmla="*/ 0 h 524513"/>
                  <a:gd name="connsiteX2" fmla="*/ 0 w 708500"/>
                  <a:gd name="connsiteY2" fmla="*/ 0 h 524513"/>
                  <a:gd name="connsiteX3" fmla="*/ 0 w 708500"/>
                  <a:gd name="connsiteY3" fmla="*/ 524513 h 524513"/>
                  <a:gd name="connsiteX4" fmla="*/ 0 w 708500"/>
                  <a:gd name="connsiteY4" fmla="*/ 524513 h 524513"/>
                  <a:gd name="connsiteX5" fmla="*/ 0 w 708500"/>
                  <a:gd name="connsiteY5" fmla="*/ 524513 h 524513"/>
                  <a:gd name="connsiteX6" fmla="*/ 49804 w 708500"/>
                  <a:gd name="connsiteY6" fmla="*/ 520915 h 524513"/>
                  <a:gd name="connsiteX0" fmla="*/ 701023 w 708500"/>
                  <a:gd name="connsiteY0" fmla="*/ 399595 h 532717"/>
                  <a:gd name="connsiteX1" fmla="*/ 708219 w 708500"/>
                  <a:gd name="connsiteY1" fmla="*/ 8204 h 532717"/>
                  <a:gd name="connsiteX2" fmla="*/ 0 w 708500"/>
                  <a:gd name="connsiteY2" fmla="*/ 8204 h 532717"/>
                  <a:gd name="connsiteX3" fmla="*/ 0 w 708500"/>
                  <a:gd name="connsiteY3" fmla="*/ 532717 h 532717"/>
                  <a:gd name="connsiteX4" fmla="*/ 0 w 708500"/>
                  <a:gd name="connsiteY4" fmla="*/ 532717 h 532717"/>
                  <a:gd name="connsiteX5" fmla="*/ 0 w 708500"/>
                  <a:gd name="connsiteY5" fmla="*/ 532717 h 532717"/>
                  <a:gd name="connsiteX6" fmla="*/ 49804 w 708500"/>
                  <a:gd name="connsiteY6" fmla="*/ 529119 h 532717"/>
                  <a:gd name="connsiteX0" fmla="*/ 701023 w 708500"/>
                  <a:gd name="connsiteY0" fmla="*/ 393198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01023 w 708500"/>
                  <a:gd name="connsiteY0" fmla="*/ 393198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11816 w 712529"/>
                  <a:gd name="connsiteY0" fmla="*/ 400394 h 526320"/>
                  <a:gd name="connsiteX1" fmla="*/ 708219 w 712529"/>
                  <a:gd name="connsiteY1" fmla="*/ 1807 h 526320"/>
                  <a:gd name="connsiteX2" fmla="*/ 0 w 712529"/>
                  <a:gd name="connsiteY2" fmla="*/ 1807 h 526320"/>
                  <a:gd name="connsiteX3" fmla="*/ 0 w 712529"/>
                  <a:gd name="connsiteY3" fmla="*/ 526320 h 526320"/>
                  <a:gd name="connsiteX4" fmla="*/ 0 w 712529"/>
                  <a:gd name="connsiteY4" fmla="*/ 526320 h 526320"/>
                  <a:gd name="connsiteX5" fmla="*/ 0 w 712529"/>
                  <a:gd name="connsiteY5" fmla="*/ 526320 h 526320"/>
                  <a:gd name="connsiteX6" fmla="*/ 49804 w 712529"/>
                  <a:gd name="connsiteY6" fmla="*/ 522722 h 526320"/>
                  <a:gd name="connsiteX0" fmla="*/ 697423 w 708412"/>
                  <a:gd name="connsiteY0" fmla="*/ 393198 h 526320"/>
                  <a:gd name="connsiteX1" fmla="*/ 708219 w 708412"/>
                  <a:gd name="connsiteY1" fmla="*/ 1807 h 526320"/>
                  <a:gd name="connsiteX2" fmla="*/ 0 w 708412"/>
                  <a:gd name="connsiteY2" fmla="*/ 1807 h 526320"/>
                  <a:gd name="connsiteX3" fmla="*/ 0 w 708412"/>
                  <a:gd name="connsiteY3" fmla="*/ 526320 h 526320"/>
                  <a:gd name="connsiteX4" fmla="*/ 0 w 708412"/>
                  <a:gd name="connsiteY4" fmla="*/ 526320 h 526320"/>
                  <a:gd name="connsiteX5" fmla="*/ 0 w 708412"/>
                  <a:gd name="connsiteY5" fmla="*/ 526320 h 526320"/>
                  <a:gd name="connsiteX6" fmla="*/ 49804 w 708412"/>
                  <a:gd name="connsiteY6" fmla="*/ 522722 h 526320"/>
                  <a:gd name="connsiteX0" fmla="*/ 711815 w 712527"/>
                  <a:gd name="connsiteY0" fmla="*/ 400394 h 526320"/>
                  <a:gd name="connsiteX1" fmla="*/ 708219 w 712527"/>
                  <a:gd name="connsiteY1" fmla="*/ 1807 h 526320"/>
                  <a:gd name="connsiteX2" fmla="*/ 0 w 712527"/>
                  <a:gd name="connsiteY2" fmla="*/ 1807 h 526320"/>
                  <a:gd name="connsiteX3" fmla="*/ 0 w 712527"/>
                  <a:gd name="connsiteY3" fmla="*/ 526320 h 526320"/>
                  <a:gd name="connsiteX4" fmla="*/ 0 w 712527"/>
                  <a:gd name="connsiteY4" fmla="*/ 526320 h 526320"/>
                  <a:gd name="connsiteX5" fmla="*/ 0 w 712527"/>
                  <a:gd name="connsiteY5" fmla="*/ 526320 h 526320"/>
                  <a:gd name="connsiteX6" fmla="*/ 49804 w 712527"/>
                  <a:gd name="connsiteY6" fmla="*/ 522722 h 526320"/>
                  <a:gd name="connsiteX0" fmla="*/ 701021 w 708500"/>
                  <a:gd name="connsiteY0" fmla="*/ 403992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11815 w 712527"/>
                  <a:gd name="connsiteY0" fmla="*/ 418383 h 526320"/>
                  <a:gd name="connsiteX1" fmla="*/ 708219 w 712527"/>
                  <a:gd name="connsiteY1" fmla="*/ 1807 h 526320"/>
                  <a:gd name="connsiteX2" fmla="*/ 0 w 712527"/>
                  <a:gd name="connsiteY2" fmla="*/ 1807 h 526320"/>
                  <a:gd name="connsiteX3" fmla="*/ 0 w 712527"/>
                  <a:gd name="connsiteY3" fmla="*/ 526320 h 526320"/>
                  <a:gd name="connsiteX4" fmla="*/ 0 w 712527"/>
                  <a:gd name="connsiteY4" fmla="*/ 526320 h 526320"/>
                  <a:gd name="connsiteX5" fmla="*/ 0 w 712527"/>
                  <a:gd name="connsiteY5" fmla="*/ 526320 h 526320"/>
                  <a:gd name="connsiteX6" fmla="*/ 49804 w 712527"/>
                  <a:gd name="connsiteY6" fmla="*/ 522722 h 526320"/>
                  <a:gd name="connsiteX0" fmla="*/ 701021 w 708500"/>
                  <a:gd name="connsiteY0" fmla="*/ 407589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04619 w 708730"/>
                  <a:gd name="connsiteY0" fmla="*/ 411187 h 526320"/>
                  <a:gd name="connsiteX1" fmla="*/ 708219 w 708730"/>
                  <a:gd name="connsiteY1" fmla="*/ 1807 h 526320"/>
                  <a:gd name="connsiteX2" fmla="*/ 0 w 708730"/>
                  <a:gd name="connsiteY2" fmla="*/ 1807 h 526320"/>
                  <a:gd name="connsiteX3" fmla="*/ 0 w 708730"/>
                  <a:gd name="connsiteY3" fmla="*/ 526320 h 526320"/>
                  <a:gd name="connsiteX4" fmla="*/ 0 w 708730"/>
                  <a:gd name="connsiteY4" fmla="*/ 526320 h 526320"/>
                  <a:gd name="connsiteX5" fmla="*/ 0 w 708730"/>
                  <a:gd name="connsiteY5" fmla="*/ 526320 h 526320"/>
                  <a:gd name="connsiteX6" fmla="*/ 49804 w 708730"/>
                  <a:gd name="connsiteY6" fmla="*/ 522722 h 526320"/>
                  <a:gd name="connsiteX0" fmla="*/ 704619 w 709416"/>
                  <a:gd name="connsiteY0" fmla="*/ 411187 h 526320"/>
                  <a:gd name="connsiteX1" fmla="*/ 708219 w 709416"/>
                  <a:gd name="connsiteY1" fmla="*/ 1807 h 526320"/>
                  <a:gd name="connsiteX2" fmla="*/ 0 w 709416"/>
                  <a:gd name="connsiteY2" fmla="*/ 1807 h 526320"/>
                  <a:gd name="connsiteX3" fmla="*/ 0 w 709416"/>
                  <a:gd name="connsiteY3" fmla="*/ 526320 h 526320"/>
                  <a:gd name="connsiteX4" fmla="*/ 0 w 709416"/>
                  <a:gd name="connsiteY4" fmla="*/ 526320 h 526320"/>
                  <a:gd name="connsiteX5" fmla="*/ 0 w 709416"/>
                  <a:gd name="connsiteY5" fmla="*/ 526320 h 526320"/>
                  <a:gd name="connsiteX6" fmla="*/ 49804 w 709416"/>
                  <a:gd name="connsiteY6" fmla="*/ 522722 h 526320"/>
                  <a:gd name="connsiteX0" fmla="*/ 709655 w 712327"/>
                  <a:gd name="connsiteY0" fmla="*/ 412866 h 526320"/>
                  <a:gd name="connsiteX1" fmla="*/ 708219 w 712327"/>
                  <a:gd name="connsiteY1" fmla="*/ 1807 h 526320"/>
                  <a:gd name="connsiteX2" fmla="*/ 0 w 712327"/>
                  <a:gd name="connsiteY2" fmla="*/ 1807 h 526320"/>
                  <a:gd name="connsiteX3" fmla="*/ 0 w 712327"/>
                  <a:gd name="connsiteY3" fmla="*/ 526320 h 526320"/>
                  <a:gd name="connsiteX4" fmla="*/ 0 w 712327"/>
                  <a:gd name="connsiteY4" fmla="*/ 526320 h 526320"/>
                  <a:gd name="connsiteX5" fmla="*/ 0 w 712327"/>
                  <a:gd name="connsiteY5" fmla="*/ 526320 h 526320"/>
                  <a:gd name="connsiteX6" fmla="*/ 49804 w 712327"/>
                  <a:gd name="connsiteY6" fmla="*/ 522722 h 526320"/>
                  <a:gd name="connsiteX0" fmla="*/ 709655 w 709655"/>
                  <a:gd name="connsiteY0" fmla="*/ 412866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9655 w 709655"/>
                  <a:gd name="connsiteY0" fmla="*/ 412866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6298 w 708527"/>
                  <a:gd name="connsiteY0" fmla="*/ 409509 h 526320"/>
                  <a:gd name="connsiteX1" fmla="*/ 708219 w 708527"/>
                  <a:gd name="connsiteY1" fmla="*/ 1807 h 526320"/>
                  <a:gd name="connsiteX2" fmla="*/ 0 w 708527"/>
                  <a:gd name="connsiteY2" fmla="*/ 1807 h 526320"/>
                  <a:gd name="connsiteX3" fmla="*/ 0 w 708527"/>
                  <a:gd name="connsiteY3" fmla="*/ 526320 h 526320"/>
                  <a:gd name="connsiteX4" fmla="*/ 0 w 708527"/>
                  <a:gd name="connsiteY4" fmla="*/ 526320 h 526320"/>
                  <a:gd name="connsiteX5" fmla="*/ 0 w 708527"/>
                  <a:gd name="connsiteY5" fmla="*/ 526320 h 526320"/>
                  <a:gd name="connsiteX6" fmla="*/ 49804 w 708527"/>
                  <a:gd name="connsiteY6" fmla="*/ 522722 h 526320"/>
                  <a:gd name="connsiteX0" fmla="*/ 708816 w 708816"/>
                  <a:gd name="connsiteY0" fmla="*/ 408670 h 526320"/>
                  <a:gd name="connsiteX1" fmla="*/ 708219 w 708816"/>
                  <a:gd name="connsiteY1" fmla="*/ 1807 h 526320"/>
                  <a:gd name="connsiteX2" fmla="*/ 0 w 708816"/>
                  <a:gd name="connsiteY2" fmla="*/ 1807 h 526320"/>
                  <a:gd name="connsiteX3" fmla="*/ 0 w 708816"/>
                  <a:gd name="connsiteY3" fmla="*/ 526320 h 526320"/>
                  <a:gd name="connsiteX4" fmla="*/ 0 w 708816"/>
                  <a:gd name="connsiteY4" fmla="*/ 526320 h 526320"/>
                  <a:gd name="connsiteX5" fmla="*/ 0 w 708816"/>
                  <a:gd name="connsiteY5" fmla="*/ 526320 h 526320"/>
                  <a:gd name="connsiteX6" fmla="*/ 49804 w 708816"/>
                  <a:gd name="connsiteY6" fmla="*/ 522722 h 526320"/>
                  <a:gd name="connsiteX0" fmla="*/ 709655 w 709655"/>
                  <a:gd name="connsiteY0" fmla="*/ 409509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9655 w 709655"/>
                  <a:gd name="connsiteY0" fmla="*/ 409509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9655 w 709655"/>
                  <a:gd name="connsiteY0" fmla="*/ 409509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0" fmla="*/ 709854 w 709854"/>
                  <a:gd name="connsiteY0" fmla="*/ 409509 h 527006"/>
                  <a:gd name="connsiteX1" fmla="*/ 708418 w 709854"/>
                  <a:gd name="connsiteY1" fmla="*/ 1807 h 527006"/>
                  <a:gd name="connsiteX2" fmla="*/ 199 w 709854"/>
                  <a:gd name="connsiteY2" fmla="*/ 1807 h 527006"/>
                  <a:gd name="connsiteX3" fmla="*/ 199 w 709854"/>
                  <a:gd name="connsiteY3" fmla="*/ 526320 h 527006"/>
                  <a:gd name="connsiteX4" fmla="*/ 199 w 709854"/>
                  <a:gd name="connsiteY4" fmla="*/ 526320 h 527006"/>
                  <a:gd name="connsiteX5" fmla="*/ 199 w 709854"/>
                  <a:gd name="connsiteY5" fmla="*/ 526320 h 527006"/>
                  <a:gd name="connsiteX6" fmla="*/ 0 w 709854"/>
                  <a:gd name="connsiteY6" fmla="*/ 527006 h 527006"/>
                  <a:gd name="connsiteX0" fmla="*/ 709656 w 709656"/>
                  <a:gd name="connsiteY0" fmla="*/ 409509 h 532881"/>
                  <a:gd name="connsiteX1" fmla="*/ 708220 w 709656"/>
                  <a:gd name="connsiteY1" fmla="*/ 1807 h 532881"/>
                  <a:gd name="connsiteX2" fmla="*/ 1 w 709656"/>
                  <a:gd name="connsiteY2" fmla="*/ 1807 h 532881"/>
                  <a:gd name="connsiteX3" fmla="*/ 1 w 709656"/>
                  <a:gd name="connsiteY3" fmla="*/ 526320 h 532881"/>
                  <a:gd name="connsiteX4" fmla="*/ 1 w 709656"/>
                  <a:gd name="connsiteY4" fmla="*/ 526320 h 532881"/>
                  <a:gd name="connsiteX5" fmla="*/ 1 w 709656"/>
                  <a:gd name="connsiteY5" fmla="*/ 526320 h 532881"/>
                  <a:gd name="connsiteX6" fmla="*/ 107232 w 709656"/>
                  <a:gd name="connsiteY6" fmla="*/ 532881 h 532881"/>
                  <a:gd name="connsiteX0" fmla="*/ 709656 w 709656"/>
                  <a:gd name="connsiteY0" fmla="*/ 409509 h 526327"/>
                  <a:gd name="connsiteX1" fmla="*/ 708220 w 709656"/>
                  <a:gd name="connsiteY1" fmla="*/ 1807 h 526327"/>
                  <a:gd name="connsiteX2" fmla="*/ 1 w 709656"/>
                  <a:gd name="connsiteY2" fmla="*/ 1807 h 526327"/>
                  <a:gd name="connsiteX3" fmla="*/ 1 w 709656"/>
                  <a:gd name="connsiteY3" fmla="*/ 526320 h 526327"/>
                  <a:gd name="connsiteX4" fmla="*/ 1 w 709656"/>
                  <a:gd name="connsiteY4" fmla="*/ 526320 h 526327"/>
                  <a:gd name="connsiteX5" fmla="*/ 1 w 709656"/>
                  <a:gd name="connsiteY5" fmla="*/ 526320 h 526327"/>
                  <a:gd name="connsiteX6" fmla="*/ 327968 w 709656"/>
                  <a:gd name="connsiteY6" fmla="*/ 525327 h 526327"/>
                  <a:gd name="connsiteX0" fmla="*/ 709656 w 709656"/>
                  <a:gd name="connsiteY0" fmla="*/ 409509 h 526340"/>
                  <a:gd name="connsiteX1" fmla="*/ 708220 w 709656"/>
                  <a:gd name="connsiteY1" fmla="*/ 1807 h 526340"/>
                  <a:gd name="connsiteX2" fmla="*/ 1 w 709656"/>
                  <a:gd name="connsiteY2" fmla="*/ 1807 h 526340"/>
                  <a:gd name="connsiteX3" fmla="*/ 1 w 709656"/>
                  <a:gd name="connsiteY3" fmla="*/ 526320 h 526340"/>
                  <a:gd name="connsiteX4" fmla="*/ 1 w 709656"/>
                  <a:gd name="connsiteY4" fmla="*/ 526320 h 526340"/>
                  <a:gd name="connsiteX5" fmla="*/ 1 w 709656"/>
                  <a:gd name="connsiteY5" fmla="*/ 526320 h 526340"/>
                  <a:gd name="connsiteX6" fmla="*/ 324611 w 709656"/>
                  <a:gd name="connsiteY6" fmla="*/ 526166 h 526340"/>
                  <a:gd name="connsiteX0" fmla="*/ 709656 w 709656"/>
                  <a:gd name="connsiteY0" fmla="*/ 409509 h 526324"/>
                  <a:gd name="connsiteX1" fmla="*/ 708220 w 709656"/>
                  <a:gd name="connsiteY1" fmla="*/ 1807 h 526324"/>
                  <a:gd name="connsiteX2" fmla="*/ 1 w 709656"/>
                  <a:gd name="connsiteY2" fmla="*/ 1807 h 526324"/>
                  <a:gd name="connsiteX3" fmla="*/ 1 w 709656"/>
                  <a:gd name="connsiteY3" fmla="*/ 526320 h 526324"/>
                  <a:gd name="connsiteX4" fmla="*/ 1 w 709656"/>
                  <a:gd name="connsiteY4" fmla="*/ 526320 h 526324"/>
                  <a:gd name="connsiteX5" fmla="*/ 1 w 709656"/>
                  <a:gd name="connsiteY5" fmla="*/ 526320 h 526324"/>
                  <a:gd name="connsiteX6" fmla="*/ 329647 w 709656"/>
                  <a:gd name="connsiteY6" fmla="*/ 524487 h 526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9656" h="526324">
                    <a:moveTo>
                      <a:pt x="709656" y="409509"/>
                    </a:moveTo>
                    <a:cubicBezTo>
                      <a:pt x="707261" y="256260"/>
                      <a:pt x="709925" y="178574"/>
                      <a:pt x="708220" y="1807"/>
                    </a:cubicBezTo>
                    <a:cubicBezTo>
                      <a:pt x="487044" y="-2261"/>
                      <a:pt x="236074" y="1807"/>
                      <a:pt x="1" y="1807"/>
                    </a:cubicBezTo>
                    <a:lnTo>
                      <a:pt x="1" y="526320"/>
                    </a:lnTo>
                    <a:lnTo>
                      <a:pt x="1" y="526320"/>
                    </a:lnTo>
                    <a:lnTo>
                      <a:pt x="1" y="526320"/>
                    </a:lnTo>
                    <a:cubicBezTo>
                      <a:pt x="-32" y="526434"/>
                      <a:pt x="329688" y="524344"/>
                      <a:pt x="329647" y="524487"/>
                    </a:cubicBezTo>
                  </a:path>
                </a:pathLst>
              </a:custGeom>
              <a:noFill/>
              <a:ln w="19050" cap="sq">
                <a:solidFill>
                  <a:schemeClr val="tx2"/>
                </a:solidFill>
                <a:prstDash val="solid"/>
                <a:miter/>
              </a:ln>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p>
            </p:txBody>
          </p:sp>
          <p:sp>
            <p:nvSpPr>
              <p:cNvPr id="8" name="Freeform 6">
                <a:extLst>
                  <a:ext uri="{FF2B5EF4-FFF2-40B4-BE49-F238E27FC236}">
                    <a16:creationId xmlns:a16="http://schemas.microsoft.com/office/drawing/2014/main" id="{E9D43593-0D83-48B2-9D28-AD953187F10D}"/>
                  </a:ext>
                </a:extLst>
              </p:cNvPr>
              <p:cNvSpPr>
                <a:spLocks noEditPoints="1"/>
              </p:cNvSpPr>
              <p:nvPr/>
            </p:nvSpPr>
            <p:spPr bwMode="auto">
              <a:xfrm>
                <a:off x="13294153" y="4852843"/>
                <a:ext cx="1945848" cy="1742143"/>
              </a:xfrm>
              <a:custGeom>
                <a:avLst/>
                <a:gdLst>
                  <a:gd name="T0" fmla="*/ 4 w 363"/>
                  <a:gd name="T1" fmla="*/ 325 h 325"/>
                  <a:gd name="T2" fmla="*/ 4 w 363"/>
                  <a:gd name="T3" fmla="*/ 277 h 325"/>
                  <a:gd name="T4" fmla="*/ 52 w 363"/>
                  <a:gd name="T5" fmla="*/ 325 h 325"/>
                  <a:gd name="T6" fmla="*/ 52 w 363"/>
                  <a:gd name="T7" fmla="*/ 229 h 325"/>
                  <a:gd name="T8" fmla="*/ 100 w 363"/>
                  <a:gd name="T9" fmla="*/ 325 h 325"/>
                  <a:gd name="T10" fmla="*/ 100 w 363"/>
                  <a:gd name="T11" fmla="*/ 181 h 325"/>
                  <a:gd name="T12" fmla="*/ 147 w 363"/>
                  <a:gd name="T13" fmla="*/ 325 h 325"/>
                  <a:gd name="T14" fmla="*/ 147 w 363"/>
                  <a:gd name="T15" fmla="*/ 133 h 325"/>
                  <a:gd name="T16" fmla="*/ 195 w 363"/>
                  <a:gd name="T17" fmla="*/ 325 h 325"/>
                  <a:gd name="T18" fmla="*/ 195 w 363"/>
                  <a:gd name="T19" fmla="*/ 133 h 325"/>
                  <a:gd name="T20" fmla="*/ 243 w 363"/>
                  <a:gd name="T21" fmla="*/ 325 h 325"/>
                  <a:gd name="T22" fmla="*/ 243 w 363"/>
                  <a:gd name="T23" fmla="*/ 180 h 325"/>
                  <a:gd name="T24" fmla="*/ 291 w 363"/>
                  <a:gd name="T25" fmla="*/ 325 h 325"/>
                  <a:gd name="T26" fmla="*/ 291 w 363"/>
                  <a:gd name="T27" fmla="*/ 133 h 325"/>
                  <a:gd name="T28" fmla="*/ 339 w 363"/>
                  <a:gd name="T29" fmla="*/ 325 h 325"/>
                  <a:gd name="T30" fmla="*/ 339 w 363"/>
                  <a:gd name="T31" fmla="*/ 109 h 325"/>
                  <a:gd name="T32" fmla="*/ 362 w 363"/>
                  <a:gd name="T33" fmla="*/ 0 h 325"/>
                  <a:gd name="T34" fmla="*/ 243 w 363"/>
                  <a:gd name="T35" fmla="*/ 120 h 325"/>
                  <a:gd name="T36" fmla="*/ 171 w 363"/>
                  <a:gd name="T37" fmla="*/ 48 h 325"/>
                  <a:gd name="T38" fmla="*/ 0 w 363"/>
                  <a:gd name="T39" fmla="*/ 220 h 325"/>
                  <a:gd name="T40" fmla="*/ 363 w 363"/>
                  <a:gd name="T41" fmla="*/ 72 h 325"/>
                  <a:gd name="T42" fmla="*/ 363 w 363"/>
                  <a:gd name="T43" fmla="*/ 0 h 325"/>
                  <a:gd name="T44" fmla="*/ 291 w 363"/>
                  <a:gd name="T45" fmla="*/ 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3" h="325">
                    <a:moveTo>
                      <a:pt x="4" y="325"/>
                    </a:moveTo>
                    <a:lnTo>
                      <a:pt x="4" y="277"/>
                    </a:lnTo>
                    <a:moveTo>
                      <a:pt x="52" y="325"/>
                    </a:moveTo>
                    <a:lnTo>
                      <a:pt x="52" y="229"/>
                    </a:lnTo>
                    <a:moveTo>
                      <a:pt x="100" y="325"/>
                    </a:moveTo>
                    <a:lnTo>
                      <a:pt x="100" y="181"/>
                    </a:lnTo>
                    <a:moveTo>
                      <a:pt x="147" y="325"/>
                    </a:moveTo>
                    <a:lnTo>
                      <a:pt x="147" y="133"/>
                    </a:lnTo>
                    <a:moveTo>
                      <a:pt x="195" y="325"/>
                    </a:moveTo>
                    <a:lnTo>
                      <a:pt x="195" y="133"/>
                    </a:lnTo>
                    <a:moveTo>
                      <a:pt x="243" y="325"/>
                    </a:moveTo>
                    <a:lnTo>
                      <a:pt x="243" y="180"/>
                    </a:lnTo>
                    <a:moveTo>
                      <a:pt x="291" y="325"/>
                    </a:moveTo>
                    <a:lnTo>
                      <a:pt x="291" y="133"/>
                    </a:lnTo>
                    <a:moveTo>
                      <a:pt x="339" y="325"/>
                    </a:moveTo>
                    <a:lnTo>
                      <a:pt x="339" y="109"/>
                    </a:lnTo>
                    <a:moveTo>
                      <a:pt x="362" y="0"/>
                    </a:moveTo>
                    <a:lnTo>
                      <a:pt x="243" y="120"/>
                    </a:lnTo>
                    <a:lnTo>
                      <a:pt x="171" y="48"/>
                    </a:lnTo>
                    <a:lnTo>
                      <a:pt x="0" y="220"/>
                    </a:lnTo>
                    <a:moveTo>
                      <a:pt x="363" y="72"/>
                    </a:moveTo>
                    <a:lnTo>
                      <a:pt x="363" y="0"/>
                    </a:lnTo>
                    <a:lnTo>
                      <a:pt x="291" y="0"/>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54" name="Oval 53">
              <a:extLst>
                <a:ext uri="{FF2B5EF4-FFF2-40B4-BE49-F238E27FC236}">
                  <a16:creationId xmlns:a16="http://schemas.microsoft.com/office/drawing/2014/main" id="{3B351A94-0CD1-425F-B402-817A1E1C2B43}"/>
                </a:ext>
              </a:extLst>
            </p:cNvPr>
            <p:cNvSpPr/>
            <p:nvPr/>
          </p:nvSpPr>
          <p:spPr bwMode="auto">
            <a:xfrm>
              <a:off x="9451220" y="3231556"/>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grpSp>
        <p:nvGrpSpPr>
          <p:cNvPr id="88" name="Group 87">
            <a:extLst>
              <a:ext uri="{FF2B5EF4-FFF2-40B4-BE49-F238E27FC236}">
                <a16:creationId xmlns:a16="http://schemas.microsoft.com/office/drawing/2014/main" id="{514C39F8-CC6A-4018-B496-1113BD2C9879}"/>
              </a:ext>
              <a:ext uri="{C183D7F6-B498-43B3-948B-1728B52AA6E4}">
                <adec:decorative xmlns:adec="http://schemas.microsoft.com/office/drawing/2017/decorative" val="1"/>
              </a:ext>
            </a:extLst>
          </p:cNvPr>
          <p:cNvGrpSpPr/>
          <p:nvPr/>
        </p:nvGrpSpPr>
        <p:grpSpPr>
          <a:xfrm>
            <a:off x="5483516" y="3231556"/>
            <a:ext cx="1466268" cy="1466264"/>
            <a:chOff x="5483516" y="3231556"/>
            <a:chExt cx="1466268" cy="1466264"/>
          </a:xfrm>
        </p:grpSpPr>
        <p:sp>
          <p:nvSpPr>
            <p:cNvPr id="53" name="Oval 52">
              <a:extLst>
                <a:ext uri="{FF2B5EF4-FFF2-40B4-BE49-F238E27FC236}">
                  <a16:creationId xmlns:a16="http://schemas.microsoft.com/office/drawing/2014/main" id="{C314881F-FF28-49AF-AF07-6D0C179C8758}"/>
                </a:ext>
              </a:extLst>
            </p:cNvPr>
            <p:cNvSpPr/>
            <p:nvPr/>
          </p:nvSpPr>
          <p:spPr bwMode="auto">
            <a:xfrm>
              <a:off x="5483516" y="3231556"/>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nvGrpSpPr>
            <p:cNvPr id="85" name="Group 84">
              <a:extLst>
                <a:ext uri="{FF2B5EF4-FFF2-40B4-BE49-F238E27FC236}">
                  <a16:creationId xmlns:a16="http://schemas.microsoft.com/office/drawing/2014/main" id="{BB725414-4FB9-40FE-9CBB-DD4C2C2C11D0}"/>
                </a:ext>
              </a:extLst>
            </p:cNvPr>
            <p:cNvGrpSpPr/>
            <p:nvPr/>
          </p:nvGrpSpPr>
          <p:grpSpPr>
            <a:xfrm>
              <a:off x="5831047" y="3446858"/>
              <a:ext cx="771208" cy="1035662"/>
              <a:chOff x="5831047" y="3446858"/>
              <a:chExt cx="771208" cy="1035662"/>
            </a:xfrm>
          </p:grpSpPr>
          <p:sp>
            <p:nvSpPr>
              <p:cNvPr id="25" name="Freeform: Shape 24">
                <a:extLst>
                  <a:ext uri="{FF2B5EF4-FFF2-40B4-BE49-F238E27FC236}">
                    <a16:creationId xmlns:a16="http://schemas.microsoft.com/office/drawing/2014/main" id="{FEBBAE57-E613-473F-B168-896AA89AFC86}"/>
                  </a:ext>
                </a:extLst>
              </p:cNvPr>
              <p:cNvSpPr/>
              <p:nvPr/>
            </p:nvSpPr>
            <p:spPr>
              <a:xfrm>
                <a:off x="6076914" y="4006785"/>
                <a:ext cx="279339" cy="280279"/>
              </a:xfrm>
              <a:custGeom>
                <a:avLst/>
                <a:gdLst>
                  <a:gd name="connsiteX0" fmla="*/ 0 w 197929"/>
                  <a:gd name="connsiteY0" fmla="*/ 100203 h 198596"/>
                  <a:gd name="connsiteX1" fmla="*/ 98965 w 197929"/>
                  <a:gd name="connsiteY1" fmla="*/ 0 h 198596"/>
                  <a:gd name="connsiteX2" fmla="*/ 197929 w 197929"/>
                  <a:gd name="connsiteY2" fmla="*/ 100203 h 198596"/>
                  <a:gd name="connsiteX3" fmla="*/ 98965 w 197929"/>
                  <a:gd name="connsiteY3" fmla="*/ 198596 h 198596"/>
                  <a:gd name="connsiteX4" fmla="*/ 0 w 197929"/>
                  <a:gd name="connsiteY4" fmla="*/ 100203 h 198596"/>
                  <a:gd name="connsiteX5" fmla="*/ 0 w 197929"/>
                  <a:gd name="connsiteY5" fmla="*/ 100203 h 198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929" h="198596">
                    <a:moveTo>
                      <a:pt x="0" y="100203"/>
                    </a:moveTo>
                    <a:cubicBezTo>
                      <a:pt x="0" y="45529"/>
                      <a:pt x="44006" y="0"/>
                      <a:pt x="98965" y="0"/>
                    </a:cubicBezTo>
                    <a:cubicBezTo>
                      <a:pt x="154019" y="0"/>
                      <a:pt x="197929" y="45625"/>
                      <a:pt x="197929" y="100203"/>
                    </a:cubicBezTo>
                    <a:cubicBezTo>
                      <a:pt x="197929" y="154781"/>
                      <a:pt x="154019" y="198596"/>
                      <a:pt x="98965" y="198596"/>
                    </a:cubicBezTo>
                    <a:cubicBezTo>
                      <a:pt x="44006" y="198596"/>
                      <a:pt x="0" y="154781"/>
                      <a:pt x="0" y="100203"/>
                    </a:cubicBezTo>
                    <a:lnTo>
                      <a:pt x="0" y="100203"/>
                    </a:lnTo>
                    <a:close/>
                  </a:path>
                </a:pathLst>
              </a:custGeom>
              <a:noFill/>
              <a:ln w="19050" cap="sq">
                <a:solidFill>
                  <a:schemeClr val="tx2"/>
                </a:solidFill>
                <a:prstDash val="solid"/>
                <a:miter/>
              </a:ln>
            </p:spPr>
            <p:txBody>
              <a:bodyPr rtlCol="0" anchor="ctr"/>
              <a:lstStyle/>
              <a:p>
                <a:endParaRPr lang="en-IN"/>
              </a:p>
            </p:txBody>
          </p:sp>
          <p:sp>
            <p:nvSpPr>
              <p:cNvPr id="26" name="Freeform: Shape 25">
                <a:extLst>
                  <a:ext uri="{FF2B5EF4-FFF2-40B4-BE49-F238E27FC236}">
                    <a16:creationId xmlns:a16="http://schemas.microsoft.com/office/drawing/2014/main" id="{41914576-A8EE-4075-87CC-BA0981E2A712}"/>
                  </a:ext>
                </a:extLst>
              </p:cNvPr>
              <p:cNvSpPr/>
              <p:nvPr/>
            </p:nvSpPr>
            <p:spPr>
              <a:xfrm>
                <a:off x="6020051" y="4287064"/>
                <a:ext cx="393333" cy="195456"/>
              </a:xfrm>
              <a:custGeom>
                <a:avLst/>
                <a:gdLst>
                  <a:gd name="connsiteX0" fmla="*/ 278701 w 278701"/>
                  <a:gd name="connsiteY0" fmla="*/ 138494 h 138493"/>
                  <a:gd name="connsiteX1" fmla="*/ 139351 w 278701"/>
                  <a:gd name="connsiteY1" fmla="*/ 0 h 138493"/>
                  <a:gd name="connsiteX2" fmla="*/ 0 w 278701"/>
                  <a:gd name="connsiteY2" fmla="*/ 138494 h 138493"/>
                </a:gdLst>
                <a:ahLst/>
                <a:cxnLst>
                  <a:cxn ang="0">
                    <a:pos x="connsiteX0" y="connsiteY0"/>
                  </a:cxn>
                  <a:cxn ang="0">
                    <a:pos x="connsiteX1" y="connsiteY1"/>
                  </a:cxn>
                  <a:cxn ang="0">
                    <a:pos x="connsiteX2" y="connsiteY2"/>
                  </a:cxn>
                </a:cxnLst>
                <a:rect l="l" t="t" r="r" b="b"/>
                <a:pathLst>
                  <a:path w="278701" h="138493">
                    <a:moveTo>
                      <a:pt x="278701" y="138494"/>
                    </a:moveTo>
                    <a:cubicBezTo>
                      <a:pt x="278701" y="62008"/>
                      <a:pt x="216313" y="0"/>
                      <a:pt x="139351" y="0"/>
                    </a:cubicBezTo>
                    <a:cubicBezTo>
                      <a:pt x="62389" y="0"/>
                      <a:pt x="0" y="61913"/>
                      <a:pt x="0" y="138494"/>
                    </a:cubicBezTo>
                  </a:path>
                </a:pathLst>
              </a:custGeom>
              <a:noFill/>
              <a:ln w="19050" cap="sq">
                <a:solidFill>
                  <a:schemeClr val="tx2"/>
                </a:solidFill>
                <a:prstDash val="solid"/>
                <a:miter/>
              </a:ln>
            </p:spPr>
            <p:txBody>
              <a:bodyPr rtlCol="0" anchor="ctr"/>
              <a:lstStyle/>
              <a:p>
                <a:endParaRPr lang="en-IN"/>
              </a:p>
            </p:txBody>
          </p:sp>
          <p:sp>
            <p:nvSpPr>
              <p:cNvPr id="30" name="Freeform: Shape 29">
                <a:extLst>
                  <a:ext uri="{FF2B5EF4-FFF2-40B4-BE49-F238E27FC236}">
                    <a16:creationId xmlns:a16="http://schemas.microsoft.com/office/drawing/2014/main" id="{103C27DF-0632-4517-9F7B-13B19A3D3B05}"/>
                  </a:ext>
                </a:extLst>
              </p:cNvPr>
              <p:cNvSpPr/>
              <p:nvPr/>
            </p:nvSpPr>
            <p:spPr>
              <a:xfrm>
                <a:off x="5864653" y="3839424"/>
                <a:ext cx="176099" cy="174889"/>
              </a:xfrm>
              <a:custGeom>
                <a:avLst/>
                <a:gdLst>
                  <a:gd name="connsiteX0" fmla="*/ 62389 w 124777"/>
                  <a:gd name="connsiteY0" fmla="*/ 123920 h 123920"/>
                  <a:gd name="connsiteX1" fmla="*/ 124777 w 124777"/>
                  <a:gd name="connsiteY1" fmla="*/ 62008 h 123920"/>
                  <a:gd name="connsiteX2" fmla="*/ 62389 w 124777"/>
                  <a:gd name="connsiteY2" fmla="*/ 0 h 123920"/>
                  <a:gd name="connsiteX3" fmla="*/ 0 w 124777"/>
                  <a:gd name="connsiteY3" fmla="*/ 62008 h 123920"/>
                  <a:gd name="connsiteX4" fmla="*/ 62389 w 124777"/>
                  <a:gd name="connsiteY4" fmla="*/ 123920 h 123920"/>
                  <a:gd name="connsiteX5" fmla="*/ 62389 w 124777"/>
                  <a:gd name="connsiteY5" fmla="*/ 123920 h 12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777" h="123920">
                    <a:moveTo>
                      <a:pt x="62389" y="123920"/>
                    </a:moveTo>
                    <a:cubicBezTo>
                      <a:pt x="97250" y="123920"/>
                      <a:pt x="124777" y="96679"/>
                      <a:pt x="124777" y="62008"/>
                    </a:cubicBezTo>
                    <a:cubicBezTo>
                      <a:pt x="124777" y="27337"/>
                      <a:pt x="97250" y="0"/>
                      <a:pt x="62389" y="0"/>
                    </a:cubicBezTo>
                    <a:cubicBezTo>
                      <a:pt x="27623" y="0"/>
                      <a:pt x="0" y="27337"/>
                      <a:pt x="0" y="62008"/>
                    </a:cubicBezTo>
                    <a:cubicBezTo>
                      <a:pt x="0" y="96679"/>
                      <a:pt x="27623" y="123920"/>
                      <a:pt x="62389" y="123920"/>
                    </a:cubicBezTo>
                    <a:lnTo>
                      <a:pt x="62389" y="123920"/>
                    </a:lnTo>
                    <a:close/>
                  </a:path>
                </a:pathLst>
              </a:custGeom>
              <a:noFill/>
              <a:ln w="19050" cap="sq">
                <a:solidFill>
                  <a:schemeClr val="tx2"/>
                </a:solidFill>
                <a:prstDash val="solid"/>
                <a:miter/>
              </a:ln>
            </p:spPr>
            <p:txBody>
              <a:bodyPr rtlCol="0" anchor="ctr"/>
              <a:lstStyle/>
              <a:p>
                <a:endParaRPr lang="en-IN"/>
              </a:p>
            </p:txBody>
          </p:sp>
          <p:sp>
            <p:nvSpPr>
              <p:cNvPr id="31" name="Freeform: Shape 30">
                <a:extLst>
                  <a:ext uri="{FF2B5EF4-FFF2-40B4-BE49-F238E27FC236}">
                    <a16:creationId xmlns:a16="http://schemas.microsoft.com/office/drawing/2014/main" id="{4525443B-BDB0-4323-8363-78CC04A84EAE}"/>
                  </a:ext>
                </a:extLst>
              </p:cNvPr>
              <p:cNvSpPr/>
              <p:nvPr/>
            </p:nvSpPr>
            <p:spPr>
              <a:xfrm>
                <a:off x="5831047" y="4014313"/>
                <a:ext cx="245867" cy="120849"/>
              </a:xfrm>
              <a:custGeom>
                <a:avLst/>
                <a:gdLst>
                  <a:gd name="connsiteX0" fmla="*/ 174212 w 174212"/>
                  <a:gd name="connsiteY0" fmla="*/ 85630 h 85629"/>
                  <a:gd name="connsiteX1" fmla="*/ 86201 w 174212"/>
                  <a:gd name="connsiteY1" fmla="*/ 0 h 85629"/>
                  <a:gd name="connsiteX2" fmla="*/ 0 w 174212"/>
                  <a:gd name="connsiteY2" fmla="*/ 85630 h 85629"/>
                </a:gdLst>
                <a:ahLst/>
                <a:cxnLst>
                  <a:cxn ang="0">
                    <a:pos x="connsiteX0" y="connsiteY0"/>
                  </a:cxn>
                  <a:cxn ang="0">
                    <a:pos x="connsiteX1" y="connsiteY1"/>
                  </a:cxn>
                  <a:cxn ang="0">
                    <a:pos x="connsiteX2" y="connsiteY2"/>
                  </a:cxn>
                </a:cxnLst>
                <a:rect l="l" t="t" r="r" b="b"/>
                <a:pathLst>
                  <a:path w="174212" h="85629">
                    <a:moveTo>
                      <a:pt x="174212" y="85630"/>
                    </a:moveTo>
                    <a:cubicBezTo>
                      <a:pt x="174212" y="38291"/>
                      <a:pt x="133922" y="0"/>
                      <a:pt x="86201" y="0"/>
                    </a:cubicBezTo>
                    <a:cubicBezTo>
                      <a:pt x="38481" y="0"/>
                      <a:pt x="0" y="38291"/>
                      <a:pt x="0" y="85630"/>
                    </a:cubicBezTo>
                  </a:path>
                </a:pathLst>
              </a:custGeom>
              <a:noFill/>
              <a:ln w="19050" cap="sq">
                <a:solidFill>
                  <a:schemeClr val="tx2"/>
                </a:solidFill>
                <a:prstDash val="solid"/>
                <a:miter/>
              </a:ln>
            </p:spPr>
            <p:txBody>
              <a:bodyPr rtlCol="0" anchor="ctr"/>
              <a:lstStyle/>
              <a:p>
                <a:endParaRPr lang="en-IN"/>
              </a:p>
            </p:txBody>
          </p:sp>
          <p:sp>
            <p:nvSpPr>
              <p:cNvPr id="39" name="Freeform: Shape 38">
                <a:extLst>
                  <a:ext uri="{FF2B5EF4-FFF2-40B4-BE49-F238E27FC236}">
                    <a16:creationId xmlns:a16="http://schemas.microsoft.com/office/drawing/2014/main" id="{62F0CF4F-25A7-4C5F-9286-71A8AD4EACA5}"/>
                  </a:ext>
                </a:extLst>
              </p:cNvPr>
              <p:cNvSpPr/>
              <p:nvPr/>
            </p:nvSpPr>
            <p:spPr>
              <a:xfrm>
                <a:off x="6392549" y="3839424"/>
                <a:ext cx="176099" cy="174889"/>
              </a:xfrm>
              <a:custGeom>
                <a:avLst/>
                <a:gdLst>
                  <a:gd name="connsiteX0" fmla="*/ 62389 w 124777"/>
                  <a:gd name="connsiteY0" fmla="*/ 123920 h 123920"/>
                  <a:gd name="connsiteX1" fmla="*/ 124778 w 124777"/>
                  <a:gd name="connsiteY1" fmla="*/ 62008 h 123920"/>
                  <a:gd name="connsiteX2" fmla="*/ 62389 w 124777"/>
                  <a:gd name="connsiteY2" fmla="*/ 0 h 123920"/>
                  <a:gd name="connsiteX3" fmla="*/ 0 w 124777"/>
                  <a:gd name="connsiteY3" fmla="*/ 62008 h 123920"/>
                  <a:gd name="connsiteX4" fmla="*/ 62389 w 124777"/>
                  <a:gd name="connsiteY4" fmla="*/ 123920 h 123920"/>
                  <a:gd name="connsiteX5" fmla="*/ 62389 w 124777"/>
                  <a:gd name="connsiteY5" fmla="*/ 123920 h 12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777" h="123920">
                    <a:moveTo>
                      <a:pt x="62389" y="123920"/>
                    </a:moveTo>
                    <a:cubicBezTo>
                      <a:pt x="97155" y="123920"/>
                      <a:pt x="124778" y="96679"/>
                      <a:pt x="124778" y="62008"/>
                    </a:cubicBezTo>
                    <a:cubicBezTo>
                      <a:pt x="124778" y="27337"/>
                      <a:pt x="97250" y="0"/>
                      <a:pt x="62389" y="0"/>
                    </a:cubicBezTo>
                    <a:cubicBezTo>
                      <a:pt x="27527" y="0"/>
                      <a:pt x="0" y="27337"/>
                      <a:pt x="0" y="62008"/>
                    </a:cubicBezTo>
                    <a:cubicBezTo>
                      <a:pt x="0" y="96679"/>
                      <a:pt x="27527" y="123920"/>
                      <a:pt x="62389" y="123920"/>
                    </a:cubicBezTo>
                    <a:lnTo>
                      <a:pt x="62389" y="123920"/>
                    </a:lnTo>
                    <a:close/>
                  </a:path>
                </a:pathLst>
              </a:custGeom>
              <a:noFill/>
              <a:ln w="19050" cap="sq">
                <a:solidFill>
                  <a:schemeClr val="tx2"/>
                </a:solidFill>
                <a:prstDash val="solid"/>
                <a:miter/>
              </a:ln>
            </p:spPr>
            <p:txBody>
              <a:bodyPr rtlCol="0" anchor="ctr"/>
              <a:lstStyle/>
              <a:p>
                <a:endParaRPr lang="en-IN"/>
              </a:p>
            </p:txBody>
          </p:sp>
          <p:sp>
            <p:nvSpPr>
              <p:cNvPr id="41" name="Freeform: Shape 40">
                <a:extLst>
                  <a:ext uri="{FF2B5EF4-FFF2-40B4-BE49-F238E27FC236}">
                    <a16:creationId xmlns:a16="http://schemas.microsoft.com/office/drawing/2014/main" id="{0CA0EA94-CD20-4651-AB63-F1FA66B4E025}"/>
                  </a:ext>
                </a:extLst>
              </p:cNvPr>
              <p:cNvSpPr/>
              <p:nvPr/>
            </p:nvSpPr>
            <p:spPr>
              <a:xfrm>
                <a:off x="6356522" y="4014313"/>
                <a:ext cx="245733" cy="120849"/>
              </a:xfrm>
              <a:custGeom>
                <a:avLst/>
                <a:gdLst>
                  <a:gd name="connsiteX0" fmla="*/ 174117 w 174117"/>
                  <a:gd name="connsiteY0" fmla="*/ 85630 h 85629"/>
                  <a:gd name="connsiteX1" fmla="*/ 88011 w 174117"/>
                  <a:gd name="connsiteY1" fmla="*/ 0 h 85629"/>
                  <a:gd name="connsiteX2" fmla="*/ 0 w 174117"/>
                  <a:gd name="connsiteY2" fmla="*/ 85630 h 85629"/>
                </a:gdLst>
                <a:ahLst/>
                <a:cxnLst>
                  <a:cxn ang="0">
                    <a:pos x="connsiteX0" y="connsiteY0"/>
                  </a:cxn>
                  <a:cxn ang="0">
                    <a:pos x="connsiteX1" y="connsiteY1"/>
                  </a:cxn>
                  <a:cxn ang="0">
                    <a:pos x="connsiteX2" y="connsiteY2"/>
                  </a:cxn>
                </a:cxnLst>
                <a:rect l="l" t="t" r="r" b="b"/>
                <a:pathLst>
                  <a:path w="174117" h="85629">
                    <a:moveTo>
                      <a:pt x="174117" y="85630"/>
                    </a:moveTo>
                    <a:cubicBezTo>
                      <a:pt x="174117" y="38291"/>
                      <a:pt x="135636" y="0"/>
                      <a:pt x="88011" y="0"/>
                    </a:cubicBezTo>
                    <a:cubicBezTo>
                      <a:pt x="40386" y="0"/>
                      <a:pt x="0" y="38291"/>
                      <a:pt x="0" y="85630"/>
                    </a:cubicBezTo>
                  </a:path>
                </a:pathLst>
              </a:custGeom>
              <a:noFill/>
              <a:ln w="19050" cap="sq">
                <a:solidFill>
                  <a:schemeClr val="tx2"/>
                </a:solidFill>
                <a:prstDash val="solid"/>
                <a:miter/>
              </a:ln>
            </p:spPr>
            <p:txBody>
              <a:bodyPr rtlCol="0" anchor="ctr"/>
              <a:lstStyle/>
              <a:p>
                <a:endParaRPr lang="en-IN"/>
              </a:p>
            </p:txBody>
          </p:sp>
          <p:sp>
            <p:nvSpPr>
              <p:cNvPr id="42" name="Freeform: Shape 41">
                <a:extLst>
                  <a:ext uri="{FF2B5EF4-FFF2-40B4-BE49-F238E27FC236}">
                    <a16:creationId xmlns:a16="http://schemas.microsoft.com/office/drawing/2014/main" id="{D237CA4F-5E00-471D-AD76-26A647EC780B}"/>
                  </a:ext>
                </a:extLst>
              </p:cNvPr>
              <p:cNvSpPr/>
              <p:nvPr/>
            </p:nvSpPr>
            <p:spPr>
              <a:xfrm>
                <a:off x="6216718" y="3446858"/>
                <a:ext cx="13443" cy="387149"/>
              </a:xfrm>
              <a:custGeom>
                <a:avLst/>
                <a:gdLst>
                  <a:gd name="connsiteX0" fmla="*/ 0 w 9525"/>
                  <a:gd name="connsiteY0" fmla="*/ 0 h 145827"/>
                  <a:gd name="connsiteX1" fmla="*/ 0 w 9525"/>
                  <a:gd name="connsiteY1" fmla="*/ 145828 h 145827"/>
                </a:gdLst>
                <a:ahLst/>
                <a:cxnLst>
                  <a:cxn ang="0">
                    <a:pos x="connsiteX0" y="connsiteY0"/>
                  </a:cxn>
                  <a:cxn ang="0">
                    <a:pos x="connsiteX1" y="connsiteY1"/>
                  </a:cxn>
                </a:cxnLst>
                <a:rect l="l" t="t" r="r" b="b"/>
                <a:pathLst>
                  <a:path w="9525" h="145827">
                    <a:moveTo>
                      <a:pt x="0" y="0"/>
                    </a:moveTo>
                    <a:cubicBezTo>
                      <a:pt x="0" y="145828"/>
                      <a:pt x="0" y="145828"/>
                      <a:pt x="0" y="145828"/>
                    </a:cubicBezTo>
                  </a:path>
                </a:pathLst>
              </a:custGeom>
              <a:noFill/>
              <a:ln w="19050" cap="sq">
                <a:solidFill>
                  <a:schemeClr val="tx2"/>
                </a:solidFill>
                <a:prstDash val="solid"/>
                <a:miter/>
              </a:ln>
            </p:spPr>
            <p:txBody>
              <a:bodyPr rtlCol="0" anchor="ctr"/>
              <a:lstStyle/>
              <a:p>
                <a:endParaRPr lang="en-IN"/>
              </a:p>
            </p:txBody>
          </p:sp>
          <p:sp>
            <p:nvSpPr>
              <p:cNvPr id="43" name="Freeform: Shape 42">
                <a:extLst>
                  <a:ext uri="{FF2B5EF4-FFF2-40B4-BE49-F238E27FC236}">
                    <a16:creationId xmlns:a16="http://schemas.microsoft.com/office/drawing/2014/main" id="{E99A9843-CA0C-417E-BC66-0FE7D9CA67AA}"/>
                  </a:ext>
                </a:extLst>
              </p:cNvPr>
              <p:cNvSpPr/>
              <p:nvPr/>
            </p:nvSpPr>
            <p:spPr>
              <a:xfrm>
                <a:off x="6100303" y="3728790"/>
                <a:ext cx="232962" cy="115741"/>
              </a:xfrm>
              <a:custGeom>
                <a:avLst/>
                <a:gdLst>
                  <a:gd name="connsiteX0" fmla="*/ 0 w 165068"/>
                  <a:gd name="connsiteY0" fmla="*/ 0 h 82010"/>
                  <a:gd name="connsiteX1" fmla="*/ 82487 w 165068"/>
                  <a:gd name="connsiteY1" fmla="*/ 82010 h 82010"/>
                  <a:gd name="connsiteX2" fmla="*/ 165068 w 165068"/>
                  <a:gd name="connsiteY2" fmla="*/ 0 h 82010"/>
                </a:gdLst>
                <a:ahLst/>
                <a:cxnLst>
                  <a:cxn ang="0">
                    <a:pos x="connsiteX0" y="connsiteY0"/>
                  </a:cxn>
                  <a:cxn ang="0">
                    <a:pos x="connsiteX1" y="connsiteY1"/>
                  </a:cxn>
                  <a:cxn ang="0">
                    <a:pos x="connsiteX2" y="connsiteY2"/>
                  </a:cxn>
                </a:cxnLst>
                <a:rect l="l" t="t" r="r" b="b"/>
                <a:pathLst>
                  <a:path w="165068" h="82010">
                    <a:moveTo>
                      <a:pt x="0" y="0"/>
                    </a:moveTo>
                    <a:cubicBezTo>
                      <a:pt x="82487" y="82010"/>
                      <a:pt x="82487" y="82010"/>
                      <a:pt x="82487" y="82010"/>
                    </a:cubicBezTo>
                    <a:cubicBezTo>
                      <a:pt x="165068" y="0"/>
                      <a:pt x="165068" y="0"/>
                      <a:pt x="165068" y="0"/>
                    </a:cubicBezTo>
                  </a:path>
                </a:pathLst>
              </a:custGeom>
              <a:noFill/>
              <a:ln w="19050" cap="sq">
                <a:solidFill>
                  <a:schemeClr val="tx2"/>
                </a:solidFill>
                <a:prstDash val="solid"/>
                <a:miter/>
              </a:ln>
            </p:spPr>
            <p:txBody>
              <a:bodyPr rtlCol="0" anchor="ctr"/>
              <a:lstStyle/>
              <a:p>
                <a:endParaRPr lang="en-IN"/>
              </a:p>
            </p:txBody>
          </p:sp>
        </p:grpSp>
      </p:grpSp>
      <p:grpSp>
        <p:nvGrpSpPr>
          <p:cNvPr id="90" name="Group 89">
            <a:extLst>
              <a:ext uri="{FF2B5EF4-FFF2-40B4-BE49-F238E27FC236}">
                <a16:creationId xmlns:a16="http://schemas.microsoft.com/office/drawing/2014/main" id="{2237408B-00FD-42D5-BFC6-076FFEA681CB}"/>
              </a:ext>
              <a:ext uri="{C183D7F6-B498-43B3-948B-1728B52AA6E4}">
                <adec:decorative xmlns:adec="http://schemas.microsoft.com/office/drawing/2017/decorative" val="1"/>
              </a:ext>
            </a:extLst>
          </p:cNvPr>
          <p:cNvGrpSpPr/>
          <p:nvPr/>
        </p:nvGrpSpPr>
        <p:grpSpPr>
          <a:xfrm>
            <a:off x="1517398" y="3231556"/>
            <a:ext cx="1466268" cy="1466264"/>
            <a:chOff x="1517398" y="3231556"/>
            <a:chExt cx="1466268" cy="1466264"/>
          </a:xfrm>
        </p:grpSpPr>
        <p:sp>
          <p:nvSpPr>
            <p:cNvPr id="51" name="Oval 50">
              <a:extLst>
                <a:ext uri="{FF2B5EF4-FFF2-40B4-BE49-F238E27FC236}">
                  <a16:creationId xmlns:a16="http://schemas.microsoft.com/office/drawing/2014/main" id="{E459A930-93FA-4F77-83C8-377B2D2D01F4}"/>
                </a:ext>
              </a:extLst>
            </p:cNvPr>
            <p:cNvSpPr/>
            <p:nvPr/>
          </p:nvSpPr>
          <p:spPr bwMode="auto">
            <a:xfrm>
              <a:off x="1517398" y="3231556"/>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nvGrpSpPr>
            <p:cNvPr id="86" name="Group 85">
              <a:extLst>
                <a:ext uri="{FF2B5EF4-FFF2-40B4-BE49-F238E27FC236}">
                  <a16:creationId xmlns:a16="http://schemas.microsoft.com/office/drawing/2014/main" id="{D4A5544F-0325-446C-A688-D52A09D7D70D}"/>
                </a:ext>
              </a:extLst>
            </p:cNvPr>
            <p:cNvGrpSpPr/>
            <p:nvPr/>
          </p:nvGrpSpPr>
          <p:grpSpPr>
            <a:xfrm>
              <a:off x="1867655" y="3505713"/>
              <a:ext cx="765754" cy="917950"/>
              <a:chOff x="1867655" y="3505713"/>
              <a:chExt cx="765754" cy="917950"/>
            </a:xfrm>
          </p:grpSpPr>
          <p:sp>
            <p:nvSpPr>
              <p:cNvPr id="73" name="Freeform: Shape 72">
                <a:extLst>
                  <a:ext uri="{FF2B5EF4-FFF2-40B4-BE49-F238E27FC236}">
                    <a16:creationId xmlns:a16="http://schemas.microsoft.com/office/drawing/2014/main" id="{13189265-BAF6-4ED1-A24F-E8C4F21EE851}"/>
                  </a:ext>
                </a:extLst>
              </p:cNvPr>
              <p:cNvSpPr/>
              <p:nvPr/>
            </p:nvSpPr>
            <p:spPr>
              <a:xfrm>
                <a:off x="2117907" y="3505713"/>
                <a:ext cx="248887" cy="335759"/>
              </a:xfrm>
              <a:custGeom>
                <a:avLst/>
                <a:gdLst>
                  <a:gd name="connsiteX0" fmla="*/ 164021 w 173831"/>
                  <a:gd name="connsiteY0" fmla="*/ 231172 h 234505"/>
                  <a:gd name="connsiteX1" fmla="*/ 173831 w 173831"/>
                  <a:gd name="connsiteY1" fmla="*/ 174784 h 234505"/>
                  <a:gd name="connsiteX2" fmla="*/ 0 w 173831"/>
                  <a:gd name="connsiteY2" fmla="*/ 0 h 234505"/>
                  <a:gd name="connsiteX3" fmla="*/ 88487 w 173831"/>
                  <a:gd name="connsiteY3" fmla="*/ 174784 h 234505"/>
                  <a:gd name="connsiteX4" fmla="*/ 83058 w 173831"/>
                  <a:gd name="connsiteY4" fmla="*/ 234506 h 234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831" h="234505">
                    <a:moveTo>
                      <a:pt x="164021" y="231172"/>
                    </a:moveTo>
                    <a:cubicBezTo>
                      <a:pt x="170212" y="213455"/>
                      <a:pt x="173831" y="194596"/>
                      <a:pt x="173831" y="174784"/>
                    </a:cubicBezTo>
                    <a:cubicBezTo>
                      <a:pt x="173831" y="78010"/>
                      <a:pt x="95822" y="0"/>
                      <a:pt x="0" y="0"/>
                    </a:cubicBezTo>
                    <a:cubicBezTo>
                      <a:pt x="48863" y="0"/>
                      <a:pt x="88487" y="78010"/>
                      <a:pt x="88487" y="174784"/>
                    </a:cubicBezTo>
                    <a:cubicBezTo>
                      <a:pt x="88487" y="195739"/>
                      <a:pt x="86487" y="215837"/>
                      <a:pt x="83058" y="234506"/>
                    </a:cubicBezTo>
                  </a:path>
                </a:pathLst>
              </a:custGeom>
              <a:noFill/>
              <a:ln w="19050" cap="flat">
                <a:solidFill>
                  <a:schemeClr val="tx2"/>
                </a:solidFill>
                <a:prstDash val="solid"/>
                <a:round/>
              </a:ln>
            </p:spPr>
            <p:txBody>
              <a:bodyPr rtlCol="0" anchor="ctr"/>
              <a:lstStyle/>
              <a:p>
                <a:endParaRPr lang="en-IN"/>
              </a:p>
            </p:txBody>
          </p:sp>
          <p:sp>
            <p:nvSpPr>
              <p:cNvPr id="74" name="Freeform: Shape 73">
                <a:extLst>
                  <a:ext uri="{FF2B5EF4-FFF2-40B4-BE49-F238E27FC236}">
                    <a16:creationId xmlns:a16="http://schemas.microsoft.com/office/drawing/2014/main" id="{F7049373-9B71-4F7B-9372-9B06B319AFFF}"/>
                  </a:ext>
                </a:extLst>
              </p:cNvPr>
              <p:cNvSpPr/>
              <p:nvPr/>
            </p:nvSpPr>
            <p:spPr>
              <a:xfrm>
                <a:off x="1867655" y="3505713"/>
                <a:ext cx="250386" cy="463135"/>
              </a:xfrm>
              <a:custGeom>
                <a:avLst/>
                <a:gdLst>
                  <a:gd name="connsiteX0" fmla="*/ 116300 w 174878"/>
                  <a:gd name="connsiteY0" fmla="*/ 306419 h 323469"/>
                  <a:gd name="connsiteX1" fmla="*/ 85344 w 174878"/>
                  <a:gd name="connsiteY1" fmla="*/ 174784 h 323469"/>
                  <a:gd name="connsiteX2" fmla="*/ 174879 w 174878"/>
                  <a:gd name="connsiteY2" fmla="*/ 0 h 323469"/>
                  <a:gd name="connsiteX3" fmla="*/ 0 w 174878"/>
                  <a:gd name="connsiteY3" fmla="*/ 174784 h 323469"/>
                  <a:gd name="connsiteX4" fmla="*/ 84868 w 174878"/>
                  <a:gd name="connsiteY4" fmla="*/ 323469 h 32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78" h="323469">
                    <a:moveTo>
                      <a:pt x="116300" y="306419"/>
                    </a:moveTo>
                    <a:cubicBezTo>
                      <a:pt x="97250" y="274606"/>
                      <a:pt x="85344" y="227362"/>
                      <a:pt x="85344" y="174784"/>
                    </a:cubicBezTo>
                    <a:cubicBezTo>
                      <a:pt x="85344" y="78010"/>
                      <a:pt x="124873" y="0"/>
                      <a:pt x="174879" y="0"/>
                    </a:cubicBezTo>
                    <a:cubicBezTo>
                      <a:pt x="78010" y="0"/>
                      <a:pt x="0" y="78010"/>
                      <a:pt x="0" y="174784"/>
                    </a:cubicBezTo>
                    <a:cubicBezTo>
                      <a:pt x="0" y="237935"/>
                      <a:pt x="34004" y="293180"/>
                      <a:pt x="84868" y="323469"/>
                    </a:cubicBezTo>
                  </a:path>
                </a:pathLst>
              </a:custGeom>
              <a:noFill/>
              <a:ln w="19050" cap="flat">
                <a:solidFill>
                  <a:schemeClr val="tx2"/>
                </a:solidFill>
                <a:prstDash val="solid"/>
                <a:round/>
              </a:ln>
            </p:spPr>
            <p:txBody>
              <a:bodyPr rtlCol="0" anchor="ctr"/>
              <a:lstStyle/>
              <a:p>
                <a:endParaRPr lang="en-IN"/>
              </a:p>
            </p:txBody>
          </p:sp>
          <p:sp>
            <p:nvSpPr>
              <p:cNvPr id="75" name="Freeform: Shape 74">
                <a:extLst>
                  <a:ext uri="{FF2B5EF4-FFF2-40B4-BE49-F238E27FC236}">
                    <a16:creationId xmlns:a16="http://schemas.microsoft.com/office/drawing/2014/main" id="{89451E87-FFDA-43ED-9B83-DBB9BEF59A0B}"/>
                  </a:ext>
                </a:extLst>
              </p:cNvPr>
              <p:cNvSpPr/>
              <p:nvPr/>
            </p:nvSpPr>
            <p:spPr>
              <a:xfrm>
                <a:off x="1879520" y="3678503"/>
                <a:ext cx="475272" cy="13638"/>
              </a:xfrm>
              <a:custGeom>
                <a:avLst/>
                <a:gdLst>
                  <a:gd name="connsiteX0" fmla="*/ 0 w 331946"/>
                  <a:gd name="connsiteY0" fmla="*/ 0 h 9525"/>
                  <a:gd name="connsiteX1" fmla="*/ 331946 w 331946"/>
                  <a:gd name="connsiteY1" fmla="*/ 0 h 9525"/>
                </a:gdLst>
                <a:ahLst/>
                <a:cxnLst>
                  <a:cxn ang="0">
                    <a:pos x="connsiteX0" y="connsiteY0"/>
                  </a:cxn>
                  <a:cxn ang="0">
                    <a:pos x="connsiteX1" y="connsiteY1"/>
                  </a:cxn>
                </a:cxnLst>
                <a:rect l="l" t="t" r="r" b="b"/>
                <a:pathLst>
                  <a:path w="331946" h="9525">
                    <a:moveTo>
                      <a:pt x="0" y="0"/>
                    </a:moveTo>
                    <a:cubicBezTo>
                      <a:pt x="331946" y="0"/>
                      <a:pt x="331946" y="0"/>
                      <a:pt x="331946" y="0"/>
                    </a:cubicBezTo>
                  </a:path>
                </a:pathLst>
              </a:custGeom>
              <a:noFill/>
              <a:ln w="19050" cap="flat">
                <a:solidFill>
                  <a:schemeClr val="tx2"/>
                </a:solidFill>
                <a:prstDash val="solid"/>
                <a:round/>
              </a:ln>
            </p:spPr>
            <p:txBody>
              <a:bodyPr rtlCol="0" anchor="ctr"/>
              <a:lstStyle/>
              <a:p>
                <a:endParaRPr lang="en-IN"/>
              </a:p>
            </p:txBody>
          </p:sp>
          <p:sp>
            <p:nvSpPr>
              <p:cNvPr id="76" name="Freeform: Shape 75">
                <a:extLst>
                  <a:ext uri="{FF2B5EF4-FFF2-40B4-BE49-F238E27FC236}">
                    <a16:creationId xmlns:a16="http://schemas.microsoft.com/office/drawing/2014/main" id="{4DA2D0CF-9EF9-46F7-B4A5-2D88C02AEE80}"/>
                  </a:ext>
                </a:extLst>
              </p:cNvPr>
              <p:cNvSpPr/>
              <p:nvPr/>
            </p:nvSpPr>
            <p:spPr>
              <a:xfrm>
                <a:off x="1881021" y="3834927"/>
                <a:ext cx="355397" cy="13638"/>
              </a:xfrm>
              <a:custGeom>
                <a:avLst/>
                <a:gdLst>
                  <a:gd name="connsiteX0" fmla="*/ 0 w 248221"/>
                  <a:gd name="connsiteY0" fmla="*/ 0 h 9525"/>
                  <a:gd name="connsiteX1" fmla="*/ 248222 w 248221"/>
                  <a:gd name="connsiteY1" fmla="*/ 0 h 9525"/>
                </a:gdLst>
                <a:ahLst/>
                <a:cxnLst>
                  <a:cxn ang="0">
                    <a:pos x="connsiteX0" y="connsiteY0"/>
                  </a:cxn>
                  <a:cxn ang="0">
                    <a:pos x="connsiteX1" y="connsiteY1"/>
                  </a:cxn>
                </a:cxnLst>
                <a:rect l="l" t="t" r="r" b="b"/>
                <a:pathLst>
                  <a:path w="248221" h="9525">
                    <a:moveTo>
                      <a:pt x="0" y="0"/>
                    </a:moveTo>
                    <a:cubicBezTo>
                      <a:pt x="122777" y="0"/>
                      <a:pt x="199835" y="0"/>
                      <a:pt x="248222" y="0"/>
                    </a:cubicBezTo>
                  </a:path>
                </a:pathLst>
              </a:custGeom>
              <a:noFill/>
              <a:ln w="19050" cap="flat">
                <a:solidFill>
                  <a:schemeClr val="tx2"/>
                </a:solidFill>
                <a:prstDash val="solid"/>
                <a:round/>
              </a:ln>
            </p:spPr>
            <p:txBody>
              <a:bodyPr rtlCol="0" anchor="ctr"/>
              <a:lstStyle/>
              <a:p>
                <a:endParaRPr lang="en-IN"/>
              </a:p>
            </p:txBody>
          </p:sp>
          <p:grpSp>
            <p:nvGrpSpPr>
              <p:cNvPr id="77" name="Graphic 70">
                <a:extLst>
                  <a:ext uri="{FF2B5EF4-FFF2-40B4-BE49-F238E27FC236}">
                    <a16:creationId xmlns:a16="http://schemas.microsoft.com/office/drawing/2014/main" id="{3C43D48B-8A25-405A-AB7A-70F979AD7A0B}"/>
                  </a:ext>
                </a:extLst>
              </p:cNvPr>
              <p:cNvGrpSpPr/>
              <p:nvPr/>
            </p:nvGrpSpPr>
            <p:grpSpPr>
              <a:xfrm>
                <a:off x="1927798" y="3811606"/>
                <a:ext cx="705611" cy="612057"/>
                <a:chOff x="4091871" y="3894026"/>
                <a:chExt cx="492822" cy="427481"/>
              </a:xfrm>
              <a:noFill/>
            </p:grpSpPr>
            <p:sp>
              <p:nvSpPr>
                <p:cNvPr id="78" name="Freeform: Shape 77">
                  <a:extLst>
                    <a:ext uri="{FF2B5EF4-FFF2-40B4-BE49-F238E27FC236}">
                      <a16:creationId xmlns:a16="http://schemas.microsoft.com/office/drawing/2014/main" id="{6DF0740C-FEF3-4A97-891D-A59BADB0A46B}"/>
                    </a:ext>
                  </a:extLst>
                </p:cNvPr>
                <p:cNvSpPr/>
                <p:nvPr/>
              </p:nvSpPr>
              <p:spPr>
                <a:xfrm>
                  <a:off x="4091871" y="4217495"/>
                  <a:ext cx="91439" cy="104012"/>
                </a:xfrm>
                <a:custGeom>
                  <a:avLst/>
                  <a:gdLst>
                    <a:gd name="connsiteX0" fmla="*/ 91440 w 91439"/>
                    <a:gd name="connsiteY0" fmla="*/ 104013 h 104012"/>
                    <a:gd name="connsiteX1" fmla="*/ 91440 w 91439"/>
                    <a:gd name="connsiteY1" fmla="*/ 37433 h 104012"/>
                    <a:gd name="connsiteX2" fmla="*/ 45720 w 91439"/>
                    <a:gd name="connsiteY2" fmla="*/ 0 h 104012"/>
                    <a:gd name="connsiteX3" fmla="*/ 45720 w 91439"/>
                    <a:gd name="connsiteY3" fmla="*/ 0 h 104012"/>
                    <a:gd name="connsiteX4" fmla="*/ 0 w 91439"/>
                    <a:gd name="connsiteY4" fmla="*/ 37433 h 104012"/>
                    <a:gd name="connsiteX5" fmla="*/ 0 w 91439"/>
                    <a:gd name="connsiteY5" fmla="*/ 104013 h 104012"/>
                    <a:gd name="connsiteX6" fmla="*/ 91440 w 91439"/>
                    <a:gd name="connsiteY6" fmla="*/ 104013 h 104012"/>
                    <a:gd name="connsiteX7" fmla="*/ 91440 w 91439"/>
                    <a:gd name="connsiteY7" fmla="*/ 104013 h 104012"/>
                    <a:gd name="connsiteX8" fmla="*/ 91440 w 91439"/>
                    <a:gd name="connsiteY8" fmla="*/ 104013 h 104012"/>
                    <a:gd name="connsiteX9" fmla="*/ 91440 w 91439"/>
                    <a:gd name="connsiteY9" fmla="*/ 104013 h 104012"/>
                    <a:gd name="connsiteX10" fmla="*/ 91440 w 91439"/>
                    <a:gd name="connsiteY10" fmla="*/ 104013 h 10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39" h="104012">
                      <a:moveTo>
                        <a:pt x="91440" y="104013"/>
                      </a:moveTo>
                      <a:cubicBezTo>
                        <a:pt x="91440" y="37433"/>
                        <a:pt x="91440" y="37433"/>
                        <a:pt x="91440" y="37433"/>
                      </a:cubicBezTo>
                      <a:cubicBezTo>
                        <a:pt x="91440" y="16669"/>
                        <a:pt x="68485" y="0"/>
                        <a:pt x="45720" y="0"/>
                      </a:cubicBezTo>
                      <a:lnTo>
                        <a:pt x="45720" y="0"/>
                      </a:lnTo>
                      <a:cubicBezTo>
                        <a:pt x="18383" y="0"/>
                        <a:pt x="0" y="16669"/>
                        <a:pt x="0" y="37433"/>
                      </a:cubicBezTo>
                      <a:cubicBezTo>
                        <a:pt x="0" y="104013"/>
                        <a:pt x="0" y="104013"/>
                        <a:pt x="0" y="104013"/>
                      </a:cubicBezTo>
                      <a:cubicBezTo>
                        <a:pt x="91440" y="104013"/>
                        <a:pt x="91440" y="104013"/>
                        <a:pt x="91440" y="104013"/>
                      </a:cubicBezTo>
                      <a:lnTo>
                        <a:pt x="91440" y="104013"/>
                      </a:lnTo>
                      <a:lnTo>
                        <a:pt x="91440" y="104013"/>
                      </a:lnTo>
                      <a:lnTo>
                        <a:pt x="91440" y="104013"/>
                      </a:lnTo>
                      <a:lnTo>
                        <a:pt x="91440" y="104013"/>
                      </a:lnTo>
                      <a:close/>
                    </a:path>
                  </a:pathLst>
                </a:custGeom>
                <a:noFill/>
                <a:ln w="19050" cap="flat">
                  <a:solidFill>
                    <a:schemeClr val="tx2"/>
                  </a:solidFill>
                  <a:prstDash val="solid"/>
                  <a:round/>
                </a:ln>
              </p:spPr>
              <p:txBody>
                <a:bodyPr rtlCol="0" anchor="ctr"/>
                <a:lstStyle/>
                <a:p>
                  <a:endParaRPr lang="en-IN"/>
                </a:p>
              </p:txBody>
            </p:sp>
            <p:grpSp>
              <p:nvGrpSpPr>
                <p:cNvPr id="79" name="Graphic 70">
                  <a:extLst>
                    <a:ext uri="{FF2B5EF4-FFF2-40B4-BE49-F238E27FC236}">
                      <a16:creationId xmlns:a16="http://schemas.microsoft.com/office/drawing/2014/main" id="{3C43D48B-8A25-405A-AB7A-70F979AD7A0B}"/>
                    </a:ext>
                  </a:extLst>
                </p:cNvPr>
                <p:cNvGrpSpPr/>
                <p:nvPr/>
              </p:nvGrpSpPr>
              <p:grpSpPr>
                <a:xfrm>
                  <a:off x="4117302" y="3894026"/>
                  <a:ext cx="467391" cy="359540"/>
                  <a:chOff x="4117302" y="3894026"/>
                  <a:chExt cx="467391" cy="359540"/>
                </a:xfrm>
                <a:noFill/>
              </p:grpSpPr>
              <p:sp>
                <p:nvSpPr>
                  <p:cNvPr id="80" name="Freeform: Shape 79">
                    <a:extLst>
                      <a:ext uri="{FF2B5EF4-FFF2-40B4-BE49-F238E27FC236}">
                        <a16:creationId xmlns:a16="http://schemas.microsoft.com/office/drawing/2014/main" id="{EC4DE44C-A94B-4F82-BDF5-3A0F06B4E4C5}"/>
                      </a:ext>
                    </a:extLst>
                  </p:cNvPr>
                  <p:cNvSpPr/>
                  <p:nvPr/>
                </p:nvSpPr>
                <p:spPr>
                  <a:xfrm>
                    <a:off x="4130733" y="4023185"/>
                    <a:ext cx="9525" cy="194310"/>
                  </a:xfrm>
                  <a:custGeom>
                    <a:avLst/>
                    <a:gdLst>
                      <a:gd name="connsiteX0" fmla="*/ 0 w 9525"/>
                      <a:gd name="connsiteY0" fmla="*/ 0 h 194310"/>
                      <a:gd name="connsiteX1" fmla="*/ 0 w 9525"/>
                      <a:gd name="connsiteY1" fmla="*/ 194310 h 194310"/>
                    </a:gdLst>
                    <a:ahLst/>
                    <a:cxnLst>
                      <a:cxn ang="0">
                        <a:pos x="connsiteX0" y="connsiteY0"/>
                      </a:cxn>
                      <a:cxn ang="0">
                        <a:pos x="connsiteX1" y="connsiteY1"/>
                      </a:cxn>
                    </a:cxnLst>
                    <a:rect l="l" t="t" r="r" b="b"/>
                    <a:pathLst>
                      <a:path w="9525" h="194310">
                        <a:moveTo>
                          <a:pt x="0" y="0"/>
                        </a:moveTo>
                        <a:cubicBezTo>
                          <a:pt x="0" y="194310"/>
                          <a:pt x="0" y="194310"/>
                          <a:pt x="0" y="194310"/>
                        </a:cubicBezTo>
                      </a:path>
                    </a:pathLst>
                  </a:custGeom>
                  <a:noFill/>
                  <a:ln w="19050" cap="flat">
                    <a:solidFill>
                      <a:schemeClr val="tx2"/>
                    </a:solidFill>
                    <a:prstDash val="solid"/>
                    <a:round/>
                  </a:ln>
                </p:spPr>
                <p:txBody>
                  <a:bodyPr rtlCol="0" anchor="ctr"/>
                  <a:lstStyle/>
                  <a:p>
                    <a:endParaRPr lang="en-IN"/>
                  </a:p>
                </p:txBody>
              </p:sp>
              <p:grpSp>
                <p:nvGrpSpPr>
                  <p:cNvPr id="81" name="Graphic 70">
                    <a:extLst>
                      <a:ext uri="{FF2B5EF4-FFF2-40B4-BE49-F238E27FC236}">
                        <a16:creationId xmlns:a16="http://schemas.microsoft.com/office/drawing/2014/main" id="{3C43D48B-8A25-405A-AB7A-70F979AD7A0B}"/>
                      </a:ext>
                    </a:extLst>
                  </p:cNvPr>
                  <p:cNvGrpSpPr/>
                  <p:nvPr/>
                </p:nvGrpSpPr>
                <p:grpSpPr>
                  <a:xfrm>
                    <a:off x="4117302" y="3894026"/>
                    <a:ext cx="467391" cy="359540"/>
                    <a:chOff x="4117302" y="3894026"/>
                    <a:chExt cx="467391" cy="359540"/>
                  </a:xfrm>
                  <a:noFill/>
                </p:grpSpPr>
                <p:sp>
                  <p:nvSpPr>
                    <p:cNvPr id="82" name="Freeform: Shape 81">
                      <a:extLst>
                        <a:ext uri="{FF2B5EF4-FFF2-40B4-BE49-F238E27FC236}">
                          <a16:creationId xmlns:a16="http://schemas.microsoft.com/office/drawing/2014/main" id="{26E26C5A-4E31-4969-A84B-7CEF6B913174}"/>
                        </a:ext>
                      </a:extLst>
                    </p:cNvPr>
                    <p:cNvSpPr/>
                    <p:nvPr/>
                  </p:nvSpPr>
                  <p:spPr>
                    <a:xfrm>
                      <a:off x="4117302" y="3894026"/>
                      <a:ext cx="467391" cy="233267"/>
                    </a:xfrm>
                    <a:custGeom>
                      <a:avLst/>
                      <a:gdLst>
                        <a:gd name="connsiteX0" fmla="*/ 128587 w 467391"/>
                        <a:gd name="connsiteY0" fmla="*/ 51911 h 233267"/>
                        <a:gd name="connsiteX1" fmla="*/ 231553 w 467391"/>
                        <a:gd name="connsiteY1" fmla="*/ 0 h 233267"/>
                        <a:gd name="connsiteX2" fmla="*/ 467392 w 467391"/>
                        <a:gd name="connsiteY2" fmla="*/ 120967 h 233267"/>
                        <a:gd name="connsiteX3" fmla="*/ 231553 w 467391"/>
                        <a:gd name="connsiteY3" fmla="*/ 233267 h 233267"/>
                        <a:gd name="connsiteX4" fmla="*/ 0 w 467391"/>
                        <a:gd name="connsiteY4" fmla="*/ 120967 h 233267"/>
                        <a:gd name="connsiteX5" fmla="*/ 128587 w 467391"/>
                        <a:gd name="connsiteY5" fmla="*/ 51911 h 233267"/>
                        <a:gd name="connsiteX6" fmla="*/ 128587 w 467391"/>
                        <a:gd name="connsiteY6" fmla="*/ 51911 h 233267"/>
                        <a:gd name="connsiteX7" fmla="*/ 128587 w 467391"/>
                        <a:gd name="connsiteY7" fmla="*/ 51911 h 233267"/>
                        <a:gd name="connsiteX8" fmla="*/ 128587 w 467391"/>
                        <a:gd name="connsiteY8" fmla="*/ 51911 h 233267"/>
                        <a:gd name="connsiteX9" fmla="*/ 128587 w 467391"/>
                        <a:gd name="connsiteY9" fmla="*/ 51911 h 233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7391" h="233267">
                          <a:moveTo>
                            <a:pt x="128587" y="51911"/>
                          </a:moveTo>
                          <a:cubicBezTo>
                            <a:pt x="231553" y="0"/>
                            <a:pt x="231553" y="0"/>
                            <a:pt x="231553" y="0"/>
                          </a:cubicBezTo>
                          <a:cubicBezTo>
                            <a:pt x="467392" y="120967"/>
                            <a:pt x="467392" y="120967"/>
                            <a:pt x="467392" y="120967"/>
                          </a:cubicBezTo>
                          <a:cubicBezTo>
                            <a:pt x="231553" y="233267"/>
                            <a:pt x="231553" y="233267"/>
                            <a:pt x="231553" y="233267"/>
                          </a:cubicBezTo>
                          <a:cubicBezTo>
                            <a:pt x="0" y="120967"/>
                            <a:pt x="0" y="120967"/>
                            <a:pt x="0" y="120967"/>
                          </a:cubicBezTo>
                          <a:cubicBezTo>
                            <a:pt x="128587" y="51911"/>
                            <a:pt x="128587" y="51911"/>
                            <a:pt x="128587" y="51911"/>
                          </a:cubicBezTo>
                          <a:lnTo>
                            <a:pt x="128587" y="51911"/>
                          </a:lnTo>
                          <a:lnTo>
                            <a:pt x="128587" y="51911"/>
                          </a:lnTo>
                          <a:lnTo>
                            <a:pt x="128587" y="51911"/>
                          </a:lnTo>
                          <a:lnTo>
                            <a:pt x="128587" y="51911"/>
                          </a:lnTo>
                          <a:close/>
                        </a:path>
                      </a:pathLst>
                    </a:custGeom>
                    <a:noFill/>
                    <a:ln w="19050" cap="flat">
                      <a:solidFill>
                        <a:schemeClr val="tx2"/>
                      </a:solidFill>
                      <a:prstDash val="solid"/>
                      <a:round/>
                    </a:ln>
                  </p:spPr>
                  <p:txBody>
                    <a:bodyPr rtlCol="0" anchor="ctr"/>
                    <a:lstStyle/>
                    <a:p>
                      <a:endParaRPr lang="en-IN"/>
                    </a:p>
                  </p:txBody>
                </p:sp>
                <p:sp>
                  <p:nvSpPr>
                    <p:cNvPr id="83" name="Freeform: Shape 82">
                      <a:extLst>
                        <a:ext uri="{FF2B5EF4-FFF2-40B4-BE49-F238E27FC236}">
                          <a16:creationId xmlns:a16="http://schemas.microsoft.com/office/drawing/2014/main" id="{233E0433-AA40-4928-959B-92D656FA3601}"/>
                        </a:ext>
                      </a:extLst>
                    </p:cNvPr>
                    <p:cNvSpPr/>
                    <p:nvPr/>
                  </p:nvSpPr>
                  <p:spPr>
                    <a:xfrm>
                      <a:off x="4195026" y="4071830"/>
                      <a:ext cx="299466" cy="181736"/>
                    </a:xfrm>
                    <a:custGeom>
                      <a:avLst/>
                      <a:gdLst>
                        <a:gd name="connsiteX0" fmla="*/ 25337 w 299466"/>
                        <a:gd name="connsiteY0" fmla="*/ 0 h 181736"/>
                        <a:gd name="connsiteX1" fmla="*/ 0 w 299466"/>
                        <a:gd name="connsiteY1" fmla="*/ 101346 h 181736"/>
                        <a:gd name="connsiteX2" fmla="*/ 151829 w 299466"/>
                        <a:gd name="connsiteY2" fmla="*/ 181737 h 181736"/>
                        <a:gd name="connsiteX3" fmla="*/ 299466 w 299466"/>
                        <a:gd name="connsiteY3" fmla="*/ 101346 h 181736"/>
                        <a:gd name="connsiteX4" fmla="*/ 274130 w 299466"/>
                        <a:gd name="connsiteY4" fmla="*/ 0 h 181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466" h="181736">
                          <a:moveTo>
                            <a:pt x="25337" y="0"/>
                          </a:moveTo>
                          <a:cubicBezTo>
                            <a:pt x="0" y="33814"/>
                            <a:pt x="0" y="101346"/>
                            <a:pt x="0" y="101346"/>
                          </a:cubicBezTo>
                          <a:cubicBezTo>
                            <a:pt x="151829" y="181737"/>
                            <a:pt x="151829" y="181737"/>
                            <a:pt x="151829" y="181737"/>
                          </a:cubicBezTo>
                          <a:cubicBezTo>
                            <a:pt x="299466" y="101346"/>
                            <a:pt x="299466" y="101346"/>
                            <a:pt x="299466" y="101346"/>
                          </a:cubicBezTo>
                          <a:cubicBezTo>
                            <a:pt x="299466" y="101346"/>
                            <a:pt x="299466" y="37909"/>
                            <a:pt x="274130" y="0"/>
                          </a:cubicBezTo>
                        </a:path>
                      </a:pathLst>
                    </a:custGeom>
                    <a:noFill/>
                    <a:ln w="19050" cap="flat">
                      <a:solidFill>
                        <a:schemeClr val="tx2"/>
                      </a:solidFill>
                      <a:prstDash val="solid"/>
                      <a:round/>
                    </a:ln>
                  </p:spPr>
                  <p:txBody>
                    <a:bodyPr rtlCol="0" anchor="ctr"/>
                    <a:lstStyle/>
                    <a:p>
                      <a:endParaRPr lang="en-IN"/>
                    </a:p>
                  </p:txBody>
                </p:sp>
              </p:grpSp>
            </p:grpSp>
          </p:grpSp>
        </p:grpSp>
      </p:grpSp>
    </p:spTree>
    <p:extLst>
      <p:ext uri="{BB962C8B-B14F-4D97-AF65-F5344CB8AC3E}">
        <p14:creationId xmlns:p14="http://schemas.microsoft.com/office/powerpoint/2010/main" val="315327420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907FCC-1C26-41A9-972A-98E3ED030BD6}"/>
              </a:ext>
            </a:extLst>
          </p:cNvPr>
          <p:cNvSpPr>
            <a:spLocks noGrp="1"/>
          </p:cNvSpPr>
          <p:nvPr>
            <p:ph type="title"/>
          </p:nvPr>
        </p:nvSpPr>
        <p:spPr>
          <a:xfrm>
            <a:off x="274638" y="2490832"/>
            <a:ext cx="7763576" cy="2012859"/>
          </a:xfrm>
        </p:spPr>
        <p:txBody>
          <a:bodyPr wrap="square">
            <a:spAutoFit/>
          </a:bodyPr>
          <a:lstStyle/>
          <a:p>
            <a:r>
              <a:rPr lang="en-US" sz="4400">
                <a:latin typeface="Segoe UI Semibold" panose="020B0702040204020203" pitchFamily="34" charset="0"/>
                <a:cs typeface="Segoe UI Semibold" panose="020B0702040204020203" pitchFamily="34" charset="0"/>
              </a:rPr>
              <a:t>Achieve better learning outcomes </a:t>
            </a:r>
            <a:r>
              <a:rPr lang="en-US" sz="4400"/>
              <a:t>with the best devices for learning anywhere</a:t>
            </a:r>
          </a:p>
        </p:txBody>
      </p:sp>
    </p:spTree>
    <p:extLst>
      <p:ext uri="{BB962C8B-B14F-4D97-AF65-F5344CB8AC3E}">
        <p14:creationId xmlns:p14="http://schemas.microsoft.com/office/powerpoint/2010/main" val="62116440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32FB81-6D9E-4841-8F84-B94F89C83F5C}"/>
              </a:ext>
            </a:extLst>
          </p:cNvPr>
          <p:cNvSpPr>
            <a:spLocks noGrp="1"/>
          </p:cNvSpPr>
          <p:nvPr>
            <p:ph type="title"/>
          </p:nvPr>
        </p:nvSpPr>
        <p:spPr>
          <a:xfrm>
            <a:off x="5501640" y="502479"/>
            <a:ext cx="6476047" cy="1623184"/>
          </a:xfrm>
        </p:spPr>
        <p:txBody>
          <a:bodyPr/>
          <a:lstStyle/>
          <a:p>
            <a:r>
              <a:rPr lang="en-US"/>
              <a:t>Learn anywhere with devices </a:t>
            </a:r>
            <a:r>
              <a:rPr lang="en-US">
                <a:solidFill>
                  <a:schemeClr val="tx2"/>
                </a:solidFill>
                <a:latin typeface="Segoe UI Semibold" panose="020B0702040204020203" pitchFamily="34" charset="0"/>
                <a:cs typeface="Segoe UI Semibold" panose="020B0702040204020203" pitchFamily="34" charset="0"/>
              </a:rPr>
              <a:t>built for remote and hybrid learning</a:t>
            </a:r>
          </a:p>
        </p:txBody>
      </p:sp>
      <p:pic>
        <p:nvPicPr>
          <p:cNvPr id="12" name="Picture 11" descr="A young person using a computer">
            <a:extLst>
              <a:ext uri="{FF2B5EF4-FFF2-40B4-BE49-F238E27FC236}">
                <a16:creationId xmlns:a16="http://schemas.microsoft.com/office/drawing/2014/main" id="{4B796101-B44F-4488-A06D-E431B43DB10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5029200" cy="6994525"/>
          </a:xfrm>
          <a:prstGeom prst="rect">
            <a:avLst/>
          </a:prstGeom>
        </p:spPr>
      </p:pic>
      <p:sp>
        <p:nvSpPr>
          <p:cNvPr id="17" name="Rectangle 16">
            <a:extLst>
              <a:ext uri="{FF2B5EF4-FFF2-40B4-BE49-F238E27FC236}">
                <a16:creationId xmlns:a16="http://schemas.microsoft.com/office/drawing/2014/main" id="{AFC07C9D-4E79-4867-93F2-D207D2569D57}"/>
              </a:ext>
            </a:extLst>
          </p:cNvPr>
          <p:cNvSpPr/>
          <p:nvPr/>
        </p:nvSpPr>
        <p:spPr>
          <a:xfrm>
            <a:off x="6455228" y="2313285"/>
            <a:ext cx="5522459" cy="1262186"/>
          </a:xfrm>
          <a:prstGeom prst="rect">
            <a:avLst/>
          </a:prstGeom>
        </p:spPr>
        <p:txBody>
          <a:bodyPr wrap="square" lIns="0" tIns="0" rIns="0" bIns="0" anchor="ctr">
            <a:noAutofit/>
          </a:bodyPr>
          <a:lstStyle/>
          <a:p>
            <a:pPr lvl="0"/>
            <a:r>
              <a:rPr lang="en-US" kern="0">
                <a:solidFill>
                  <a:schemeClr val="tx2"/>
                </a:solidFill>
                <a:latin typeface="Segoe UI Semibold" panose="020B0702040204020203" pitchFamily="34" charset="0"/>
                <a:cs typeface="Segoe UI Semibold" panose="020B0702040204020203" pitchFamily="34" charset="0"/>
              </a:rPr>
              <a:t>Empower students with devices built for learning. </a:t>
            </a:r>
            <a:r>
              <a:rPr lang="en-US" sz="1800">
                <a:effectLst/>
                <a:latin typeface="Segoe UI" panose="020B0502040204020203" pitchFamily="34" charset="0"/>
                <a:ea typeface="Times New Roman" panose="02020603050405020304" pitchFamily="18" charset="0"/>
                <a:cs typeface="Segoe UI" panose="020B0502040204020203" pitchFamily="34" charset="0"/>
              </a:rPr>
              <a:t>Support multimodal learning with 2-in-1 laptops with touch and Windows Ink. </a:t>
            </a:r>
            <a:r>
              <a:rPr lang="en-US">
                <a:latin typeface="Segoe UI" panose="020B0502040204020203" pitchFamily="34" charset="0"/>
                <a:ea typeface="Times New Roman" panose="02020603050405020304" pitchFamily="18" charset="0"/>
                <a:cs typeface="Segoe UI" panose="020B0502040204020203" pitchFamily="34" charset="0"/>
              </a:rPr>
              <a:t>O</a:t>
            </a:r>
            <a:r>
              <a:rPr lang="en-US" sz="1800">
                <a:effectLst/>
                <a:latin typeface="Segoe UI" panose="020B0502040204020203" pitchFamily="34" charset="0"/>
                <a:ea typeface="Times New Roman" panose="02020603050405020304" pitchFamily="18" charset="0"/>
                <a:cs typeface="Segoe UI" panose="020B0502040204020203" pitchFamily="34" charset="0"/>
              </a:rPr>
              <a:t>ffer LTE connectivity to keep students connected.</a:t>
            </a:r>
            <a:endParaRPr lang="en-US">
              <a:latin typeface="Segoe UI" panose="020B0502040204020203" pitchFamily="34" charset="0"/>
              <a:cs typeface="Segoe UI" panose="020B0502040204020203" pitchFamily="34" charset="0"/>
            </a:endParaRPr>
          </a:p>
        </p:txBody>
      </p:sp>
      <p:grpSp>
        <p:nvGrpSpPr>
          <p:cNvPr id="3" name="Group 2">
            <a:extLst>
              <a:ext uri="{FF2B5EF4-FFF2-40B4-BE49-F238E27FC236}">
                <a16:creationId xmlns:a16="http://schemas.microsoft.com/office/drawing/2014/main" id="{E2C62914-948E-4178-84B2-07E66F75E704}"/>
              </a:ext>
              <a:ext uri="{C183D7F6-B498-43B3-948B-1728B52AA6E4}">
                <adec:decorative xmlns:adec="http://schemas.microsoft.com/office/drawing/2017/decorative" val="1"/>
              </a:ext>
            </a:extLst>
          </p:cNvPr>
          <p:cNvGrpSpPr/>
          <p:nvPr/>
        </p:nvGrpSpPr>
        <p:grpSpPr>
          <a:xfrm>
            <a:off x="5538809" y="2579897"/>
            <a:ext cx="728964" cy="728962"/>
            <a:chOff x="5538809" y="2579897"/>
            <a:chExt cx="728964" cy="728962"/>
          </a:xfrm>
        </p:grpSpPr>
        <p:sp>
          <p:nvSpPr>
            <p:cNvPr id="15" name="Oval 14">
              <a:extLst>
                <a:ext uri="{FF2B5EF4-FFF2-40B4-BE49-F238E27FC236}">
                  <a16:creationId xmlns:a16="http://schemas.microsoft.com/office/drawing/2014/main" id="{EA425E1E-A4EC-4C13-AE3B-6DE3F764CB5D}"/>
                </a:ext>
                <a:ext uri="{C183D7F6-B498-43B3-948B-1728B52AA6E4}">
                  <adec:decorative xmlns:adec="http://schemas.microsoft.com/office/drawing/2017/decorative" val="1"/>
                </a:ext>
              </a:extLst>
            </p:cNvPr>
            <p:cNvSpPr/>
            <p:nvPr/>
          </p:nvSpPr>
          <p:spPr bwMode="auto">
            <a:xfrm>
              <a:off x="5538809" y="2579897"/>
              <a:ext cx="728964" cy="728962"/>
            </a:xfrm>
            <a:prstGeom prst="ellipse">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grpSp>
          <p:nvGrpSpPr>
            <p:cNvPr id="40" name="Group 39">
              <a:extLst>
                <a:ext uri="{FF2B5EF4-FFF2-40B4-BE49-F238E27FC236}">
                  <a16:creationId xmlns:a16="http://schemas.microsoft.com/office/drawing/2014/main" id="{D66E8AEE-12F0-416C-8B0F-0D0DFE31C457}"/>
                </a:ext>
              </a:extLst>
            </p:cNvPr>
            <p:cNvGrpSpPr/>
            <p:nvPr/>
          </p:nvGrpSpPr>
          <p:grpSpPr>
            <a:xfrm>
              <a:off x="5663441" y="2830637"/>
              <a:ext cx="479701" cy="227483"/>
              <a:chOff x="13401032" y="6027140"/>
              <a:chExt cx="643330" cy="305079"/>
            </a:xfrm>
          </p:grpSpPr>
          <p:sp>
            <p:nvSpPr>
              <p:cNvPr id="41" name="CellPhone_E8EA" title="Icon of a cellphone">
                <a:extLst>
                  <a:ext uri="{FF2B5EF4-FFF2-40B4-BE49-F238E27FC236}">
                    <a16:creationId xmlns:a16="http://schemas.microsoft.com/office/drawing/2014/main" id="{E72B8F51-F2FC-4D17-8AF7-B03EEA0D0C14}"/>
                  </a:ext>
                </a:extLst>
              </p:cNvPr>
              <p:cNvSpPr>
                <a:spLocks noChangeAspect="1" noEditPoints="1"/>
              </p:cNvSpPr>
              <p:nvPr/>
            </p:nvSpPr>
            <p:spPr bwMode="auto">
              <a:xfrm>
                <a:off x="13908217" y="6092824"/>
                <a:ext cx="136145" cy="22687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Laptop_E770" title="Icon of a laptop">
                <a:extLst>
                  <a:ext uri="{FF2B5EF4-FFF2-40B4-BE49-F238E27FC236}">
                    <a16:creationId xmlns:a16="http://schemas.microsoft.com/office/drawing/2014/main" id="{086E375F-F055-4E9B-8234-D8CADE0EBB85}"/>
                  </a:ext>
                </a:extLst>
              </p:cNvPr>
              <p:cNvSpPr>
                <a:spLocks noChangeAspect="1" noEditPoints="1"/>
              </p:cNvSpPr>
              <p:nvPr/>
            </p:nvSpPr>
            <p:spPr bwMode="auto">
              <a:xfrm>
                <a:off x="13401032" y="6027140"/>
                <a:ext cx="457200" cy="30507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sp>
        <p:nvSpPr>
          <p:cNvPr id="16" name="Rectangle 15">
            <a:extLst>
              <a:ext uri="{FF2B5EF4-FFF2-40B4-BE49-F238E27FC236}">
                <a16:creationId xmlns:a16="http://schemas.microsoft.com/office/drawing/2014/main" id="{D9C4FE1C-CA00-4C70-ABC2-532B5343D4B2}"/>
              </a:ext>
            </a:extLst>
          </p:cNvPr>
          <p:cNvSpPr/>
          <p:nvPr/>
        </p:nvSpPr>
        <p:spPr>
          <a:xfrm>
            <a:off x="6455229" y="3837075"/>
            <a:ext cx="5522459" cy="1262186"/>
          </a:xfrm>
          <a:prstGeom prst="rect">
            <a:avLst/>
          </a:prstGeom>
        </p:spPr>
        <p:txBody>
          <a:bodyPr wrap="square" lIns="0" tIns="0" rIns="0" bIns="0" anchor="ctr">
            <a:noAutofit/>
          </a:bodyPr>
          <a:lstStyle/>
          <a:p>
            <a:pPr lvl="0"/>
            <a:r>
              <a:rPr lang="en-US" kern="0">
                <a:solidFill>
                  <a:schemeClr val="tx2"/>
                </a:solidFill>
                <a:latin typeface="Segoe UI Semibold" panose="020B0702040204020203" pitchFamily="34" charset="0"/>
                <a:cs typeface="Segoe UI Semibold" panose="020B0702040204020203" pitchFamily="34" charset="0"/>
              </a:rPr>
              <a:t>Engage everyone with built-in accessibility tools. </a:t>
            </a:r>
            <a:br>
              <a:rPr lang="en-US" kern="0">
                <a:latin typeface="Segoe UI" panose="020B0502040204020203" pitchFamily="34" charset="0"/>
                <a:cs typeface="Segoe UI" panose="020B0502040204020203" pitchFamily="34" charset="0"/>
              </a:rPr>
            </a:br>
            <a:r>
              <a:rPr lang="en-US">
                <a:latin typeface="Segoe UI" panose="020B0502040204020203" pitchFamily="34" charset="0"/>
                <a:cs typeface="Segoe UI" panose="020B0502040204020203" pitchFamily="34" charset="0"/>
              </a:rPr>
              <a:t>Deliver personalized instruction with built-in tools that give students of all abilities independence and the opportunity to learn.</a:t>
            </a:r>
          </a:p>
        </p:txBody>
      </p:sp>
      <p:grpSp>
        <p:nvGrpSpPr>
          <p:cNvPr id="6" name="Group 5">
            <a:extLst>
              <a:ext uri="{FF2B5EF4-FFF2-40B4-BE49-F238E27FC236}">
                <a16:creationId xmlns:a16="http://schemas.microsoft.com/office/drawing/2014/main" id="{9C163533-C130-4775-AB89-D54A7445CCE3}"/>
              </a:ext>
              <a:ext uri="{C183D7F6-B498-43B3-948B-1728B52AA6E4}">
                <adec:decorative xmlns:adec="http://schemas.microsoft.com/office/drawing/2017/decorative" val="1"/>
              </a:ext>
            </a:extLst>
          </p:cNvPr>
          <p:cNvGrpSpPr/>
          <p:nvPr/>
        </p:nvGrpSpPr>
        <p:grpSpPr>
          <a:xfrm>
            <a:off x="5538809" y="4103687"/>
            <a:ext cx="728964" cy="728962"/>
            <a:chOff x="5538809" y="4051300"/>
            <a:chExt cx="728964" cy="728962"/>
          </a:xfrm>
        </p:grpSpPr>
        <p:sp>
          <p:nvSpPr>
            <p:cNvPr id="14" name="Oval 13">
              <a:extLst>
                <a:ext uri="{FF2B5EF4-FFF2-40B4-BE49-F238E27FC236}">
                  <a16:creationId xmlns:a16="http://schemas.microsoft.com/office/drawing/2014/main" id="{135A072C-EEAE-4CA7-BBC5-62796082FB31}"/>
                </a:ext>
                <a:ext uri="{C183D7F6-B498-43B3-948B-1728B52AA6E4}">
                  <adec:decorative xmlns:adec="http://schemas.microsoft.com/office/drawing/2017/decorative" val="1"/>
                </a:ext>
              </a:extLst>
            </p:cNvPr>
            <p:cNvSpPr/>
            <p:nvPr/>
          </p:nvSpPr>
          <p:spPr bwMode="auto">
            <a:xfrm>
              <a:off x="5538809" y="4051300"/>
              <a:ext cx="728964" cy="728962"/>
            </a:xfrm>
            <a:prstGeom prst="ellipse">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grpSp>
          <p:nvGrpSpPr>
            <p:cNvPr id="27" name="Group 26">
              <a:extLst>
                <a:ext uri="{FF2B5EF4-FFF2-40B4-BE49-F238E27FC236}">
                  <a16:creationId xmlns:a16="http://schemas.microsoft.com/office/drawing/2014/main" id="{626C7EBA-A1A5-40C2-BA2E-3AFA8278FB6D}"/>
                </a:ext>
              </a:extLst>
            </p:cNvPr>
            <p:cNvGrpSpPr/>
            <p:nvPr/>
          </p:nvGrpSpPr>
          <p:grpSpPr>
            <a:xfrm>
              <a:off x="5728045" y="4203274"/>
              <a:ext cx="350492" cy="425014"/>
              <a:chOff x="3640388" y="3763527"/>
              <a:chExt cx="374409" cy="454018"/>
            </a:xfrm>
          </p:grpSpPr>
          <p:sp>
            <p:nvSpPr>
              <p:cNvPr id="28" name="Freeform: Shape 27">
                <a:extLst>
                  <a:ext uri="{FF2B5EF4-FFF2-40B4-BE49-F238E27FC236}">
                    <a16:creationId xmlns:a16="http://schemas.microsoft.com/office/drawing/2014/main" id="{7A603042-3388-400F-BB75-A89B04696B2F}"/>
                  </a:ext>
                </a:extLst>
              </p:cNvPr>
              <p:cNvSpPr/>
              <p:nvPr/>
            </p:nvSpPr>
            <p:spPr>
              <a:xfrm>
                <a:off x="3640388" y="3763527"/>
                <a:ext cx="374409" cy="454018"/>
              </a:xfrm>
              <a:custGeom>
                <a:avLst/>
                <a:gdLst>
                  <a:gd name="connsiteX0" fmla="*/ 386535 w 392060"/>
                  <a:gd name="connsiteY0" fmla="*/ 258329 h 475423"/>
                  <a:gd name="connsiteX1" fmla="*/ 346454 w 392060"/>
                  <a:gd name="connsiteY1" fmla="*/ 187967 h 475423"/>
                  <a:gd name="connsiteX2" fmla="*/ 346454 w 392060"/>
                  <a:gd name="connsiteY2" fmla="*/ 184992 h 475423"/>
                  <a:gd name="connsiteX3" fmla="*/ 261739 w 392060"/>
                  <a:gd name="connsiteY3" fmla="*/ 24723 h 475423"/>
                  <a:gd name="connsiteX4" fmla="*/ 84901 w 392060"/>
                  <a:gd name="connsiteY4" fmla="*/ 24723 h 475423"/>
                  <a:gd name="connsiteX5" fmla="*/ 187 w 392060"/>
                  <a:gd name="connsiteY5" fmla="*/ 184933 h 475423"/>
                  <a:gd name="connsiteX6" fmla="*/ 68565 w 392060"/>
                  <a:gd name="connsiteY6" fmla="*/ 327174 h 475423"/>
                  <a:gd name="connsiteX7" fmla="*/ 68565 w 392060"/>
                  <a:gd name="connsiteY7" fmla="*/ 475424 h 475423"/>
                  <a:gd name="connsiteX8" fmla="*/ 249896 w 392060"/>
                  <a:gd name="connsiteY8" fmla="*/ 475424 h 475423"/>
                  <a:gd name="connsiteX9" fmla="*/ 249896 w 392060"/>
                  <a:gd name="connsiteY9" fmla="*/ 405062 h 475423"/>
                  <a:gd name="connsiteX10" fmla="*/ 278134 w 392060"/>
                  <a:gd name="connsiteY10" fmla="*/ 405062 h 475423"/>
                  <a:gd name="connsiteX11" fmla="*/ 327200 w 392060"/>
                  <a:gd name="connsiteY11" fmla="*/ 384117 h 475423"/>
                  <a:gd name="connsiteX12" fmla="*/ 346512 w 392060"/>
                  <a:gd name="connsiteY12" fmla="*/ 334700 h 475423"/>
                  <a:gd name="connsiteX13" fmla="*/ 346512 w 392060"/>
                  <a:gd name="connsiteY13" fmla="*/ 298761 h 475423"/>
                  <a:gd name="connsiteX14" fmla="*/ 371774 w 392060"/>
                  <a:gd name="connsiteY14" fmla="*/ 298761 h 475423"/>
                  <a:gd name="connsiteX15" fmla="*/ 386535 w 392060"/>
                  <a:gd name="connsiteY15" fmla="*/ 258329 h 475423"/>
                  <a:gd name="connsiteX16" fmla="*/ 386535 w 392060"/>
                  <a:gd name="connsiteY16" fmla="*/ 258329 h 475423"/>
                  <a:gd name="connsiteX17" fmla="*/ 386535 w 392060"/>
                  <a:gd name="connsiteY17" fmla="*/ 258329 h 475423"/>
                  <a:gd name="connsiteX18" fmla="*/ 386535 w 392060"/>
                  <a:gd name="connsiteY18" fmla="*/ 258329 h 47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92060" h="475423">
                    <a:moveTo>
                      <a:pt x="386535" y="258329"/>
                    </a:moveTo>
                    <a:lnTo>
                      <a:pt x="346454" y="187967"/>
                    </a:lnTo>
                    <a:lnTo>
                      <a:pt x="346454" y="184992"/>
                    </a:lnTo>
                    <a:cubicBezTo>
                      <a:pt x="349371" y="119064"/>
                      <a:pt x="316699" y="57687"/>
                      <a:pt x="261739" y="24723"/>
                    </a:cubicBezTo>
                    <a:cubicBezTo>
                      <a:pt x="206780" y="-8241"/>
                      <a:pt x="139861" y="-8241"/>
                      <a:pt x="84901" y="24723"/>
                    </a:cubicBezTo>
                    <a:cubicBezTo>
                      <a:pt x="29884" y="57687"/>
                      <a:pt x="-2788" y="119064"/>
                      <a:pt x="187" y="184933"/>
                    </a:cubicBezTo>
                    <a:cubicBezTo>
                      <a:pt x="187" y="240359"/>
                      <a:pt x="25450" y="294268"/>
                      <a:pt x="68565" y="327174"/>
                    </a:cubicBezTo>
                    <a:lnTo>
                      <a:pt x="68565" y="475424"/>
                    </a:lnTo>
                    <a:lnTo>
                      <a:pt x="249896" y="475424"/>
                    </a:lnTo>
                    <a:lnTo>
                      <a:pt x="249896" y="405062"/>
                    </a:lnTo>
                    <a:lnTo>
                      <a:pt x="278134" y="405062"/>
                    </a:lnTo>
                    <a:cubicBezTo>
                      <a:pt x="295987" y="405062"/>
                      <a:pt x="313781" y="397594"/>
                      <a:pt x="327200" y="384117"/>
                    </a:cubicBezTo>
                    <a:cubicBezTo>
                      <a:pt x="340561" y="370639"/>
                      <a:pt x="346512" y="352670"/>
                      <a:pt x="346512" y="334700"/>
                    </a:cubicBezTo>
                    <a:lnTo>
                      <a:pt x="346512" y="298761"/>
                    </a:lnTo>
                    <a:lnTo>
                      <a:pt x="371774" y="298761"/>
                    </a:lnTo>
                    <a:cubicBezTo>
                      <a:pt x="386535" y="297244"/>
                      <a:pt x="399954" y="279274"/>
                      <a:pt x="386535" y="258329"/>
                    </a:cubicBezTo>
                    <a:lnTo>
                      <a:pt x="386535" y="258329"/>
                    </a:lnTo>
                    <a:lnTo>
                      <a:pt x="386535" y="258329"/>
                    </a:lnTo>
                    <a:lnTo>
                      <a:pt x="386535" y="258329"/>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29" name="Freeform: Shape 28">
                <a:extLst>
                  <a:ext uri="{FF2B5EF4-FFF2-40B4-BE49-F238E27FC236}">
                    <a16:creationId xmlns:a16="http://schemas.microsoft.com/office/drawing/2014/main" id="{C057ABF7-87B0-404F-B33D-B159B7F2E0BD}"/>
                  </a:ext>
                </a:extLst>
              </p:cNvPr>
              <p:cNvSpPr/>
              <p:nvPr/>
            </p:nvSpPr>
            <p:spPr>
              <a:xfrm>
                <a:off x="3669094" y="3837003"/>
                <a:ext cx="158513" cy="47247"/>
              </a:xfrm>
              <a:custGeom>
                <a:avLst/>
                <a:gdLst>
                  <a:gd name="connsiteX0" fmla="*/ 0 w 165986"/>
                  <a:gd name="connsiteY0" fmla="*/ 0 h 49474"/>
                  <a:gd name="connsiteX1" fmla="*/ 49475 w 165986"/>
                  <a:gd name="connsiteY1" fmla="*/ 49475 h 49474"/>
                  <a:gd name="connsiteX2" fmla="*/ 165986 w 165986"/>
                  <a:gd name="connsiteY2" fmla="*/ 49475 h 49474"/>
                </a:gdLst>
                <a:ahLst/>
                <a:cxnLst>
                  <a:cxn ang="0">
                    <a:pos x="connsiteX0" y="connsiteY0"/>
                  </a:cxn>
                  <a:cxn ang="0">
                    <a:pos x="connsiteX1" y="connsiteY1"/>
                  </a:cxn>
                  <a:cxn ang="0">
                    <a:pos x="connsiteX2" y="connsiteY2"/>
                  </a:cxn>
                </a:cxnLst>
                <a:rect l="l" t="t" r="r" b="b"/>
                <a:pathLst>
                  <a:path w="165986" h="49474">
                    <a:moveTo>
                      <a:pt x="0" y="0"/>
                    </a:moveTo>
                    <a:lnTo>
                      <a:pt x="49475" y="49475"/>
                    </a:lnTo>
                    <a:lnTo>
                      <a:pt x="165986" y="49475"/>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0" name="Freeform: Shape 29">
                <a:extLst>
                  <a:ext uri="{FF2B5EF4-FFF2-40B4-BE49-F238E27FC236}">
                    <a16:creationId xmlns:a16="http://schemas.microsoft.com/office/drawing/2014/main" id="{8D4D0D68-E633-43CF-BCC2-5EE81C98B141}"/>
                  </a:ext>
                </a:extLst>
              </p:cNvPr>
              <p:cNvSpPr/>
              <p:nvPr/>
            </p:nvSpPr>
            <p:spPr>
              <a:xfrm>
                <a:off x="3647142" y="3884251"/>
                <a:ext cx="129318" cy="43124"/>
              </a:xfrm>
              <a:custGeom>
                <a:avLst/>
                <a:gdLst>
                  <a:gd name="connsiteX0" fmla="*/ 0 w 135414"/>
                  <a:gd name="connsiteY0" fmla="*/ 0 h 45157"/>
                  <a:gd name="connsiteX1" fmla="*/ 45158 w 135414"/>
                  <a:gd name="connsiteY1" fmla="*/ 45158 h 45157"/>
                  <a:gd name="connsiteX2" fmla="*/ 135414 w 135414"/>
                  <a:gd name="connsiteY2" fmla="*/ 45158 h 45157"/>
                </a:gdLst>
                <a:ahLst/>
                <a:cxnLst>
                  <a:cxn ang="0">
                    <a:pos x="connsiteX0" y="connsiteY0"/>
                  </a:cxn>
                  <a:cxn ang="0">
                    <a:pos x="connsiteX1" y="connsiteY1"/>
                  </a:cxn>
                  <a:cxn ang="0">
                    <a:pos x="connsiteX2" y="connsiteY2"/>
                  </a:cxn>
                </a:cxnLst>
                <a:rect l="l" t="t" r="r" b="b"/>
                <a:pathLst>
                  <a:path w="135414" h="45157">
                    <a:moveTo>
                      <a:pt x="0" y="0"/>
                    </a:moveTo>
                    <a:lnTo>
                      <a:pt x="45158" y="45158"/>
                    </a:lnTo>
                    <a:lnTo>
                      <a:pt x="135414" y="45158"/>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1" name="Freeform: Shape 30">
                <a:extLst>
                  <a:ext uri="{FF2B5EF4-FFF2-40B4-BE49-F238E27FC236}">
                    <a16:creationId xmlns:a16="http://schemas.microsoft.com/office/drawing/2014/main" id="{63094E73-1EED-4D48-BD04-391A3C7BD0E4}"/>
                  </a:ext>
                </a:extLst>
              </p:cNvPr>
              <p:cNvSpPr/>
              <p:nvPr/>
            </p:nvSpPr>
            <p:spPr>
              <a:xfrm>
                <a:off x="3827552" y="3867647"/>
                <a:ext cx="33207" cy="33206"/>
              </a:xfrm>
              <a:custGeom>
                <a:avLst/>
                <a:gdLst>
                  <a:gd name="connsiteX0" fmla="*/ 34772 w 34772"/>
                  <a:gd name="connsiteY0" fmla="*/ 17386 h 34772"/>
                  <a:gd name="connsiteX1" fmla="*/ 17386 w 34772"/>
                  <a:gd name="connsiteY1" fmla="*/ 34773 h 34772"/>
                  <a:gd name="connsiteX2" fmla="*/ 0 w 34772"/>
                  <a:gd name="connsiteY2" fmla="*/ 17386 h 34772"/>
                  <a:gd name="connsiteX3" fmla="*/ 17386 w 34772"/>
                  <a:gd name="connsiteY3" fmla="*/ 0 h 34772"/>
                  <a:gd name="connsiteX4" fmla="*/ 34772 w 34772"/>
                  <a:gd name="connsiteY4" fmla="*/ 17386 h 34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72" h="34772">
                    <a:moveTo>
                      <a:pt x="34772" y="17386"/>
                    </a:moveTo>
                    <a:cubicBezTo>
                      <a:pt x="34772" y="26988"/>
                      <a:pt x="26988" y="34773"/>
                      <a:pt x="17386" y="34773"/>
                    </a:cubicBezTo>
                    <a:cubicBezTo>
                      <a:pt x="7784" y="34773"/>
                      <a:pt x="0" y="26988"/>
                      <a:pt x="0" y="17386"/>
                    </a:cubicBezTo>
                    <a:cubicBezTo>
                      <a:pt x="0" y="7784"/>
                      <a:pt x="7784" y="0"/>
                      <a:pt x="17386" y="0"/>
                    </a:cubicBezTo>
                    <a:cubicBezTo>
                      <a:pt x="26988" y="0"/>
                      <a:pt x="34772" y="7784"/>
                      <a:pt x="34772" y="1738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2" name="Freeform: Shape 31">
                <a:extLst>
                  <a:ext uri="{FF2B5EF4-FFF2-40B4-BE49-F238E27FC236}">
                    <a16:creationId xmlns:a16="http://schemas.microsoft.com/office/drawing/2014/main" id="{8C2326CD-595B-4787-92E0-EC2FDBEEEF67}"/>
                  </a:ext>
                </a:extLst>
              </p:cNvPr>
              <p:cNvSpPr/>
              <p:nvPr/>
            </p:nvSpPr>
            <p:spPr>
              <a:xfrm>
                <a:off x="3778521" y="3911328"/>
                <a:ext cx="33207" cy="33206"/>
              </a:xfrm>
              <a:custGeom>
                <a:avLst/>
                <a:gdLst>
                  <a:gd name="connsiteX0" fmla="*/ 34772 w 34772"/>
                  <a:gd name="connsiteY0" fmla="*/ 17386 h 34772"/>
                  <a:gd name="connsiteX1" fmla="*/ 17386 w 34772"/>
                  <a:gd name="connsiteY1" fmla="*/ 34773 h 34772"/>
                  <a:gd name="connsiteX2" fmla="*/ 0 w 34772"/>
                  <a:gd name="connsiteY2" fmla="*/ 17386 h 34772"/>
                  <a:gd name="connsiteX3" fmla="*/ 17386 w 34772"/>
                  <a:gd name="connsiteY3" fmla="*/ 0 h 34772"/>
                  <a:gd name="connsiteX4" fmla="*/ 34772 w 34772"/>
                  <a:gd name="connsiteY4" fmla="*/ 17386 h 34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72" h="34772">
                    <a:moveTo>
                      <a:pt x="34772" y="17386"/>
                    </a:moveTo>
                    <a:cubicBezTo>
                      <a:pt x="34772" y="26988"/>
                      <a:pt x="26988" y="34773"/>
                      <a:pt x="17386" y="34773"/>
                    </a:cubicBezTo>
                    <a:cubicBezTo>
                      <a:pt x="7784" y="34773"/>
                      <a:pt x="0" y="26988"/>
                      <a:pt x="0" y="17386"/>
                    </a:cubicBezTo>
                    <a:cubicBezTo>
                      <a:pt x="0" y="7784"/>
                      <a:pt x="7784" y="0"/>
                      <a:pt x="17386" y="0"/>
                    </a:cubicBezTo>
                    <a:cubicBezTo>
                      <a:pt x="26988" y="0"/>
                      <a:pt x="34772" y="7784"/>
                      <a:pt x="34772" y="1738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3" name="Freeform: Shape 32">
                <a:extLst>
                  <a:ext uri="{FF2B5EF4-FFF2-40B4-BE49-F238E27FC236}">
                    <a16:creationId xmlns:a16="http://schemas.microsoft.com/office/drawing/2014/main" id="{A5456423-5342-4642-ADB1-5156D6F70F55}"/>
                  </a:ext>
                </a:extLst>
              </p:cNvPr>
              <p:cNvSpPr/>
              <p:nvPr/>
            </p:nvSpPr>
            <p:spPr>
              <a:xfrm>
                <a:off x="3870174" y="3918460"/>
                <a:ext cx="33207" cy="33206"/>
              </a:xfrm>
              <a:custGeom>
                <a:avLst/>
                <a:gdLst>
                  <a:gd name="connsiteX0" fmla="*/ 34772 w 34772"/>
                  <a:gd name="connsiteY0" fmla="*/ 17386 h 34772"/>
                  <a:gd name="connsiteX1" fmla="*/ 17386 w 34772"/>
                  <a:gd name="connsiteY1" fmla="*/ 34773 h 34772"/>
                  <a:gd name="connsiteX2" fmla="*/ 0 w 34772"/>
                  <a:gd name="connsiteY2" fmla="*/ 17386 h 34772"/>
                  <a:gd name="connsiteX3" fmla="*/ 17386 w 34772"/>
                  <a:gd name="connsiteY3" fmla="*/ 0 h 34772"/>
                  <a:gd name="connsiteX4" fmla="*/ 34772 w 34772"/>
                  <a:gd name="connsiteY4" fmla="*/ 17386 h 34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72" h="34772">
                    <a:moveTo>
                      <a:pt x="34772" y="17386"/>
                    </a:moveTo>
                    <a:cubicBezTo>
                      <a:pt x="34772" y="26988"/>
                      <a:pt x="26988" y="34773"/>
                      <a:pt x="17386" y="34773"/>
                    </a:cubicBezTo>
                    <a:cubicBezTo>
                      <a:pt x="7784" y="34773"/>
                      <a:pt x="0" y="26988"/>
                      <a:pt x="0" y="17386"/>
                    </a:cubicBezTo>
                    <a:cubicBezTo>
                      <a:pt x="0" y="7784"/>
                      <a:pt x="7784" y="0"/>
                      <a:pt x="17386" y="0"/>
                    </a:cubicBezTo>
                    <a:cubicBezTo>
                      <a:pt x="26988" y="0"/>
                      <a:pt x="34772" y="7784"/>
                      <a:pt x="34772" y="1738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4" name="Freeform: Shape 33">
                <a:extLst>
                  <a:ext uri="{FF2B5EF4-FFF2-40B4-BE49-F238E27FC236}">
                    <a16:creationId xmlns:a16="http://schemas.microsoft.com/office/drawing/2014/main" id="{F04AE001-9941-4956-8400-E8AB8EAA2ED0}"/>
                  </a:ext>
                </a:extLst>
              </p:cNvPr>
              <p:cNvSpPr/>
              <p:nvPr/>
            </p:nvSpPr>
            <p:spPr>
              <a:xfrm>
                <a:off x="3674721" y="3947767"/>
                <a:ext cx="199632" cy="91876"/>
              </a:xfrm>
              <a:custGeom>
                <a:avLst/>
                <a:gdLst>
                  <a:gd name="connsiteX0" fmla="*/ 0 w 209043"/>
                  <a:gd name="connsiteY0" fmla="*/ 96208 h 96207"/>
                  <a:gd name="connsiteX1" fmla="*/ 52217 w 209043"/>
                  <a:gd name="connsiteY1" fmla="*/ 43991 h 96207"/>
                  <a:gd name="connsiteX2" fmla="*/ 165111 w 209043"/>
                  <a:gd name="connsiteY2" fmla="*/ 43991 h 96207"/>
                  <a:gd name="connsiteX3" fmla="*/ 209043 w 209043"/>
                  <a:gd name="connsiteY3" fmla="*/ 0 h 96207"/>
                </a:gdLst>
                <a:ahLst/>
                <a:cxnLst>
                  <a:cxn ang="0">
                    <a:pos x="connsiteX0" y="connsiteY0"/>
                  </a:cxn>
                  <a:cxn ang="0">
                    <a:pos x="connsiteX1" y="connsiteY1"/>
                  </a:cxn>
                  <a:cxn ang="0">
                    <a:pos x="connsiteX2" y="connsiteY2"/>
                  </a:cxn>
                  <a:cxn ang="0">
                    <a:pos x="connsiteX3" y="connsiteY3"/>
                  </a:cxn>
                </a:cxnLst>
                <a:rect l="l" t="t" r="r" b="b"/>
                <a:pathLst>
                  <a:path w="209043" h="96207">
                    <a:moveTo>
                      <a:pt x="0" y="96208"/>
                    </a:moveTo>
                    <a:lnTo>
                      <a:pt x="52217" y="43991"/>
                    </a:lnTo>
                    <a:lnTo>
                      <a:pt x="165111" y="43991"/>
                    </a:lnTo>
                    <a:lnTo>
                      <a:pt x="209043" y="0"/>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grpSp>
      <p:sp>
        <p:nvSpPr>
          <p:cNvPr id="18" name="Rectangle 17">
            <a:extLst>
              <a:ext uri="{FF2B5EF4-FFF2-40B4-BE49-F238E27FC236}">
                <a16:creationId xmlns:a16="http://schemas.microsoft.com/office/drawing/2014/main" id="{D7024093-12A9-4876-AA41-09A6127FE991}"/>
              </a:ext>
            </a:extLst>
          </p:cNvPr>
          <p:cNvSpPr/>
          <p:nvPr/>
        </p:nvSpPr>
        <p:spPr>
          <a:xfrm>
            <a:off x="6455229" y="5360865"/>
            <a:ext cx="5522459" cy="1262186"/>
          </a:xfrm>
          <a:prstGeom prst="rect">
            <a:avLst/>
          </a:prstGeom>
        </p:spPr>
        <p:txBody>
          <a:bodyPr wrap="square" lIns="0" tIns="0" rIns="0" bIns="0" anchor="ctr">
            <a:noAutofit/>
          </a:bodyPr>
          <a:lstStyle/>
          <a:p>
            <a:r>
              <a:rPr lang="en-US" kern="0">
                <a:solidFill>
                  <a:schemeClr val="tx2"/>
                </a:solidFill>
                <a:latin typeface="Segoe UI Semibold" panose="020B0702040204020203" pitchFamily="34" charset="0"/>
                <a:cs typeface="Segoe UI Semibold" panose="020B0702040204020203" pitchFamily="34" charset="0"/>
              </a:rPr>
              <a:t>Secure devices and protect privacy.</a:t>
            </a:r>
          </a:p>
          <a:p>
            <a:r>
              <a:rPr lang="en-US">
                <a:cs typeface="Segoe UI Semibold" panose="020B0702040204020203" pitchFamily="34" charset="0"/>
              </a:rPr>
              <a:t>Windows 10 is the most secure Windows ever, and includes built-in anti-virus, anti-malware, anti-phishing protection to protect students and educators.</a:t>
            </a:r>
          </a:p>
        </p:txBody>
      </p:sp>
      <p:grpSp>
        <p:nvGrpSpPr>
          <p:cNvPr id="8" name="Group 7">
            <a:extLst>
              <a:ext uri="{FF2B5EF4-FFF2-40B4-BE49-F238E27FC236}">
                <a16:creationId xmlns:a16="http://schemas.microsoft.com/office/drawing/2014/main" id="{2D4E4686-04A0-49F3-8581-F3D57201D388}"/>
              </a:ext>
              <a:ext uri="{C183D7F6-B498-43B3-948B-1728B52AA6E4}">
                <adec:decorative xmlns:adec="http://schemas.microsoft.com/office/drawing/2017/decorative" val="1"/>
              </a:ext>
            </a:extLst>
          </p:cNvPr>
          <p:cNvGrpSpPr/>
          <p:nvPr/>
        </p:nvGrpSpPr>
        <p:grpSpPr>
          <a:xfrm>
            <a:off x="5538809" y="5627477"/>
            <a:ext cx="728964" cy="728962"/>
            <a:chOff x="5538809" y="5570327"/>
            <a:chExt cx="728964" cy="728962"/>
          </a:xfrm>
        </p:grpSpPr>
        <p:sp>
          <p:nvSpPr>
            <p:cNvPr id="13" name="Oval 12">
              <a:extLst>
                <a:ext uri="{FF2B5EF4-FFF2-40B4-BE49-F238E27FC236}">
                  <a16:creationId xmlns:a16="http://schemas.microsoft.com/office/drawing/2014/main" id="{1F7A5358-8FD2-443D-A784-54D24E04EB42}"/>
                </a:ext>
                <a:ext uri="{C183D7F6-B498-43B3-948B-1728B52AA6E4}">
                  <adec:decorative xmlns:adec="http://schemas.microsoft.com/office/drawing/2017/decorative" val="1"/>
                </a:ext>
              </a:extLst>
            </p:cNvPr>
            <p:cNvSpPr/>
            <p:nvPr/>
          </p:nvSpPr>
          <p:spPr bwMode="auto">
            <a:xfrm>
              <a:off x="5538809" y="5570327"/>
              <a:ext cx="728964" cy="728962"/>
            </a:xfrm>
            <a:prstGeom prst="ellipse">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35" name="document_6" title="Icon of a document with a padlock in the lower right corner">
              <a:extLst>
                <a:ext uri="{FF2B5EF4-FFF2-40B4-BE49-F238E27FC236}">
                  <a16:creationId xmlns:a16="http://schemas.microsoft.com/office/drawing/2014/main" id="{B95B811C-6D6E-47AD-B642-B7A041AC33CA}"/>
                </a:ext>
              </a:extLst>
            </p:cNvPr>
            <p:cNvSpPr>
              <a:spLocks noChangeAspect="1" noEditPoints="1"/>
            </p:cNvSpPr>
            <p:nvPr/>
          </p:nvSpPr>
          <p:spPr bwMode="auto">
            <a:xfrm>
              <a:off x="5756987" y="5751928"/>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49" name="Group 48">
            <a:extLst>
              <a:ext uri="{FF2B5EF4-FFF2-40B4-BE49-F238E27FC236}">
                <a16:creationId xmlns:a16="http://schemas.microsoft.com/office/drawing/2014/main" id="{E474826C-83F0-44CD-8A34-80AC5E4315DE}"/>
              </a:ext>
              <a:ext uri="{C183D7F6-B498-43B3-948B-1728B52AA6E4}">
                <adec:decorative xmlns:adec="http://schemas.microsoft.com/office/drawing/2017/decorative" val="1"/>
              </a:ext>
            </a:extLst>
          </p:cNvPr>
          <p:cNvGrpSpPr/>
          <p:nvPr/>
        </p:nvGrpSpPr>
        <p:grpSpPr>
          <a:xfrm>
            <a:off x="11488324" y="162790"/>
            <a:ext cx="777240" cy="778243"/>
            <a:chOff x="1517398" y="3231556"/>
            <a:chExt cx="1466268" cy="1466264"/>
          </a:xfrm>
        </p:grpSpPr>
        <p:sp>
          <p:nvSpPr>
            <p:cNvPr id="50" name="Oval 49">
              <a:extLst>
                <a:ext uri="{FF2B5EF4-FFF2-40B4-BE49-F238E27FC236}">
                  <a16:creationId xmlns:a16="http://schemas.microsoft.com/office/drawing/2014/main" id="{1D3202D0-B88C-43FB-A430-A80F7CCC621B}"/>
                </a:ext>
              </a:extLst>
            </p:cNvPr>
            <p:cNvSpPr/>
            <p:nvPr/>
          </p:nvSpPr>
          <p:spPr bwMode="auto">
            <a:xfrm>
              <a:off x="1517398" y="3231556"/>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nvGrpSpPr>
            <p:cNvPr id="51" name="Group 50">
              <a:extLst>
                <a:ext uri="{FF2B5EF4-FFF2-40B4-BE49-F238E27FC236}">
                  <a16:creationId xmlns:a16="http://schemas.microsoft.com/office/drawing/2014/main" id="{6E13EAF8-3E10-4A81-A346-64E2ED9D24E2}"/>
                </a:ext>
              </a:extLst>
            </p:cNvPr>
            <p:cNvGrpSpPr/>
            <p:nvPr/>
          </p:nvGrpSpPr>
          <p:grpSpPr>
            <a:xfrm>
              <a:off x="1867655" y="3505713"/>
              <a:ext cx="765754" cy="917950"/>
              <a:chOff x="1867655" y="3505713"/>
              <a:chExt cx="765754" cy="917950"/>
            </a:xfrm>
          </p:grpSpPr>
          <p:sp>
            <p:nvSpPr>
              <p:cNvPr id="52" name="Freeform: Shape 51">
                <a:extLst>
                  <a:ext uri="{FF2B5EF4-FFF2-40B4-BE49-F238E27FC236}">
                    <a16:creationId xmlns:a16="http://schemas.microsoft.com/office/drawing/2014/main" id="{39F48313-2BF4-4ACA-9063-7E72A9C6AAE7}"/>
                  </a:ext>
                </a:extLst>
              </p:cNvPr>
              <p:cNvSpPr/>
              <p:nvPr/>
            </p:nvSpPr>
            <p:spPr>
              <a:xfrm>
                <a:off x="2117907" y="3505713"/>
                <a:ext cx="248887" cy="335759"/>
              </a:xfrm>
              <a:custGeom>
                <a:avLst/>
                <a:gdLst>
                  <a:gd name="connsiteX0" fmla="*/ 164021 w 173831"/>
                  <a:gd name="connsiteY0" fmla="*/ 231172 h 234505"/>
                  <a:gd name="connsiteX1" fmla="*/ 173831 w 173831"/>
                  <a:gd name="connsiteY1" fmla="*/ 174784 h 234505"/>
                  <a:gd name="connsiteX2" fmla="*/ 0 w 173831"/>
                  <a:gd name="connsiteY2" fmla="*/ 0 h 234505"/>
                  <a:gd name="connsiteX3" fmla="*/ 88487 w 173831"/>
                  <a:gd name="connsiteY3" fmla="*/ 174784 h 234505"/>
                  <a:gd name="connsiteX4" fmla="*/ 83058 w 173831"/>
                  <a:gd name="connsiteY4" fmla="*/ 234506 h 234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831" h="234505">
                    <a:moveTo>
                      <a:pt x="164021" y="231172"/>
                    </a:moveTo>
                    <a:cubicBezTo>
                      <a:pt x="170212" y="213455"/>
                      <a:pt x="173831" y="194596"/>
                      <a:pt x="173831" y="174784"/>
                    </a:cubicBezTo>
                    <a:cubicBezTo>
                      <a:pt x="173831" y="78010"/>
                      <a:pt x="95822" y="0"/>
                      <a:pt x="0" y="0"/>
                    </a:cubicBezTo>
                    <a:cubicBezTo>
                      <a:pt x="48863" y="0"/>
                      <a:pt x="88487" y="78010"/>
                      <a:pt x="88487" y="174784"/>
                    </a:cubicBezTo>
                    <a:cubicBezTo>
                      <a:pt x="88487" y="195739"/>
                      <a:pt x="86487" y="215837"/>
                      <a:pt x="83058" y="234506"/>
                    </a:cubicBezTo>
                  </a:path>
                </a:pathLst>
              </a:custGeom>
              <a:noFill/>
              <a:ln w="19050" cap="flat">
                <a:solidFill>
                  <a:schemeClr val="tx2"/>
                </a:solidFill>
                <a:prstDash val="solid"/>
                <a:round/>
              </a:ln>
            </p:spPr>
            <p:txBody>
              <a:bodyPr rtlCol="0" anchor="ctr"/>
              <a:lstStyle/>
              <a:p>
                <a:endParaRPr lang="en-IN"/>
              </a:p>
            </p:txBody>
          </p:sp>
          <p:sp>
            <p:nvSpPr>
              <p:cNvPr id="53" name="Freeform: Shape 52">
                <a:extLst>
                  <a:ext uri="{FF2B5EF4-FFF2-40B4-BE49-F238E27FC236}">
                    <a16:creationId xmlns:a16="http://schemas.microsoft.com/office/drawing/2014/main" id="{4DCFAAA2-175D-40BC-B177-67546560A470}"/>
                  </a:ext>
                </a:extLst>
              </p:cNvPr>
              <p:cNvSpPr/>
              <p:nvPr/>
            </p:nvSpPr>
            <p:spPr>
              <a:xfrm>
                <a:off x="1867655" y="3505713"/>
                <a:ext cx="250386" cy="463135"/>
              </a:xfrm>
              <a:custGeom>
                <a:avLst/>
                <a:gdLst>
                  <a:gd name="connsiteX0" fmla="*/ 116300 w 174878"/>
                  <a:gd name="connsiteY0" fmla="*/ 306419 h 323469"/>
                  <a:gd name="connsiteX1" fmla="*/ 85344 w 174878"/>
                  <a:gd name="connsiteY1" fmla="*/ 174784 h 323469"/>
                  <a:gd name="connsiteX2" fmla="*/ 174879 w 174878"/>
                  <a:gd name="connsiteY2" fmla="*/ 0 h 323469"/>
                  <a:gd name="connsiteX3" fmla="*/ 0 w 174878"/>
                  <a:gd name="connsiteY3" fmla="*/ 174784 h 323469"/>
                  <a:gd name="connsiteX4" fmla="*/ 84868 w 174878"/>
                  <a:gd name="connsiteY4" fmla="*/ 323469 h 32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78" h="323469">
                    <a:moveTo>
                      <a:pt x="116300" y="306419"/>
                    </a:moveTo>
                    <a:cubicBezTo>
                      <a:pt x="97250" y="274606"/>
                      <a:pt x="85344" y="227362"/>
                      <a:pt x="85344" y="174784"/>
                    </a:cubicBezTo>
                    <a:cubicBezTo>
                      <a:pt x="85344" y="78010"/>
                      <a:pt x="124873" y="0"/>
                      <a:pt x="174879" y="0"/>
                    </a:cubicBezTo>
                    <a:cubicBezTo>
                      <a:pt x="78010" y="0"/>
                      <a:pt x="0" y="78010"/>
                      <a:pt x="0" y="174784"/>
                    </a:cubicBezTo>
                    <a:cubicBezTo>
                      <a:pt x="0" y="237935"/>
                      <a:pt x="34004" y="293180"/>
                      <a:pt x="84868" y="323469"/>
                    </a:cubicBezTo>
                  </a:path>
                </a:pathLst>
              </a:custGeom>
              <a:noFill/>
              <a:ln w="19050" cap="flat">
                <a:solidFill>
                  <a:schemeClr val="tx2"/>
                </a:solidFill>
                <a:prstDash val="solid"/>
                <a:round/>
              </a:ln>
            </p:spPr>
            <p:txBody>
              <a:bodyPr rtlCol="0" anchor="ctr"/>
              <a:lstStyle/>
              <a:p>
                <a:endParaRPr lang="en-IN"/>
              </a:p>
            </p:txBody>
          </p:sp>
          <p:sp>
            <p:nvSpPr>
              <p:cNvPr id="54" name="Freeform: Shape 53">
                <a:extLst>
                  <a:ext uri="{FF2B5EF4-FFF2-40B4-BE49-F238E27FC236}">
                    <a16:creationId xmlns:a16="http://schemas.microsoft.com/office/drawing/2014/main" id="{0431E5A8-17E5-4CE0-BCDA-8003027055EF}"/>
                  </a:ext>
                </a:extLst>
              </p:cNvPr>
              <p:cNvSpPr/>
              <p:nvPr/>
            </p:nvSpPr>
            <p:spPr>
              <a:xfrm>
                <a:off x="1879520" y="3678503"/>
                <a:ext cx="475272" cy="13638"/>
              </a:xfrm>
              <a:custGeom>
                <a:avLst/>
                <a:gdLst>
                  <a:gd name="connsiteX0" fmla="*/ 0 w 331946"/>
                  <a:gd name="connsiteY0" fmla="*/ 0 h 9525"/>
                  <a:gd name="connsiteX1" fmla="*/ 331946 w 331946"/>
                  <a:gd name="connsiteY1" fmla="*/ 0 h 9525"/>
                </a:gdLst>
                <a:ahLst/>
                <a:cxnLst>
                  <a:cxn ang="0">
                    <a:pos x="connsiteX0" y="connsiteY0"/>
                  </a:cxn>
                  <a:cxn ang="0">
                    <a:pos x="connsiteX1" y="connsiteY1"/>
                  </a:cxn>
                </a:cxnLst>
                <a:rect l="l" t="t" r="r" b="b"/>
                <a:pathLst>
                  <a:path w="331946" h="9525">
                    <a:moveTo>
                      <a:pt x="0" y="0"/>
                    </a:moveTo>
                    <a:cubicBezTo>
                      <a:pt x="331946" y="0"/>
                      <a:pt x="331946" y="0"/>
                      <a:pt x="331946" y="0"/>
                    </a:cubicBezTo>
                  </a:path>
                </a:pathLst>
              </a:custGeom>
              <a:noFill/>
              <a:ln w="19050" cap="flat">
                <a:solidFill>
                  <a:schemeClr val="tx2"/>
                </a:solidFill>
                <a:prstDash val="solid"/>
                <a:round/>
              </a:ln>
            </p:spPr>
            <p:txBody>
              <a:bodyPr rtlCol="0" anchor="ctr"/>
              <a:lstStyle/>
              <a:p>
                <a:endParaRPr lang="en-IN"/>
              </a:p>
            </p:txBody>
          </p:sp>
          <p:sp>
            <p:nvSpPr>
              <p:cNvPr id="55" name="Freeform: Shape 54">
                <a:extLst>
                  <a:ext uri="{FF2B5EF4-FFF2-40B4-BE49-F238E27FC236}">
                    <a16:creationId xmlns:a16="http://schemas.microsoft.com/office/drawing/2014/main" id="{F9EFA440-9BEF-4BE8-B6BD-8E60F533A3EE}"/>
                  </a:ext>
                </a:extLst>
              </p:cNvPr>
              <p:cNvSpPr/>
              <p:nvPr/>
            </p:nvSpPr>
            <p:spPr>
              <a:xfrm>
                <a:off x="1881021" y="3834927"/>
                <a:ext cx="355397" cy="13638"/>
              </a:xfrm>
              <a:custGeom>
                <a:avLst/>
                <a:gdLst>
                  <a:gd name="connsiteX0" fmla="*/ 0 w 248221"/>
                  <a:gd name="connsiteY0" fmla="*/ 0 h 9525"/>
                  <a:gd name="connsiteX1" fmla="*/ 248222 w 248221"/>
                  <a:gd name="connsiteY1" fmla="*/ 0 h 9525"/>
                </a:gdLst>
                <a:ahLst/>
                <a:cxnLst>
                  <a:cxn ang="0">
                    <a:pos x="connsiteX0" y="connsiteY0"/>
                  </a:cxn>
                  <a:cxn ang="0">
                    <a:pos x="connsiteX1" y="connsiteY1"/>
                  </a:cxn>
                </a:cxnLst>
                <a:rect l="l" t="t" r="r" b="b"/>
                <a:pathLst>
                  <a:path w="248221" h="9525">
                    <a:moveTo>
                      <a:pt x="0" y="0"/>
                    </a:moveTo>
                    <a:cubicBezTo>
                      <a:pt x="122777" y="0"/>
                      <a:pt x="199835" y="0"/>
                      <a:pt x="248222" y="0"/>
                    </a:cubicBezTo>
                  </a:path>
                </a:pathLst>
              </a:custGeom>
              <a:noFill/>
              <a:ln w="19050" cap="flat">
                <a:solidFill>
                  <a:schemeClr val="tx2"/>
                </a:solidFill>
                <a:prstDash val="solid"/>
                <a:round/>
              </a:ln>
            </p:spPr>
            <p:txBody>
              <a:bodyPr rtlCol="0" anchor="ctr"/>
              <a:lstStyle/>
              <a:p>
                <a:endParaRPr lang="en-IN"/>
              </a:p>
            </p:txBody>
          </p:sp>
          <p:grpSp>
            <p:nvGrpSpPr>
              <p:cNvPr id="56" name="Graphic 70">
                <a:extLst>
                  <a:ext uri="{FF2B5EF4-FFF2-40B4-BE49-F238E27FC236}">
                    <a16:creationId xmlns:a16="http://schemas.microsoft.com/office/drawing/2014/main" id="{C0D7740D-5AAC-4A49-BC73-9BC2F624F7F2}"/>
                  </a:ext>
                </a:extLst>
              </p:cNvPr>
              <p:cNvGrpSpPr/>
              <p:nvPr/>
            </p:nvGrpSpPr>
            <p:grpSpPr>
              <a:xfrm>
                <a:off x="1927798" y="3811606"/>
                <a:ext cx="705611" cy="612057"/>
                <a:chOff x="4091871" y="3894026"/>
                <a:chExt cx="492822" cy="427481"/>
              </a:xfrm>
              <a:noFill/>
            </p:grpSpPr>
            <p:sp>
              <p:nvSpPr>
                <p:cNvPr id="57" name="Freeform: Shape 56">
                  <a:extLst>
                    <a:ext uri="{FF2B5EF4-FFF2-40B4-BE49-F238E27FC236}">
                      <a16:creationId xmlns:a16="http://schemas.microsoft.com/office/drawing/2014/main" id="{5A103E58-5B7E-4726-84C0-2C5458A2F2E8}"/>
                    </a:ext>
                  </a:extLst>
                </p:cNvPr>
                <p:cNvSpPr/>
                <p:nvPr/>
              </p:nvSpPr>
              <p:spPr>
                <a:xfrm>
                  <a:off x="4091871" y="4217495"/>
                  <a:ext cx="91439" cy="104012"/>
                </a:xfrm>
                <a:custGeom>
                  <a:avLst/>
                  <a:gdLst>
                    <a:gd name="connsiteX0" fmla="*/ 91440 w 91439"/>
                    <a:gd name="connsiteY0" fmla="*/ 104013 h 104012"/>
                    <a:gd name="connsiteX1" fmla="*/ 91440 w 91439"/>
                    <a:gd name="connsiteY1" fmla="*/ 37433 h 104012"/>
                    <a:gd name="connsiteX2" fmla="*/ 45720 w 91439"/>
                    <a:gd name="connsiteY2" fmla="*/ 0 h 104012"/>
                    <a:gd name="connsiteX3" fmla="*/ 45720 w 91439"/>
                    <a:gd name="connsiteY3" fmla="*/ 0 h 104012"/>
                    <a:gd name="connsiteX4" fmla="*/ 0 w 91439"/>
                    <a:gd name="connsiteY4" fmla="*/ 37433 h 104012"/>
                    <a:gd name="connsiteX5" fmla="*/ 0 w 91439"/>
                    <a:gd name="connsiteY5" fmla="*/ 104013 h 104012"/>
                    <a:gd name="connsiteX6" fmla="*/ 91440 w 91439"/>
                    <a:gd name="connsiteY6" fmla="*/ 104013 h 104012"/>
                    <a:gd name="connsiteX7" fmla="*/ 91440 w 91439"/>
                    <a:gd name="connsiteY7" fmla="*/ 104013 h 104012"/>
                    <a:gd name="connsiteX8" fmla="*/ 91440 w 91439"/>
                    <a:gd name="connsiteY8" fmla="*/ 104013 h 104012"/>
                    <a:gd name="connsiteX9" fmla="*/ 91440 w 91439"/>
                    <a:gd name="connsiteY9" fmla="*/ 104013 h 104012"/>
                    <a:gd name="connsiteX10" fmla="*/ 91440 w 91439"/>
                    <a:gd name="connsiteY10" fmla="*/ 104013 h 10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39" h="104012">
                      <a:moveTo>
                        <a:pt x="91440" y="104013"/>
                      </a:moveTo>
                      <a:cubicBezTo>
                        <a:pt x="91440" y="37433"/>
                        <a:pt x="91440" y="37433"/>
                        <a:pt x="91440" y="37433"/>
                      </a:cubicBezTo>
                      <a:cubicBezTo>
                        <a:pt x="91440" y="16669"/>
                        <a:pt x="68485" y="0"/>
                        <a:pt x="45720" y="0"/>
                      </a:cubicBezTo>
                      <a:lnTo>
                        <a:pt x="45720" y="0"/>
                      </a:lnTo>
                      <a:cubicBezTo>
                        <a:pt x="18383" y="0"/>
                        <a:pt x="0" y="16669"/>
                        <a:pt x="0" y="37433"/>
                      </a:cubicBezTo>
                      <a:cubicBezTo>
                        <a:pt x="0" y="104013"/>
                        <a:pt x="0" y="104013"/>
                        <a:pt x="0" y="104013"/>
                      </a:cubicBezTo>
                      <a:cubicBezTo>
                        <a:pt x="91440" y="104013"/>
                        <a:pt x="91440" y="104013"/>
                        <a:pt x="91440" y="104013"/>
                      </a:cubicBezTo>
                      <a:lnTo>
                        <a:pt x="91440" y="104013"/>
                      </a:lnTo>
                      <a:lnTo>
                        <a:pt x="91440" y="104013"/>
                      </a:lnTo>
                      <a:lnTo>
                        <a:pt x="91440" y="104013"/>
                      </a:lnTo>
                      <a:lnTo>
                        <a:pt x="91440" y="104013"/>
                      </a:lnTo>
                      <a:close/>
                    </a:path>
                  </a:pathLst>
                </a:custGeom>
                <a:noFill/>
                <a:ln w="19050" cap="flat">
                  <a:solidFill>
                    <a:schemeClr val="tx2"/>
                  </a:solidFill>
                  <a:prstDash val="solid"/>
                  <a:round/>
                </a:ln>
              </p:spPr>
              <p:txBody>
                <a:bodyPr rtlCol="0" anchor="ctr"/>
                <a:lstStyle/>
                <a:p>
                  <a:endParaRPr lang="en-IN"/>
                </a:p>
              </p:txBody>
            </p:sp>
            <p:grpSp>
              <p:nvGrpSpPr>
                <p:cNvPr id="58" name="Graphic 70">
                  <a:extLst>
                    <a:ext uri="{FF2B5EF4-FFF2-40B4-BE49-F238E27FC236}">
                      <a16:creationId xmlns:a16="http://schemas.microsoft.com/office/drawing/2014/main" id="{31F5493D-BCC8-4C9F-B3C6-E6DAF5FA521D}"/>
                    </a:ext>
                  </a:extLst>
                </p:cNvPr>
                <p:cNvGrpSpPr/>
                <p:nvPr/>
              </p:nvGrpSpPr>
              <p:grpSpPr>
                <a:xfrm>
                  <a:off x="4117302" y="3894026"/>
                  <a:ext cx="467391" cy="359540"/>
                  <a:chOff x="4117302" y="3894026"/>
                  <a:chExt cx="467391" cy="359540"/>
                </a:xfrm>
                <a:noFill/>
              </p:grpSpPr>
              <p:sp>
                <p:nvSpPr>
                  <p:cNvPr id="59" name="Freeform: Shape 58">
                    <a:extLst>
                      <a:ext uri="{FF2B5EF4-FFF2-40B4-BE49-F238E27FC236}">
                        <a16:creationId xmlns:a16="http://schemas.microsoft.com/office/drawing/2014/main" id="{C35C9A55-DEFC-4E56-83A3-8D0AA939FB4F}"/>
                      </a:ext>
                    </a:extLst>
                  </p:cNvPr>
                  <p:cNvSpPr/>
                  <p:nvPr/>
                </p:nvSpPr>
                <p:spPr>
                  <a:xfrm>
                    <a:off x="4130733" y="4023185"/>
                    <a:ext cx="9525" cy="194310"/>
                  </a:xfrm>
                  <a:custGeom>
                    <a:avLst/>
                    <a:gdLst>
                      <a:gd name="connsiteX0" fmla="*/ 0 w 9525"/>
                      <a:gd name="connsiteY0" fmla="*/ 0 h 194310"/>
                      <a:gd name="connsiteX1" fmla="*/ 0 w 9525"/>
                      <a:gd name="connsiteY1" fmla="*/ 194310 h 194310"/>
                    </a:gdLst>
                    <a:ahLst/>
                    <a:cxnLst>
                      <a:cxn ang="0">
                        <a:pos x="connsiteX0" y="connsiteY0"/>
                      </a:cxn>
                      <a:cxn ang="0">
                        <a:pos x="connsiteX1" y="connsiteY1"/>
                      </a:cxn>
                    </a:cxnLst>
                    <a:rect l="l" t="t" r="r" b="b"/>
                    <a:pathLst>
                      <a:path w="9525" h="194310">
                        <a:moveTo>
                          <a:pt x="0" y="0"/>
                        </a:moveTo>
                        <a:cubicBezTo>
                          <a:pt x="0" y="194310"/>
                          <a:pt x="0" y="194310"/>
                          <a:pt x="0" y="194310"/>
                        </a:cubicBezTo>
                      </a:path>
                    </a:pathLst>
                  </a:custGeom>
                  <a:noFill/>
                  <a:ln w="19050" cap="flat">
                    <a:solidFill>
                      <a:schemeClr val="tx2"/>
                    </a:solidFill>
                    <a:prstDash val="solid"/>
                    <a:round/>
                  </a:ln>
                </p:spPr>
                <p:txBody>
                  <a:bodyPr rtlCol="0" anchor="ctr"/>
                  <a:lstStyle/>
                  <a:p>
                    <a:endParaRPr lang="en-IN"/>
                  </a:p>
                </p:txBody>
              </p:sp>
              <p:grpSp>
                <p:nvGrpSpPr>
                  <p:cNvPr id="60" name="Graphic 70">
                    <a:extLst>
                      <a:ext uri="{FF2B5EF4-FFF2-40B4-BE49-F238E27FC236}">
                        <a16:creationId xmlns:a16="http://schemas.microsoft.com/office/drawing/2014/main" id="{0BE6BD29-3F6C-4C4A-B973-56A5406EA06F}"/>
                      </a:ext>
                    </a:extLst>
                  </p:cNvPr>
                  <p:cNvGrpSpPr/>
                  <p:nvPr/>
                </p:nvGrpSpPr>
                <p:grpSpPr>
                  <a:xfrm>
                    <a:off x="4117302" y="3894026"/>
                    <a:ext cx="467391" cy="359540"/>
                    <a:chOff x="4117302" y="3894026"/>
                    <a:chExt cx="467391" cy="359540"/>
                  </a:xfrm>
                  <a:noFill/>
                </p:grpSpPr>
                <p:sp>
                  <p:nvSpPr>
                    <p:cNvPr id="61" name="Freeform: Shape 60">
                      <a:extLst>
                        <a:ext uri="{FF2B5EF4-FFF2-40B4-BE49-F238E27FC236}">
                          <a16:creationId xmlns:a16="http://schemas.microsoft.com/office/drawing/2014/main" id="{D0B51CBA-DC45-4E01-9FD7-84FB54955301}"/>
                        </a:ext>
                      </a:extLst>
                    </p:cNvPr>
                    <p:cNvSpPr/>
                    <p:nvPr/>
                  </p:nvSpPr>
                  <p:spPr>
                    <a:xfrm>
                      <a:off x="4117302" y="3894026"/>
                      <a:ext cx="467391" cy="233267"/>
                    </a:xfrm>
                    <a:custGeom>
                      <a:avLst/>
                      <a:gdLst>
                        <a:gd name="connsiteX0" fmla="*/ 128587 w 467391"/>
                        <a:gd name="connsiteY0" fmla="*/ 51911 h 233267"/>
                        <a:gd name="connsiteX1" fmla="*/ 231553 w 467391"/>
                        <a:gd name="connsiteY1" fmla="*/ 0 h 233267"/>
                        <a:gd name="connsiteX2" fmla="*/ 467392 w 467391"/>
                        <a:gd name="connsiteY2" fmla="*/ 120967 h 233267"/>
                        <a:gd name="connsiteX3" fmla="*/ 231553 w 467391"/>
                        <a:gd name="connsiteY3" fmla="*/ 233267 h 233267"/>
                        <a:gd name="connsiteX4" fmla="*/ 0 w 467391"/>
                        <a:gd name="connsiteY4" fmla="*/ 120967 h 233267"/>
                        <a:gd name="connsiteX5" fmla="*/ 128587 w 467391"/>
                        <a:gd name="connsiteY5" fmla="*/ 51911 h 233267"/>
                        <a:gd name="connsiteX6" fmla="*/ 128587 w 467391"/>
                        <a:gd name="connsiteY6" fmla="*/ 51911 h 233267"/>
                        <a:gd name="connsiteX7" fmla="*/ 128587 w 467391"/>
                        <a:gd name="connsiteY7" fmla="*/ 51911 h 233267"/>
                        <a:gd name="connsiteX8" fmla="*/ 128587 w 467391"/>
                        <a:gd name="connsiteY8" fmla="*/ 51911 h 233267"/>
                        <a:gd name="connsiteX9" fmla="*/ 128587 w 467391"/>
                        <a:gd name="connsiteY9" fmla="*/ 51911 h 233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7391" h="233267">
                          <a:moveTo>
                            <a:pt x="128587" y="51911"/>
                          </a:moveTo>
                          <a:cubicBezTo>
                            <a:pt x="231553" y="0"/>
                            <a:pt x="231553" y="0"/>
                            <a:pt x="231553" y="0"/>
                          </a:cubicBezTo>
                          <a:cubicBezTo>
                            <a:pt x="467392" y="120967"/>
                            <a:pt x="467392" y="120967"/>
                            <a:pt x="467392" y="120967"/>
                          </a:cubicBezTo>
                          <a:cubicBezTo>
                            <a:pt x="231553" y="233267"/>
                            <a:pt x="231553" y="233267"/>
                            <a:pt x="231553" y="233267"/>
                          </a:cubicBezTo>
                          <a:cubicBezTo>
                            <a:pt x="0" y="120967"/>
                            <a:pt x="0" y="120967"/>
                            <a:pt x="0" y="120967"/>
                          </a:cubicBezTo>
                          <a:cubicBezTo>
                            <a:pt x="128587" y="51911"/>
                            <a:pt x="128587" y="51911"/>
                            <a:pt x="128587" y="51911"/>
                          </a:cubicBezTo>
                          <a:lnTo>
                            <a:pt x="128587" y="51911"/>
                          </a:lnTo>
                          <a:lnTo>
                            <a:pt x="128587" y="51911"/>
                          </a:lnTo>
                          <a:lnTo>
                            <a:pt x="128587" y="51911"/>
                          </a:lnTo>
                          <a:lnTo>
                            <a:pt x="128587" y="51911"/>
                          </a:lnTo>
                          <a:close/>
                        </a:path>
                      </a:pathLst>
                    </a:custGeom>
                    <a:noFill/>
                    <a:ln w="19050" cap="flat">
                      <a:solidFill>
                        <a:schemeClr val="tx2"/>
                      </a:solidFill>
                      <a:prstDash val="solid"/>
                      <a:round/>
                    </a:ln>
                  </p:spPr>
                  <p:txBody>
                    <a:bodyPr rtlCol="0" anchor="ctr"/>
                    <a:lstStyle/>
                    <a:p>
                      <a:endParaRPr lang="en-IN"/>
                    </a:p>
                  </p:txBody>
                </p:sp>
                <p:sp>
                  <p:nvSpPr>
                    <p:cNvPr id="62" name="Freeform: Shape 61">
                      <a:extLst>
                        <a:ext uri="{FF2B5EF4-FFF2-40B4-BE49-F238E27FC236}">
                          <a16:creationId xmlns:a16="http://schemas.microsoft.com/office/drawing/2014/main" id="{BFD526C8-B545-44AB-8AEF-A93072B0E727}"/>
                        </a:ext>
                      </a:extLst>
                    </p:cNvPr>
                    <p:cNvSpPr/>
                    <p:nvPr/>
                  </p:nvSpPr>
                  <p:spPr>
                    <a:xfrm>
                      <a:off x="4195026" y="4071830"/>
                      <a:ext cx="299466" cy="181736"/>
                    </a:xfrm>
                    <a:custGeom>
                      <a:avLst/>
                      <a:gdLst>
                        <a:gd name="connsiteX0" fmla="*/ 25337 w 299466"/>
                        <a:gd name="connsiteY0" fmla="*/ 0 h 181736"/>
                        <a:gd name="connsiteX1" fmla="*/ 0 w 299466"/>
                        <a:gd name="connsiteY1" fmla="*/ 101346 h 181736"/>
                        <a:gd name="connsiteX2" fmla="*/ 151829 w 299466"/>
                        <a:gd name="connsiteY2" fmla="*/ 181737 h 181736"/>
                        <a:gd name="connsiteX3" fmla="*/ 299466 w 299466"/>
                        <a:gd name="connsiteY3" fmla="*/ 101346 h 181736"/>
                        <a:gd name="connsiteX4" fmla="*/ 274130 w 299466"/>
                        <a:gd name="connsiteY4" fmla="*/ 0 h 181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466" h="181736">
                          <a:moveTo>
                            <a:pt x="25337" y="0"/>
                          </a:moveTo>
                          <a:cubicBezTo>
                            <a:pt x="0" y="33814"/>
                            <a:pt x="0" y="101346"/>
                            <a:pt x="0" y="101346"/>
                          </a:cubicBezTo>
                          <a:cubicBezTo>
                            <a:pt x="151829" y="181737"/>
                            <a:pt x="151829" y="181737"/>
                            <a:pt x="151829" y="181737"/>
                          </a:cubicBezTo>
                          <a:cubicBezTo>
                            <a:pt x="299466" y="101346"/>
                            <a:pt x="299466" y="101346"/>
                            <a:pt x="299466" y="101346"/>
                          </a:cubicBezTo>
                          <a:cubicBezTo>
                            <a:pt x="299466" y="101346"/>
                            <a:pt x="299466" y="37909"/>
                            <a:pt x="274130" y="0"/>
                          </a:cubicBezTo>
                        </a:path>
                      </a:pathLst>
                    </a:custGeom>
                    <a:noFill/>
                    <a:ln w="19050" cap="flat">
                      <a:solidFill>
                        <a:schemeClr val="tx2"/>
                      </a:solidFill>
                      <a:prstDash val="solid"/>
                      <a:round/>
                    </a:ln>
                  </p:spPr>
                  <p:txBody>
                    <a:bodyPr rtlCol="0" anchor="ctr"/>
                    <a:lstStyle/>
                    <a:p>
                      <a:endParaRPr lang="en-IN"/>
                    </a:p>
                  </p:txBody>
                </p:sp>
              </p:grpSp>
            </p:grpSp>
          </p:grpSp>
        </p:grpSp>
      </p:grpSp>
    </p:spTree>
    <p:extLst>
      <p:ext uri="{BB962C8B-B14F-4D97-AF65-F5344CB8AC3E}">
        <p14:creationId xmlns:p14="http://schemas.microsoft.com/office/powerpoint/2010/main" val="114845683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1">
            <a:extLst>
              <a:ext uri="{FF2B5EF4-FFF2-40B4-BE49-F238E27FC236}">
                <a16:creationId xmlns:a16="http://schemas.microsoft.com/office/drawing/2014/main" id="{39132CF2-7B04-4035-B606-821B4F938C65}"/>
              </a:ext>
            </a:extLst>
          </p:cNvPr>
          <p:cNvSpPr>
            <a:spLocks noGrp="1"/>
          </p:cNvSpPr>
          <p:nvPr>
            <p:ph type="title"/>
          </p:nvPr>
        </p:nvSpPr>
        <p:spPr>
          <a:xfrm>
            <a:off x="457200" y="502479"/>
            <a:ext cx="11520487" cy="1127339"/>
          </a:xfrm>
        </p:spPr>
        <p:txBody>
          <a:bodyPr/>
          <a:lstStyle/>
          <a:p>
            <a:r>
              <a:rPr lang="en-US">
                <a:solidFill>
                  <a:schemeClr val="tx2"/>
                </a:solidFill>
                <a:latin typeface="Segoe UI Semibold" panose="020B0702040204020203" pitchFamily="34" charset="0"/>
                <a:cs typeface="Segoe UI Semibold" panose="020B0702040204020203" pitchFamily="34" charset="0"/>
              </a:rPr>
              <a:t>Empower students </a:t>
            </a:r>
            <a:r>
              <a:rPr lang="en-US"/>
              <a:t>with devices built for </a:t>
            </a:r>
            <a:br>
              <a:rPr lang="en-US"/>
            </a:br>
            <a:r>
              <a:rPr lang="en-US"/>
              <a:t>learning anywhere</a:t>
            </a:r>
          </a:p>
        </p:txBody>
      </p:sp>
      <p:sp>
        <p:nvSpPr>
          <p:cNvPr id="69" name="Oval 68">
            <a:extLst>
              <a:ext uri="{FF2B5EF4-FFF2-40B4-BE49-F238E27FC236}">
                <a16:creationId xmlns:a16="http://schemas.microsoft.com/office/drawing/2014/main" id="{0CB652E5-B95F-4C6B-8764-2E635ED39605}"/>
              </a:ext>
              <a:ext uri="{C183D7F6-B498-43B3-948B-1728B52AA6E4}">
                <adec:decorative xmlns:adec="http://schemas.microsoft.com/office/drawing/2017/decorative" val="1"/>
              </a:ext>
            </a:extLst>
          </p:cNvPr>
          <p:cNvSpPr/>
          <p:nvPr/>
        </p:nvSpPr>
        <p:spPr bwMode="auto">
          <a:xfrm>
            <a:off x="3783014" y="1828800"/>
            <a:ext cx="4868862" cy="4868862"/>
          </a:xfrm>
          <a:prstGeom prst="ellipse">
            <a:avLst/>
          </a:prstGeom>
          <a:solidFill>
            <a:schemeClr val="bg1"/>
          </a:solidFill>
          <a:ln w="1905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grpSp>
        <p:nvGrpSpPr>
          <p:cNvPr id="52" name="Group 51">
            <a:extLst>
              <a:ext uri="{FF2B5EF4-FFF2-40B4-BE49-F238E27FC236}">
                <a16:creationId xmlns:a16="http://schemas.microsoft.com/office/drawing/2014/main" id="{844A1E8F-F74B-4126-A23A-E274C36F1C03}"/>
              </a:ext>
              <a:ext uri="{C183D7F6-B498-43B3-948B-1728B52AA6E4}">
                <adec:decorative xmlns:adec="http://schemas.microsoft.com/office/drawing/2017/decorative" val="1"/>
              </a:ext>
            </a:extLst>
          </p:cNvPr>
          <p:cNvGrpSpPr/>
          <p:nvPr/>
        </p:nvGrpSpPr>
        <p:grpSpPr>
          <a:xfrm>
            <a:off x="11488324" y="162790"/>
            <a:ext cx="777240" cy="778243"/>
            <a:chOff x="1517398" y="3231556"/>
            <a:chExt cx="1466268" cy="1466264"/>
          </a:xfrm>
        </p:grpSpPr>
        <p:sp>
          <p:nvSpPr>
            <p:cNvPr id="53" name="Oval 52">
              <a:extLst>
                <a:ext uri="{FF2B5EF4-FFF2-40B4-BE49-F238E27FC236}">
                  <a16:creationId xmlns:a16="http://schemas.microsoft.com/office/drawing/2014/main" id="{DEA0EC4C-5F7A-4B06-B0BC-5ABB38C73352}"/>
                </a:ext>
              </a:extLst>
            </p:cNvPr>
            <p:cNvSpPr/>
            <p:nvPr/>
          </p:nvSpPr>
          <p:spPr bwMode="auto">
            <a:xfrm>
              <a:off x="1517398" y="3231556"/>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nvGrpSpPr>
            <p:cNvPr id="55" name="Group 54">
              <a:extLst>
                <a:ext uri="{FF2B5EF4-FFF2-40B4-BE49-F238E27FC236}">
                  <a16:creationId xmlns:a16="http://schemas.microsoft.com/office/drawing/2014/main" id="{85207E15-A22B-4ED1-AEDB-13DF89A9EE67}"/>
                </a:ext>
              </a:extLst>
            </p:cNvPr>
            <p:cNvGrpSpPr/>
            <p:nvPr/>
          </p:nvGrpSpPr>
          <p:grpSpPr>
            <a:xfrm>
              <a:off x="1867655" y="3505713"/>
              <a:ext cx="765754" cy="917950"/>
              <a:chOff x="1867655" y="3505713"/>
              <a:chExt cx="765754" cy="917950"/>
            </a:xfrm>
          </p:grpSpPr>
          <p:sp>
            <p:nvSpPr>
              <p:cNvPr id="56" name="Freeform: Shape 55">
                <a:extLst>
                  <a:ext uri="{FF2B5EF4-FFF2-40B4-BE49-F238E27FC236}">
                    <a16:creationId xmlns:a16="http://schemas.microsoft.com/office/drawing/2014/main" id="{0B8CC05A-5091-47AB-852A-421287EFDA60}"/>
                  </a:ext>
                </a:extLst>
              </p:cNvPr>
              <p:cNvSpPr/>
              <p:nvPr/>
            </p:nvSpPr>
            <p:spPr>
              <a:xfrm>
                <a:off x="2117907" y="3505713"/>
                <a:ext cx="248887" cy="335759"/>
              </a:xfrm>
              <a:custGeom>
                <a:avLst/>
                <a:gdLst>
                  <a:gd name="connsiteX0" fmla="*/ 164021 w 173831"/>
                  <a:gd name="connsiteY0" fmla="*/ 231172 h 234505"/>
                  <a:gd name="connsiteX1" fmla="*/ 173831 w 173831"/>
                  <a:gd name="connsiteY1" fmla="*/ 174784 h 234505"/>
                  <a:gd name="connsiteX2" fmla="*/ 0 w 173831"/>
                  <a:gd name="connsiteY2" fmla="*/ 0 h 234505"/>
                  <a:gd name="connsiteX3" fmla="*/ 88487 w 173831"/>
                  <a:gd name="connsiteY3" fmla="*/ 174784 h 234505"/>
                  <a:gd name="connsiteX4" fmla="*/ 83058 w 173831"/>
                  <a:gd name="connsiteY4" fmla="*/ 234506 h 234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831" h="234505">
                    <a:moveTo>
                      <a:pt x="164021" y="231172"/>
                    </a:moveTo>
                    <a:cubicBezTo>
                      <a:pt x="170212" y="213455"/>
                      <a:pt x="173831" y="194596"/>
                      <a:pt x="173831" y="174784"/>
                    </a:cubicBezTo>
                    <a:cubicBezTo>
                      <a:pt x="173831" y="78010"/>
                      <a:pt x="95822" y="0"/>
                      <a:pt x="0" y="0"/>
                    </a:cubicBezTo>
                    <a:cubicBezTo>
                      <a:pt x="48863" y="0"/>
                      <a:pt x="88487" y="78010"/>
                      <a:pt x="88487" y="174784"/>
                    </a:cubicBezTo>
                    <a:cubicBezTo>
                      <a:pt x="88487" y="195739"/>
                      <a:pt x="86487" y="215837"/>
                      <a:pt x="83058" y="234506"/>
                    </a:cubicBezTo>
                  </a:path>
                </a:pathLst>
              </a:custGeom>
              <a:noFill/>
              <a:ln w="19050" cap="flat">
                <a:solidFill>
                  <a:schemeClr val="tx2"/>
                </a:solidFill>
                <a:prstDash val="solid"/>
                <a:round/>
              </a:ln>
            </p:spPr>
            <p:txBody>
              <a:bodyPr rtlCol="0" anchor="ctr"/>
              <a:lstStyle/>
              <a:p>
                <a:endParaRPr lang="en-IN"/>
              </a:p>
            </p:txBody>
          </p:sp>
          <p:sp>
            <p:nvSpPr>
              <p:cNvPr id="58" name="Freeform: Shape 57">
                <a:extLst>
                  <a:ext uri="{FF2B5EF4-FFF2-40B4-BE49-F238E27FC236}">
                    <a16:creationId xmlns:a16="http://schemas.microsoft.com/office/drawing/2014/main" id="{A49F4BA8-8C77-4070-BBB9-A23C85A17470}"/>
                  </a:ext>
                </a:extLst>
              </p:cNvPr>
              <p:cNvSpPr/>
              <p:nvPr/>
            </p:nvSpPr>
            <p:spPr>
              <a:xfrm>
                <a:off x="1867655" y="3505713"/>
                <a:ext cx="250386" cy="463135"/>
              </a:xfrm>
              <a:custGeom>
                <a:avLst/>
                <a:gdLst>
                  <a:gd name="connsiteX0" fmla="*/ 116300 w 174878"/>
                  <a:gd name="connsiteY0" fmla="*/ 306419 h 323469"/>
                  <a:gd name="connsiteX1" fmla="*/ 85344 w 174878"/>
                  <a:gd name="connsiteY1" fmla="*/ 174784 h 323469"/>
                  <a:gd name="connsiteX2" fmla="*/ 174879 w 174878"/>
                  <a:gd name="connsiteY2" fmla="*/ 0 h 323469"/>
                  <a:gd name="connsiteX3" fmla="*/ 0 w 174878"/>
                  <a:gd name="connsiteY3" fmla="*/ 174784 h 323469"/>
                  <a:gd name="connsiteX4" fmla="*/ 84868 w 174878"/>
                  <a:gd name="connsiteY4" fmla="*/ 323469 h 32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78" h="323469">
                    <a:moveTo>
                      <a:pt x="116300" y="306419"/>
                    </a:moveTo>
                    <a:cubicBezTo>
                      <a:pt x="97250" y="274606"/>
                      <a:pt x="85344" y="227362"/>
                      <a:pt x="85344" y="174784"/>
                    </a:cubicBezTo>
                    <a:cubicBezTo>
                      <a:pt x="85344" y="78010"/>
                      <a:pt x="124873" y="0"/>
                      <a:pt x="174879" y="0"/>
                    </a:cubicBezTo>
                    <a:cubicBezTo>
                      <a:pt x="78010" y="0"/>
                      <a:pt x="0" y="78010"/>
                      <a:pt x="0" y="174784"/>
                    </a:cubicBezTo>
                    <a:cubicBezTo>
                      <a:pt x="0" y="237935"/>
                      <a:pt x="34004" y="293180"/>
                      <a:pt x="84868" y="323469"/>
                    </a:cubicBezTo>
                  </a:path>
                </a:pathLst>
              </a:custGeom>
              <a:noFill/>
              <a:ln w="19050" cap="flat">
                <a:solidFill>
                  <a:schemeClr val="tx2"/>
                </a:solidFill>
                <a:prstDash val="solid"/>
                <a:round/>
              </a:ln>
            </p:spPr>
            <p:txBody>
              <a:bodyPr rtlCol="0" anchor="ctr"/>
              <a:lstStyle/>
              <a:p>
                <a:endParaRPr lang="en-IN"/>
              </a:p>
            </p:txBody>
          </p:sp>
          <p:sp>
            <p:nvSpPr>
              <p:cNvPr id="59" name="Freeform: Shape 58">
                <a:extLst>
                  <a:ext uri="{FF2B5EF4-FFF2-40B4-BE49-F238E27FC236}">
                    <a16:creationId xmlns:a16="http://schemas.microsoft.com/office/drawing/2014/main" id="{E9F89E7B-808B-4B31-8940-C2A2A37FDFA7}"/>
                  </a:ext>
                </a:extLst>
              </p:cNvPr>
              <p:cNvSpPr/>
              <p:nvPr/>
            </p:nvSpPr>
            <p:spPr>
              <a:xfrm>
                <a:off x="1879520" y="3678503"/>
                <a:ext cx="475272" cy="13638"/>
              </a:xfrm>
              <a:custGeom>
                <a:avLst/>
                <a:gdLst>
                  <a:gd name="connsiteX0" fmla="*/ 0 w 331946"/>
                  <a:gd name="connsiteY0" fmla="*/ 0 h 9525"/>
                  <a:gd name="connsiteX1" fmla="*/ 331946 w 331946"/>
                  <a:gd name="connsiteY1" fmla="*/ 0 h 9525"/>
                </a:gdLst>
                <a:ahLst/>
                <a:cxnLst>
                  <a:cxn ang="0">
                    <a:pos x="connsiteX0" y="connsiteY0"/>
                  </a:cxn>
                  <a:cxn ang="0">
                    <a:pos x="connsiteX1" y="connsiteY1"/>
                  </a:cxn>
                </a:cxnLst>
                <a:rect l="l" t="t" r="r" b="b"/>
                <a:pathLst>
                  <a:path w="331946" h="9525">
                    <a:moveTo>
                      <a:pt x="0" y="0"/>
                    </a:moveTo>
                    <a:cubicBezTo>
                      <a:pt x="331946" y="0"/>
                      <a:pt x="331946" y="0"/>
                      <a:pt x="331946" y="0"/>
                    </a:cubicBezTo>
                  </a:path>
                </a:pathLst>
              </a:custGeom>
              <a:noFill/>
              <a:ln w="19050" cap="flat">
                <a:solidFill>
                  <a:schemeClr val="tx2"/>
                </a:solidFill>
                <a:prstDash val="solid"/>
                <a:round/>
              </a:ln>
            </p:spPr>
            <p:txBody>
              <a:bodyPr rtlCol="0" anchor="ctr"/>
              <a:lstStyle/>
              <a:p>
                <a:endParaRPr lang="en-IN"/>
              </a:p>
            </p:txBody>
          </p:sp>
          <p:sp>
            <p:nvSpPr>
              <p:cNvPr id="60" name="Freeform: Shape 59">
                <a:extLst>
                  <a:ext uri="{FF2B5EF4-FFF2-40B4-BE49-F238E27FC236}">
                    <a16:creationId xmlns:a16="http://schemas.microsoft.com/office/drawing/2014/main" id="{71ECA7C4-A6B5-40BE-94DD-A324E0D27D54}"/>
                  </a:ext>
                </a:extLst>
              </p:cNvPr>
              <p:cNvSpPr/>
              <p:nvPr/>
            </p:nvSpPr>
            <p:spPr>
              <a:xfrm>
                <a:off x="1881021" y="3834927"/>
                <a:ext cx="355397" cy="13638"/>
              </a:xfrm>
              <a:custGeom>
                <a:avLst/>
                <a:gdLst>
                  <a:gd name="connsiteX0" fmla="*/ 0 w 248221"/>
                  <a:gd name="connsiteY0" fmla="*/ 0 h 9525"/>
                  <a:gd name="connsiteX1" fmla="*/ 248222 w 248221"/>
                  <a:gd name="connsiteY1" fmla="*/ 0 h 9525"/>
                </a:gdLst>
                <a:ahLst/>
                <a:cxnLst>
                  <a:cxn ang="0">
                    <a:pos x="connsiteX0" y="connsiteY0"/>
                  </a:cxn>
                  <a:cxn ang="0">
                    <a:pos x="connsiteX1" y="connsiteY1"/>
                  </a:cxn>
                </a:cxnLst>
                <a:rect l="l" t="t" r="r" b="b"/>
                <a:pathLst>
                  <a:path w="248221" h="9525">
                    <a:moveTo>
                      <a:pt x="0" y="0"/>
                    </a:moveTo>
                    <a:cubicBezTo>
                      <a:pt x="122777" y="0"/>
                      <a:pt x="199835" y="0"/>
                      <a:pt x="248222" y="0"/>
                    </a:cubicBezTo>
                  </a:path>
                </a:pathLst>
              </a:custGeom>
              <a:noFill/>
              <a:ln w="19050" cap="flat">
                <a:solidFill>
                  <a:schemeClr val="tx2"/>
                </a:solidFill>
                <a:prstDash val="solid"/>
                <a:round/>
              </a:ln>
            </p:spPr>
            <p:txBody>
              <a:bodyPr rtlCol="0" anchor="ctr"/>
              <a:lstStyle/>
              <a:p>
                <a:endParaRPr lang="en-IN"/>
              </a:p>
            </p:txBody>
          </p:sp>
          <p:grpSp>
            <p:nvGrpSpPr>
              <p:cNvPr id="61" name="Graphic 70">
                <a:extLst>
                  <a:ext uri="{FF2B5EF4-FFF2-40B4-BE49-F238E27FC236}">
                    <a16:creationId xmlns:a16="http://schemas.microsoft.com/office/drawing/2014/main" id="{4E548C1C-5D0A-4900-8C7E-C4E696C80904}"/>
                  </a:ext>
                </a:extLst>
              </p:cNvPr>
              <p:cNvGrpSpPr/>
              <p:nvPr/>
            </p:nvGrpSpPr>
            <p:grpSpPr>
              <a:xfrm>
                <a:off x="1927798" y="3811606"/>
                <a:ext cx="705611" cy="612057"/>
                <a:chOff x="4091871" y="3894026"/>
                <a:chExt cx="492822" cy="427481"/>
              </a:xfrm>
              <a:noFill/>
            </p:grpSpPr>
            <p:sp>
              <p:nvSpPr>
                <p:cNvPr id="62" name="Freeform: Shape 61">
                  <a:extLst>
                    <a:ext uri="{FF2B5EF4-FFF2-40B4-BE49-F238E27FC236}">
                      <a16:creationId xmlns:a16="http://schemas.microsoft.com/office/drawing/2014/main" id="{67CC1919-9D75-4BAD-9E55-6907961F73B2}"/>
                    </a:ext>
                  </a:extLst>
                </p:cNvPr>
                <p:cNvSpPr/>
                <p:nvPr/>
              </p:nvSpPr>
              <p:spPr>
                <a:xfrm>
                  <a:off x="4091871" y="4217495"/>
                  <a:ext cx="91439" cy="104012"/>
                </a:xfrm>
                <a:custGeom>
                  <a:avLst/>
                  <a:gdLst>
                    <a:gd name="connsiteX0" fmla="*/ 91440 w 91439"/>
                    <a:gd name="connsiteY0" fmla="*/ 104013 h 104012"/>
                    <a:gd name="connsiteX1" fmla="*/ 91440 w 91439"/>
                    <a:gd name="connsiteY1" fmla="*/ 37433 h 104012"/>
                    <a:gd name="connsiteX2" fmla="*/ 45720 w 91439"/>
                    <a:gd name="connsiteY2" fmla="*/ 0 h 104012"/>
                    <a:gd name="connsiteX3" fmla="*/ 45720 w 91439"/>
                    <a:gd name="connsiteY3" fmla="*/ 0 h 104012"/>
                    <a:gd name="connsiteX4" fmla="*/ 0 w 91439"/>
                    <a:gd name="connsiteY4" fmla="*/ 37433 h 104012"/>
                    <a:gd name="connsiteX5" fmla="*/ 0 w 91439"/>
                    <a:gd name="connsiteY5" fmla="*/ 104013 h 104012"/>
                    <a:gd name="connsiteX6" fmla="*/ 91440 w 91439"/>
                    <a:gd name="connsiteY6" fmla="*/ 104013 h 104012"/>
                    <a:gd name="connsiteX7" fmla="*/ 91440 w 91439"/>
                    <a:gd name="connsiteY7" fmla="*/ 104013 h 104012"/>
                    <a:gd name="connsiteX8" fmla="*/ 91440 w 91439"/>
                    <a:gd name="connsiteY8" fmla="*/ 104013 h 104012"/>
                    <a:gd name="connsiteX9" fmla="*/ 91440 w 91439"/>
                    <a:gd name="connsiteY9" fmla="*/ 104013 h 104012"/>
                    <a:gd name="connsiteX10" fmla="*/ 91440 w 91439"/>
                    <a:gd name="connsiteY10" fmla="*/ 104013 h 10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39" h="104012">
                      <a:moveTo>
                        <a:pt x="91440" y="104013"/>
                      </a:moveTo>
                      <a:cubicBezTo>
                        <a:pt x="91440" y="37433"/>
                        <a:pt x="91440" y="37433"/>
                        <a:pt x="91440" y="37433"/>
                      </a:cubicBezTo>
                      <a:cubicBezTo>
                        <a:pt x="91440" y="16669"/>
                        <a:pt x="68485" y="0"/>
                        <a:pt x="45720" y="0"/>
                      </a:cubicBezTo>
                      <a:lnTo>
                        <a:pt x="45720" y="0"/>
                      </a:lnTo>
                      <a:cubicBezTo>
                        <a:pt x="18383" y="0"/>
                        <a:pt x="0" y="16669"/>
                        <a:pt x="0" y="37433"/>
                      </a:cubicBezTo>
                      <a:cubicBezTo>
                        <a:pt x="0" y="104013"/>
                        <a:pt x="0" y="104013"/>
                        <a:pt x="0" y="104013"/>
                      </a:cubicBezTo>
                      <a:cubicBezTo>
                        <a:pt x="91440" y="104013"/>
                        <a:pt x="91440" y="104013"/>
                        <a:pt x="91440" y="104013"/>
                      </a:cubicBezTo>
                      <a:lnTo>
                        <a:pt x="91440" y="104013"/>
                      </a:lnTo>
                      <a:lnTo>
                        <a:pt x="91440" y="104013"/>
                      </a:lnTo>
                      <a:lnTo>
                        <a:pt x="91440" y="104013"/>
                      </a:lnTo>
                      <a:lnTo>
                        <a:pt x="91440" y="104013"/>
                      </a:lnTo>
                      <a:close/>
                    </a:path>
                  </a:pathLst>
                </a:custGeom>
                <a:noFill/>
                <a:ln w="19050" cap="flat">
                  <a:solidFill>
                    <a:schemeClr val="tx2"/>
                  </a:solidFill>
                  <a:prstDash val="solid"/>
                  <a:round/>
                </a:ln>
              </p:spPr>
              <p:txBody>
                <a:bodyPr rtlCol="0" anchor="ctr"/>
                <a:lstStyle/>
                <a:p>
                  <a:endParaRPr lang="en-IN"/>
                </a:p>
              </p:txBody>
            </p:sp>
            <p:grpSp>
              <p:nvGrpSpPr>
                <p:cNvPr id="63" name="Graphic 70">
                  <a:extLst>
                    <a:ext uri="{FF2B5EF4-FFF2-40B4-BE49-F238E27FC236}">
                      <a16:creationId xmlns:a16="http://schemas.microsoft.com/office/drawing/2014/main" id="{2FE66141-2A10-4DB1-8D40-61B7AA3BDF7F}"/>
                    </a:ext>
                  </a:extLst>
                </p:cNvPr>
                <p:cNvGrpSpPr/>
                <p:nvPr/>
              </p:nvGrpSpPr>
              <p:grpSpPr>
                <a:xfrm>
                  <a:off x="4117302" y="3894026"/>
                  <a:ext cx="467391" cy="359540"/>
                  <a:chOff x="4117302" y="3894026"/>
                  <a:chExt cx="467391" cy="359540"/>
                </a:xfrm>
                <a:noFill/>
              </p:grpSpPr>
              <p:sp>
                <p:nvSpPr>
                  <p:cNvPr id="64" name="Freeform: Shape 63">
                    <a:extLst>
                      <a:ext uri="{FF2B5EF4-FFF2-40B4-BE49-F238E27FC236}">
                        <a16:creationId xmlns:a16="http://schemas.microsoft.com/office/drawing/2014/main" id="{CBA09961-6060-4779-A1ED-B0069C387480}"/>
                      </a:ext>
                    </a:extLst>
                  </p:cNvPr>
                  <p:cNvSpPr/>
                  <p:nvPr/>
                </p:nvSpPr>
                <p:spPr>
                  <a:xfrm>
                    <a:off x="4130733" y="4023185"/>
                    <a:ext cx="9525" cy="194310"/>
                  </a:xfrm>
                  <a:custGeom>
                    <a:avLst/>
                    <a:gdLst>
                      <a:gd name="connsiteX0" fmla="*/ 0 w 9525"/>
                      <a:gd name="connsiteY0" fmla="*/ 0 h 194310"/>
                      <a:gd name="connsiteX1" fmla="*/ 0 w 9525"/>
                      <a:gd name="connsiteY1" fmla="*/ 194310 h 194310"/>
                    </a:gdLst>
                    <a:ahLst/>
                    <a:cxnLst>
                      <a:cxn ang="0">
                        <a:pos x="connsiteX0" y="connsiteY0"/>
                      </a:cxn>
                      <a:cxn ang="0">
                        <a:pos x="connsiteX1" y="connsiteY1"/>
                      </a:cxn>
                    </a:cxnLst>
                    <a:rect l="l" t="t" r="r" b="b"/>
                    <a:pathLst>
                      <a:path w="9525" h="194310">
                        <a:moveTo>
                          <a:pt x="0" y="0"/>
                        </a:moveTo>
                        <a:cubicBezTo>
                          <a:pt x="0" y="194310"/>
                          <a:pt x="0" y="194310"/>
                          <a:pt x="0" y="194310"/>
                        </a:cubicBezTo>
                      </a:path>
                    </a:pathLst>
                  </a:custGeom>
                  <a:noFill/>
                  <a:ln w="19050" cap="flat">
                    <a:solidFill>
                      <a:schemeClr val="tx2"/>
                    </a:solidFill>
                    <a:prstDash val="solid"/>
                    <a:round/>
                  </a:ln>
                </p:spPr>
                <p:txBody>
                  <a:bodyPr rtlCol="0" anchor="ctr"/>
                  <a:lstStyle/>
                  <a:p>
                    <a:endParaRPr lang="en-IN"/>
                  </a:p>
                </p:txBody>
              </p:sp>
              <p:grpSp>
                <p:nvGrpSpPr>
                  <p:cNvPr id="65" name="Graphic 70">
                    <a:extLst>
                      <a:ext uri="{FF2B5EF4-FFF2-40B4-BE49-F238E27FC236}">
                        <a16:creationId xmlns:a16="http://schemas.microsoft.com/office/drawing/2014/main" id="{EADB1E5B-D652-4662-B365-18CAB4BC84E0}"/>
                      </a:ext>
                    </a:extLst>
                  </p:cNvPr>
                  <p:cNvGrpSpPr/>
                  <p:nvPr/>
                </p:nvGrpSpPr>
                <p:grpSpPr>
                  <a:xfrm>
                    <a:off x="4117302" y="3894026"/>
                    <a:ext cx="467391" cy="359540"/>
                    <a:chOff x="4117302" y="3894026"/>
                    <a:chExt cx="467391" cy="359540"/>
                  </a:xfrm>
                  <a:noFill/>
                </p:grpSpPr>
                <p:sp>
                  <p:nvSpPr>
                    <p:cNvPr id="66" name="Freeform: Shape 65">
                      <a:extLst>
                        <a:ext uri="{FF2B5EF4-FFF2-40B4-BE49-F238E27FC236}">
                          <a16:creationId xmlns:a16="http://schemas.microsoft.com/office/drawing/2014/main" id="{9295651A-FFB2-43DC-8561-1CD1B6E79D94}"/>
                        </a:ext>
                      </a:extLst>
                    </p:cNvPr>
                    <p:cNvSpPr/>
                    <p:nvPr/>
                  </p:nvSpPr>
                  <p:spPr>
                    <a:xfrm>
                      <a:off x="4117302" y="3894026"/>
                      <a:ext cx="467391" cy="233267"/>
                    </a:xfrm>
                    <a:custGeom>
                      <a:avLst/>
                      <a:gdLst>
                        <a:gd name="connsiteX0" fmla="*/ 128587 w 467391"/>
                        <a:gd name="connsiteY0" fmla="*/ 51911 h 233267"/>
                        <a:gd name="connsiteX1" fmla="*/ 231553 w 467391"/>
                        <a:gd name="connsiteY1" fmla="*/ 0 h 233267"/>
                        <a:gd name="connsiteX2" fmla="*/ 467392 w 467391"/>
                        <a:gd name="connsiteY2" fmla="*/ 120967 h 233267"/>
                        <a:gd name="connsiteX3" fmla="*/ 231553 w 467391"/>
                        <a:gd name="connsiteY3" fmla="*/ 233267 h 233267"/>
                        <a:gd name="connsiteX4" fmla="*/ 0 w 467391"/>
                        <a:gd name="connsiteY4" fmla="*/ 120967 h 233267"/>
                        <a:gd name="connsiteX5" fmla="*/ 128587 w 467391"/>
                        <a:gd name="connsiteY5" fmla="*/ 51911 h 233267"/>
                        <a:gd name="connsiteX6" fmla="*/ 128587 w 467391"/>
                        <a:gd name="connsiteY6" fmla="*/ 51911 h 233267"/>
                        <a:gd name="connsiteX7" fmla="*/ 128587 w 467391"/>
                        <a:gd name="connsiteY7" fmla="*/ 51911 h 233267"/>
                        <a:gd name="connsiteX8" fmla="*/ 128587 w 467391"/>
                        <a:gd name="connsiteY8" fmla="*/ 51911 h 233267"/>
                        <a:gd name="connsiteX9" fmla="*/ 128587 w 467391"/>
                        <a:gd name="connsiteY9" fmla="*/ 51911 h 233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7391" h="233267">
                          <a:moveTo>
                            <a:pt x="128587" y="51911"/>
                          </a:moveTo>
                          <a:cubicBezTo>
                            <a:pt x="231553" y="0"/>
                            <a:pt x="231553" y="0"/>
                            <a:pt x="231553" y="0"/>
                          </a:cubicBezTo>
                          <a:cubicBezTo>
                            <a:pt x="467392" y="120967"/>
                            <a:pt x="467392" y="120967"/>
                            <a:pt x="467392" y="120967"/>
                          </a:cubicBezTo>
                          <a:cubicBezTo>
                            <a:pt x="231553" y="233267"/>
                            <a:pt x="231553" y="233267"/>
                            <a:pt x="231553" y="233267"/>
                          </a:cubicBezTo>
                          <a:cubicBezTo>
                            <a:pt x="0" y="120967"/>
                            <a:pt x="0" y="120967"/>
                            <a:pt x="0" y="120967"/>
                          </a:cubicBezTo>
                          <a:cubicBezTo>
                            <a:pt x="128587" y="51911"/>
                            <a:pt x="128587" y="51911"/>
                            <a:pt x="128587" y="51911"/>
                          </a:cubicBezTo>
                          <a:lnTo>
                            <a:pt x="128587" y="51911"/>
                          </a:lnTo>
                          <a:lnTo>
                            <a:pt x="128587" y="51911"/>
                          </a:lnTo>
                          <a:lnTo>
                            <a:pt x="128587" y="51911"/>
                          </a:lnTo>
                          <a:lnTo>
                            <a:pt x="128587" y="51911"/>
                          </a:lnTo>
                          <a:close/>
                        </a:path>
                      </a:pathLst>
                    </a:custGeom>
                    <a:noFill/>
                    <a:ln w="19050" cap="flat">
                      <a:solidFill>
                        <a:schemeClr val="tx2"/>
                      </a:solidFill>
                      <a:prstDash val="solid"/>
                      <a:round/>
                    </a:ln>
                  </p:spPr>
                  <p:txBody>
                    <a:bodyPr rtlCol="0" anchor="ctr"/>
                    <a:lstStyle/>
                    <a:p>
                      <a:endParaRPr lang="en-IN"/>
                    </a:p>
                  </p:txBody>
                </p:sp>
                <p:sp>
                  <p:nvSpPr>
                    <p:cNvPr id="67" name="Freeform: Shape 66">
                      <a:extLst>
                        <a:ext uri="{FF2B5EF4-FFF2-40B4-BE49-F238E27FC236}">
                          <a16:creationId xmlns:a16="http://schemas.microsoft.com/office/drawing/2014/main" id="{432F5B33-D9E8-4417-BF9C-CB5F16A64802}"/>
                        </a:ext>
                      </a:extLst>
                    </p:cNvPr>
                    <p:cNvSpPr/>
                    <p:nvPr/>
                  </p:nvSpPr>
                  <p:spPr>
                    <a:xfrm>
                      <a:off x="4195026" y="4071830"/>
                      <a:ext cx="299466" cy="181736"/>
                    </a:xfrm>
                    <a:custGeom>
                      <a:avLst/>
                      <a:gdLst>
                        <a:gd name="connsiteX0" fmla="*/ 25337 w 299466"/>
                        <a:gd name="connsiteY0" fmla="*/ 0 h 181736"/>
                        <a:gd name="connsiteX1" fmla="*/ 0 w 299466"/>
                        <a:gd name="connsiteY1" fmla="*/ 101346 h 181736"/>
                        <a:gd name="connsiteX2" fmla="*/ 151829 w 299466"/>
                        <a:gd name="connsiteY2" fmla="*/ 181737 h 181736"/>
                        <a:gd name="connsiteX3" fmla="*/ 299466 w 299466"/>
                        <a:gd name="connsiteY3" fmla="*/ 101346 h 181736"/>
                        <a:gd name="connsiteX4" fmla="*/ 274130 w 299466"/>
                        <a:gd name="connsiteY4" fmla="*/ 0 h 181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466" h="181736">
                          <a:moveTo>
                            <a:pt x="25337" y="0"/>
                          </a:moveTo>
                          <a:cubicBezTo>
                            <a:pt x="0" y="33814"/>
                            <a:pt x="0" y="101346"/>
                            <a:pt x="0" y="101346"/>
                          </a:cubicBezTo>
                          <a:cubicBezTo>
                            <a:pt x="151829" y="181737"/>
                            <a:pt x="151829" y="181737"/>
                            <a:pt x="151829" y="181737"/>
                          </a:cubicBezTo>
                          <a:cubicBezTo>
                            <a:pt x="299466" y="101346"/>
                            <a:pt x="299466" y="101346"/>
                            <a:pt x="299466" y="101346"/>
                          </a:cubicBezTo>
                          <a:cubicBezTo>
                            <a:pt x="299466" y="101346"/>
                            <a:pt x="299466" y="37909"/>
                            <a:pt x="274130" y="0"/>
                          </a:cubicBezTo>
                        </a:path>
                      </a:pathLst>
                    </a:custGeom>
                    <a:noFill/>
                    <a:ln w="19050" cap="flat">
                      <a:solidFill>
                        <a:schemeClr val="tx2"/>
                      </a:solidFill>
                      <a:prstDash val="solid"/>
                      <a:round/>
                    </a:ln>
                  </p:spPr>
                  <p:txBody>
                    <a:bodyPr rtlCol="0" anchor="ctr"/>
                    <a:lstStyle/>
                    <a:p>
                      <a:endParaRPr lang="en-IN"/>
                    </a:p>
                  </p:txBody>
                </p:sp>
              </p:grpSp>
            </p:grpSp>
          </p:grpSp>
        </p:grpSp>
      </p:grpSp>
      <p:grpSp>
        <p:nvGrpSpPr>
          <p:cNvPr id="1026" name="Group 1025">
            <a:extLst>
              <a:ext uri="{FF2B5EF4-FFF2-40B4-BE49-F238E27FC236}">
                <a16:creationId xmlns:a16="http://schemas.microsoft.com/office/drawing/2014/main" id="{D1BA148D-46EE-4EBC-93CC-8A93DA5D2D3F}"/>
              </a:ext>
              <a:ext uri="{C183D7F6-B498-43B3-948B-1728B52AA6E4}">
                <adec:decorative xmlns:adec="http://schemas.microsoft.com/office/drawing/2017/decorative" val="1"/>
              </a:ext>
            </a:extLst>
          </p:cNvPr>
          <p:cNvGrpSpPr/>
          <p:nvPr/>
        </p:nvGrpSpPr>
        <p:grpSpPr>
          <a:xfrm>
            <a:off x="4118292" y="2164080"/>
            <a:ext cx="4198302" cy="4198302"/>
            <a:chOff x="4118292" y="2164080"/>
            <a:chExt cx="4198302" cy="4198302"/>
          </a:xfrm>
        </p:grpSpPr>
        <p:sp>
          <p:nvSpPr>
            <p:cNvPr id="148" name="Oval 147">
              <a:extLst>
                <a:ext uri="{FF2B5EF4-FFF2-40B4-BE49-F238E27FC236}">
                  <a16:creationId xmlns:a16="http://schemas.microsoft.com/office/drawing/2014/main" id="{68B6EE3A-1B51-4028-ABBC-0EBB7CEF67C6}"/>
                </a:ext>
              </a:extLst>
            </p:cNvPr>
            <p:cNvSpPr/>
            <p:nvPr/>
          </p:nvSpPr>
          <p:spPr bwMode="auto">
            <a:xfrm>
              <a:off x="4118292" y="2164080"/>
              <a:ext cx="4198302" cy="4198302"/>
            </a:xfrm>
            <a:prstGeom prst="ellipse">
              <a:avLst/>
            </a:prstGeom>
            <a:solidFill>
              <a:schemeClr val="bg1">
                <a:lumMod val="95000"/>
                <a:alpha val="65000"/>
              </a:schemeClr>
            </a:solidFill>
            <a:ln w="63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pic>
          <p:nvPicPr>
            <p:cNvPr id="84" name="Picture 83" descr="Different Windows Devices">
              <a:extLst>
                <a:ext uri="{FF2B5EF4-FFF2-40B4-BE49-F238E27FC236}">
                  <a16:creationId xmlns:a16="http://schemas.microsoft.com/office/drawing/2014/main" id="{5BF5FB41-2CCC-4963-8E66-6EAC139A7D8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91893" y="2804160"/>
              <a:ext cx="3451100" cy="2460942"/>
            </a:xfrm>
            <a:prstGeom prst="rect">
              <a:avLst/>
            </a:prstGeom>
          </p:spPr>
        </p:pic>
      </p:grpSp>
      <p:sp>
        <p:nvSpPr>
          <p:cNvPr id="150" name="Rectangle 149">
            <a:extLst>
              <a:ext uri="{FF2B5EF4-FFF2-40B4-BE49-F238E27FC236}">
                <a16:creationId xmlns:a16="http://schemas.microsoft.com/office/drawing/2014/main" id="{34E1CB5D-2844-4DFE-A671-16E65C12A7B4}"/>
              </a:ext>
            </a:extLst>
          </p:cNvPr>
          <p:cNvSpPr/>
          <p:nvPr/>
        </p:nvSpPr>
        <p:spPr>
          <a:xfrm>
            <a:off x="655537" y="2083040"/>
            <a:ext cx="2929308" cy="1107996"/>
          </a:xfrm>
          <a:prstGeom prst="rect">
            <a:avLst/>
          </a:prstGeom>
        </p:spPr>
        <p:txBody>
          <a:bodyPr wrap="square" lIns="0" tIns="0" rIns="0" bIns="0" anchor="ctr">
            <a:noAutofit/>
          </a:bodyPr>
          <a:lstStyle/>
          <a:p>
            <a:pPr lvl="0" algn="r"/>
            <a:r>
              <a:rPr lang="en-US">
                <a:solidFill>
                  <a:schemeClr val="tx2"/>
                </a:solidFill>
                <a:latin typeface="Segoe UI Semibold" panose="020B0702040204020203" pitchFamily="34" charset="0"/>
                <a:cs typeface="Segoe UI Semibold" panose="020B0702040204020203" pitchFamily="34" charset="0"/>
              </a:rPr>
              <a:t>Help students engage with their teachers </a:t>
            </a:r>
            <a:r>
              <a:rPr lang="en-US">
                <a:latin typeface="Segoe UI" panose="020B0502040204020203" pitchFamily="34" charset="0"/>
                <a:cs typeface="Segoe UI" panose="020B0502040204020203" pitchFamily="34" charset="0"/>
              </a:rPr>
              <a:t>with a built-in noise cancelling microphone and a front-facing webcam</a:t>
            </a:r>
          </a:p>
        </p:txBody>
      </p:sp>
      <p:sp>
        <p:nvSpPr>
          <p:cNvPr id="151" name="Rectangle 150">
            <a:extLst>
              <a:ext uri="{FF2B5EF4-FFF2-40B4-BE49-F238E27FC236}">
                <a16:creationId xmlns:a16="http://schemas.microsoft.com/office/drawing/2014/main" id="{14FC9D8C-D03F-4825-B1B5-B6B4E9B10A81}"/>
              </a:ext>
            </a:extLst>
          </p:cNvPr>
          <p:cNvSpPr/>
          <p:nvPr/>
        </p:nvSpPr>
        <p:spPr>
          <a:xfrm>
            <a:off x="8954138" y="2083040"/>
            <a:ext cx="2929308" cy="1107996"/>
          </a:xfrm>
          <a:prstGeom prst="rect">
            <a:avLst/>
          </a:prstGeom>
        </p:spPr>
        <p:txBody>
          <a:bodyPr wrap="square" lIns="0" tIns="0" rIns="0" bIns="0" anchor="ctr">
            <a:noAutofit/>
          </a:bodyPr>
          <a:lstStyle/>
          <a:p>
            <a:pPr lvl="0"/>
            <a:r>
              <a:rPr lang="en-US">
                <a:solidFill>
                  <a:schemeClr val="tx2"/>
                </a:solidFill>
                <a:latin typeface="Segoe UI Semibold" panose="020B0702040204020203" pitchFamily="34" charset="0"/>
                <a:cs typeface="Segoe UI Semibold" panose="020B0702040204020203" pitchFamily="34" charset="0"/>
              </a:rPr>
              <a:t>Keep students productive </a:t>
            </a:r>
            <a:r>
              <a:rPr lang="en-US">
                <a:latin typeface="Segoe UI" panose="020B0502040204020203" pitchFamily="34" charset="0"/>
                <a:cs typeface="Segoe UI" panose="020B0502040204020203" pitchFamily="34" charset="0"/>
              </a:rPr>
              <a:t>with cell-enabled devices that work online and offline</a:t>
            </a:r>
          </a:p>
        </p:txBody>
      </p:sp>
      <p:sp>
        <p:nvSpPr>
          <p:cNvPr id="152" name="Rectangle 151">
            <a:extLst>
              <a:ext uri="{FF2B5EF4-FFF2-40B4-BE49-F238E27FC236}">
                <a16:creationId xmlns:a16="http://schemas.microsoft.com/office/drawing/2014/main" id="{813BBC95-15D2-4F22-9303-99C78E681043}"/>
              </a:ext>
            </a:extLst>
          </p:cNvPr>
          <p:cNvSpPr/>
          <p:nvPr/>
        </p:nvSpPr>
        <p:spPr>
          <a:xfrm>
            <a:off x="551442" y="5335427"/>
            <a:ext cx="3008053" cy="1107996"/>
          </a:xfrm>
          <a:prstGeom prst="rect">
            <a:avLst/>
          </a:prstGeom>
        </p:spPr>
        <p:txBody>
          <a:bodyPr wrap="square" lIns="0" tIns="0" rIns="0" bIns="0" anchor="ctr">
            <a:noAutofit/>
          </a:bodyPr>
          <a:lstStyle/>
          <a:p>
            <a:pPr algn="r">
              <a:spcAft>
                <a:spcPts val="600"/>
              </a:spcAft>
              <a:defRPr/>
            </a:pPr>
            <a:r>
              <a:rPr lang="en-US">
                <a:solidFill>
                  <a:schemeClr val="tx2"/>
                </a:solidFill>
                <a:latin typeface="Segoe UI Semibold" panose="020B0702040204020203" pitchFamily="34" charset="0"/>
                <a:cs typeface="Segoe UI Semibold" panose="020B0702040204020203" pitchFamily="34" charset="0"/>
              </a:rPr>
              <a:t>Unlock multi-modal learning and creativity </a:t>
            </a:r>
            <a:r>
              <a:rPr lang="en-US">
                <a:latin typeface="Segoe UI" panose="020B0502040204020203" pitchFamily="34" charset="0"/>
                <a:cs typeface="Segoe UI" panose="020B0502040204020203" pitchFamily="34" charset="0"/>
              </a:rPr>
              <a:t>with Windows Ink and the ability to draw, sketch, write, and take notes</a:t>
            </a:r>
          </a:p>
        </p:txBody>
      </p:sp>
      <p:sp>
        <p:nvSpPr>
          <p:cNvPr id="153" name="Rectangle 152">
            <a:extLst>
              <a:ext uri="{FF2B5EF4-FFF2-40B4-BE49-F238E27FC236}">
                <a16:creationId xmlns:a16="http://schemas.microsoft.com/office/drawing/2014/main" id="{F459EC91-76A4-4B29-9A64-CBC13E35BF99}"/>
              </a:ext>
            </a:extLst>
          </p:cNvPr>
          <p:cNvSpPr/>
          <p:nvPr/>
        </p:nvSpPr>
        <p:spPr>
          <a:xfrm>
            <a:off x="8954138" y="5335427"/>
            <a:ext cx="2929308" cy="1107996"/>
          </a:xfrm>
          <a:prstGeom prst="rect">
            <a:avLst/>
          </a:prstGeom>
        </p:spPr>
        <p:txBody>
          <a:bodyPr wrap="square" lIns="0" tIns="0" rIns="0" bIns="0" anchor="ctr">
            <a:noAutofit/>
          </a:bodyPr>
          <a:lstStyle/>
          <a:p>
            <a:pPr lvl="0"/>
            <a:r>
              <a:rPr lang="en-US">
                <a:solidFill>
                  <a:schemeClr val="tx2"/>
                </a:solidFill>
                <a:latin typeface="Segoe UI Semibold" panose="020B0702040204020203" pitchFamily="34" charset="0"/>
                <a:cs typeface="Segoe UI Semibold" panose="020B0702040204020203" pitchFamily="34" charset="0"/>
              </a:rPr>
              <a:t>Give students devices with all-day battery life </a:t>
            </a:r>
            <a:r>
              <a:rPr lang="en-US">
                <a:latin typeface="Segoe UI" panose="020B0502040204020203" pitchFamily="34" charset="0"/>
                <a:cs typeface="Segoe UI" panose="020B0502040204020203" pitchFamily="34" charset="0"/>
              </a:rPr>
              <a:t>so they can learn anywhere without interruption</a:t>
            </a:r>
          </a:p>
        </p:txBody>
      </p:sp>
      <p:grpSp>
        <p:nvGrpSpPr>
          <p:cNvPr id="1033" name="Group 1032">
            <a:extLst>
              <a:ext uri="{FF2B5EF4-FFF2-40B4-BE49-F238E27FC236}">
                <a16:creationId xmlns:a16="http://schemas.microsoft.com/office/drawing/2014/main" id="{2B91A356-A744-4A80-9C81-7182C55B09B4}"/>
              </a:ext>
              <a:ext uri="{C183D7F6-B498-43B3-948B-1728B52AA6E4}">
                <adec:decorative xmlns:adec="http://schemas.microsoft.com/office/drawing/2017/decorative" val="1"/>
              </a:ext>
            </a:extLst>
          </p:cNvPr>
          <p:cNvGrpSpPr/>
          <p:nvPr/>
        </p:nvGrpSpPr>
        <p:grpSpPr>
          <a:xfrm>
            <a:off x="7894942" y="5518578"/>
            <a:ext cx="741696" cy="741694"/>
            <a:chOff x="7894942" y="5518578"/>
            <a:chExt cx="741696" cy="741694"/>
          </a:xfrm>
        </p:grpSpPr>
        <p:sp>
          <p:nvSpPr>
            <p:cNvPr id="101" name="Oval 100">
              <a:extLst>
                <a:ext uri="{FF2B5EF4-FFF2-40B4-BE49-F238E27FC236}">
                  <a16:creationId xmlns:a16="http://schemas.microsoft.com/office/drawing/2014/main" id="{52918045-5626-40FD-A3E8-E951ADB208F3}"/>
                </a:ext>
                <a:ext uri="{C183D7F6-B498-43B3-948B-1728B52AA6E4}">
                  <adec:decorative xmlns:adec="http://schemas.microsoft.com/office/drawing/2017/decorative" val="1"/>
                </a:ext>
              </a:extLst>
            </p:cNvPr>
            <p:cNvSpPr/>
            <p:nvPr/>
          </p:nvSpPr>
          <p:spPr bwMode="auto">
            <a:xfrm>
              <a:off x="7894942" y="5518578"/>
              <a:ext cx="741696" cy="741694"/>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grpSp>
          <p:nvGrpSpPr>
            <p:cNvPr id="158" name="Group 157">
              <a:extLst>
                <a:ext uri="{FF2B5EF4-FFF2-40B4-BE49-F238E27FC236}">
                  <a16:creationId xmlns:a16="http://schemas.microsoft.com/office/drawing/2014/main" id="{05A238E2-AAF8-4C65-A86A-1B18ED7CB580}"/>
                </a:ext>
              </a:extLst>
            </p:cNvPr>
            <p:cNvGrpSpPr/>
            <p:nvPr/>
          </p:nvGrpSpPr>
          <p:grpSpPr>
            <a:xfrm>
              <a:off x="8059177" y="5791201"/>
              <a:ext cx="413226" cy="196450"/>
              <a:chOff x="7333710" y="5415281"/>
              <a:chExt cx="574910" cy="273316"/>
            </a:xfrm>
          </p:grpSpPr>
          <p:sp>
            <p:nvSpPr>
              <p:cNvPr id="159" name="battery" title="Icon of a battery">
                <a:extLst>
                  <a:ext uri="{FF2B5EF4-FFF2-40B4-BE49-F238E27FC236}">
                    <a16:creationId xmlns:a16="http://schemas.microsoft.com/office/drawing/2014/main" id="{EF368CEA-4EB6-47F4-BC03-48C04791FFA7}"/>
                  </a:ext>
                </a:extLst>
              </p:cNvPr>
              <p:cNvSpPr>
                <a:spLocks noChangeAspect="1" noEditPoints="1"/>
              </p:cNvSpPr>
              <p:nvPr/>
            </p:nvSpPr>
            <p:spPr bwMode="auto">
              <a:xfrm>
                <a:off x="7333710" y="5415281"/>
                <a:ext cx="574910" cy="273316"/>
              </a:xfrm>
              <a:custGeom>
                <a:avLst/>
                <a:gdLst>
                  <a:gd name="T0" fmla="*/ 226 w 244"/>
                  <a:gd name="T1" fmla="*/ 116 h 116"/>
                  <a:gd name="T2" fmla="*/ 0 w 244"/>
                  <a:gd name="T3" fmla="*/ 116 h 116"/>
                  <a:gd name="T4" fmla="*/ 0 w 244"/>
                  <a:gd name="T5" fmla="*/ 0 h 116"/>
                  <a:gd name="T6" fmla="*/ 226 w 244"/>
                  <a:gd name="T7" fmla="*/ 0 h 116"/>
                  <a:gd name="T8" fmla="*/ 226 w 244"/>
                  <a:gd name="T9" fmla="*/ 116 h 116"/>
                  <a:gd name="T10" fmla="*/ 226 w 244"/>
                  <a:gd name="T11" fmla="*/ 78 h 116"/>
                  <a:gd name="T12" fmla="*/ 244 w 244"/>
                  <a:gd name="T13" fmla="*/ 78 h 116"/>
                  <a:gd name="T14" fmla="*/ 244 w 244"/>
                  <a:gd name="T15" fmla="*/ 36 h 116"/>
                  <a:gd name="T16" fmla="*/ 226 w 244"/>
                  <a:gd name="T17"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116">
                    <a:moveTo>
                      <a:pt x="226" y="116"/>
                    </a:moveTo>
                    <a:lnTo>
                      <a:pt x="0" y="116"/>
                    </a:lnTo>
                    <a:lnTo>
                      <a:pt x="0" y="0"/>
                    </a:lnTo>
                    <a:lnTo>
                      <a:pt x="226" y="0"/>
                    </a:lnTo>
                    <a:lnTo>
                      <a:pt x="226" y="116"/>
                    </a:lnTo>
                    <a:moveTo>
                      <a:pt x="226" y="78"/>
                    </a:moveTo>
                    <a:lnTo>
                      <a:pt x="244" y="78"/>
                    </a:lnTo>
                    <a:lnTo>
                      <a:pt x="244" y="36"/>
                    </a:lnTo>
                    <a:lnTo>
                      <a:pt x="226" y="36"/>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60" name="Graphic 45">
                <a:extLst>
                  <a:ext uri="{FF2B5EF4-FFF2-40B4-BE49-F238E27FC236}">
                    <a16:creationId xmlns:a16="http://schemas.microsoft.com/office/drawing/2014/main" id="{FDE7087B-6D49-49A3-9F0D-8EA489B178A1}"/>
                  </a:ext>
                </a:extLst>
              </p:cNvPr>
              <p:cNvSpPr/>
              <p:nvPr/>
            </p:nvSpPr>
            <p:spPr>
              <a:xfrm>
                <a:off x="7480836" y="5466797"/>
                <a:ext cx="222984" cy="168334"/>
              </a:xfrm>
              <a:custGeom>
                <a:avLst/>
                <a:gdLst>
                  <a:gd name="connsiteX0" fmla="*/ 227362 w 227361"/>
                  <a:gd name="connsiteY0" fmla="*/ 0 h 171640"/>
                  <a:gd name="connsiteX1" fmla="*/ 142208 w 227361"/>
                  <a:gd name="connsiteY1" fmla="*/ 78391 h 171640"/>
                  <a:gd name="connsiteX2" fmla="*/ 200597 w 227361"/>
                  <a:gd name="connsiteY2" fmla="*/ 78391 h 171640"/>
                  <a:gd name="connsiteX3" fmla="*/ 0 w 227361"/>
                  <a:gd name="connsiteY3" fmla="*/ 171641 h 171640"/>
                  <a:gd name="connsiteX4" fmla="*/ 113633 w 227361"/>
                  <a:gd name="connsiteY4" fmla="*/ 85820 h 171640"/>
                  <a:gd name="connsiteX5" fmla="*/ 69247 w 227361"/>
                  <a:gd name="connsiteY5" fmla="*/ 85820 h 171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1" h="171640">
                    <a:moveTo>
                      <a:pt x="227362" y="0"/>
                    </a:moveTo>
                    <a:lnTo>
                      <a:pt x="142208" y="78391"/>
                    </a:lnTo>
                    <a:lnTo>
                      <a:pt x="200597" y="78391"/>
                    </a:lnTo>
                    <a:lnTo>
                      <a:pt x="0" y="171641"/>
                    </a:lnTo>
                    <a:lnTo>
                      <a:pt x="113633" y="85820"/>
                    </a:lnTo>
                    <a:lnTo>
                      <a:pt x="69247" y="85820"/>
                    </a:lnTo>
                    <a:close/>
                  </a:path>
                </a:pathLst>
              </a:custGeom>
              <a:noFill/>
              <a:ln w="19050" cap="flat">
                <a:solidFill>
                  <a:schemeClr val="tx2"/>
                </a:solidFill>
                <a:prstDash val="solid"/>
                <a:miter lim="800000"/>
              </a:ln>
            </p:spPr>
            <p:txBody>
              <a:bodyPr rtlCol="0" anchor="ctr"/>
              <a:lstStyle/>
              <a:p>
                <a:endParaRPr lang="en-IN"/>
              </a:p>
            </p:txBody>
          </p:sp>
        </p:grpSp>
      </p:grpSp>
      <p:grpSp>
        <p:nvGrpSpPr>
          <p:cNvPr id="1032" name="Group 1031">
            <a:extLst>
              <a:ext uri="{FF2B5EF4-FFF2-40B4-BE49-F238E27FC236}">
                <a16:creationId xmlns:a16="http://schemas.microsoft.com/office/drawing/2014/main" id="{0A35D4AD-E92E-4E55-912B-C7AD41C34F07}"/>
              </a:ext>
              <a:ext uri="{C183D7F6-B498-43B3-948B-1728B52AA6E4}">
                <adec:decorative xmlns:adec="http://schemas.microsoft.com/office/drawing/2017/decorative" val="1"/>
              </a:ext>
            </a:extLst>
          </p:cNvPr>
          <p:cNvGrpSpPr/>
          <p:nvPr/>
        </p:nvGrpSpPr>
        <p:grpSpPr>
          <a:xfrm>
            <a:off x="3766241" y="5518578"/>
            <a:ext cx="761634" cy="741694"/>
            <a:chOff x="3786179" y="5518578"/>
            <a:chExt cx="741696" cy="741694"/>
          </a:xfrm>
        </p:grpSpPr>
        <p:sp>
          <p:nvSpPr>
            <p:cNvPr id="102" name="Oval 101">
              <a:extLst>
                <a:ext uri="{FF2B5EF4-FFF2-40B4-BE49-F238E27FC236}">
                  <a16:creationId xmlns:a16="http://schemas.microsoft.com/office/drawing/2014/main" id="{73AC11E2-40BA-4D20-8173-043E83BCFF50}"/>
                </a:ext>
                <a:ext uri="{C183D7F6-B498-43B3-948B-1728B52AA6E4}">
                  <adec:decorative xmlns:adec="http://schemas.microsoft.com/office/drawing/2017/decorative" val="1"/>
                </a:ext>
              </a:extLst>
            </p:cNvPr>
            <p:cNvSpPr/>
            <p:nvPr/>
          </p:nvSpPr>
          <p:spPr bwMode="auto">
            <a:xfrm>
              <a:off x="3786179" y="5518578"/>
              <a:ext cx="741696" cy="741694"/>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157" name="pencil" title="Icon of a pencil">
              <a:extLst>
                <a:ext uri="{FF2B5EF4-FFF2-40B4-BE49-F238E27FC236}">
                  <a16:creationId xmlns:a16="http://schemas.microsoft.com/office/drawing/2014/main" id="{5820CE52-2B21-4161-9103-7C6CC60EE816}"/>
                </a:ext>
              </a:extLst>
            </p:cNvPr>
            <p:cNvSpPr>
              <a:spLocks noChangeAspect="1" noEditPoints="1"/>
            </p:cNvSpPr>
            <p:nvPr/>
          </p:nvSpPr>
          <p:spPr bwMode="auto">
            <a:xfrm>
              <a:off x="3973077" y="5705475"/>
              <a:ext cx="367900" cy="367900"/>
            </a:xfrm>
            <a:custGeom>
              <a:avLst/>
              <a:gdLst>
                <a:gd name="T0" fmla="*/ 94 w 334"/>
                <a:gd name="T1" fmla="*/ 310 h 335"/>
                <a:gd name="T2" fmla="*/ 0 w 334"/>
                <a:gd name="T3" fmla="*/ 335 h 335"/>
                <a:gd name="T4" fmla="*/ 24 w 334"/>
                <a:gd name="T5" fmla="*/ 243 h 335"/>
                <a:gd name="T6" fmla="*/ 249 w 334"/>
                <a:gd name="T7" fmla="*/ 18 h 335"/>
                <a:gd name="T8" fmla="*/ 316 w 334"/>
                <a:gd name="T9" fmla="*/ 18 h 335"/>
                <a:gd name="T10" fmla="*/ 316 w 334"/>
                <a:gd name="T11" fmla="*/ 85 h 335"/>
                <a:gd name="T12" fmla="*/ 94 w 334"/>
                <a:gd name="T13" fmla="*/ 310 h 335"/>
                <a:gd name="T14" fmla="*/ 232 w 334"/>
                <a:gd name="T15" fmla="*/ 35 h 335"/>
                <a:gd name="T16" fmla="*/ 300 w 334"/>
                <a:gd name="T17" fmla="*/ 102 h 335"/>
                <a:gd name="T18" fmla="*/ 94 w 334"/>
                <a:gd name="T19" fmla="*/ 310 h 335"/>
                <a:gd name="T20" fmla="*/ 74 w 334"/>
                <a:gd name="T21" fmla="*/ 260 h 335"/>
                <a:gd name="T22" fmla="*/ 24 w 334"/>
                <a:gd name="T23" fmla="*/ 243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4" h="335">
                  <a:moveTo>
                    <a:pt x="94" y="310"/>
                  </a:moveTo>
                  <a:cubicBezTo>
                    <a:pt x="0" y="335"/>
                    <a:pt x="0" y="335"/>
                    <a:pt x="0" y="335"/>
                  </a:cubicBezTo>
                  <a:cubicBezTo>
                    <a:pt x="24" y="243"/>
                    <a:pt x="24" y="243"/>
                    <a:pt x="24" y="243"/>
                  </a:cubicBezTo>
                  <a:cubicBezTo>
                    <a:pt x="249" y="18"/>
                    <a:pt x="249" y="18"/>
                    <a:pt x="249" y="18"/>
                  </a:cubicBezTo>
                  <a:cubicBezTo>
                    <a:pt x="268" y="0"/>
                    <a:pt x="298" y="0"/>
                    <a:pt x="316" y="18"/>
                  </a:cubicBezTo>
                  <a:cubicBezTo>
                    <a:pt x="334" y="36"/>
                    <a:pt x="334" y="66"/>
                    <a:pt x="316" y="85"/>
                  </a:cubicBezTo>
                  <a:lnTo>
                    <a:pt x="94" y="310"/>
                  </a:lnTo>
                  <a:close/>
                  <a:moveTo>
                    <a:pt x="232" y="35"/>
                  </a:moveTo>
                  <a:cubicBezTo>
                    <a:pt x="300" y="102"/>
                    <a:pt x="300" y="102"/>
                    <a:pt x="300" y="102"/>
                  </a:cubicBezTo>
                  <a:moveTo>
                    <a:pt x="94" y="310"/>
                  </a:moveTo>
                  <a:cubicBezTo>
                    <a:pt x="94" y="310"/>
                    <a:pt x="98" y="287"/>
                    <a:pt x="74" y="260"/>
                  </a:cubicBezTo>
                  <a:cubicBezTo>
                    <a:pt x="50" y="233"/>
                    <a:pt x="24" y="243"/>
                    <a:pt x="24" y="243"/>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3" name="Group 2">
            <a:extLst>
              <a:ext uri="{FF2B5EF4-FFF2-40B4-BE49-F238E27FC236}">
                <a16:creationId xmlns:a16="http://schemas.microsoft.com/office/drawing/2014/main" id="{1436BC95-8F59-43E9-B00B-5EA55CAC03D1}"/>
              </a:ext>
              <a:ext uri="{C183D7F6-B498-43B3-948B-1728B52AA6E4}">
                <adec:decorative xmlns:adec="http://schemas.microsoft.com/office/drawing/2017/decorative" val="1"/>
              </a:ext>
            </a:extLst>
          </p:cNvPr>
          <p:cNvGrpSpPr/>
          <p:nvPr/>
        </p:nvGrpSpPr>
        <p:grpSpPr>
          <a:xfrm>
            <a:off x="3902345" y="2264692"/>
            <a:ext cx="741696" cy="741694"/>
            <a:chOff x="3902345" y="2264692"/>
            <a:chExt cx="741696" cy="741694"/>
          </a:xfrm>
        </p:grpSpPr>
        <p:sp>
          <p:nvSpPr>
            <p:cNvPr id="85" name="Oval 84">
              <a:extLst>
                <a:ext uri="{FF2B5EF4-FFF2-40B4-BE49-F238E27FC236}">
                  <a16:creationId xmlns:a16="http://schemas.microsoft.com/office/drawing/2014/main" id="{CD5D2D81-209F-4A1B-92A9-ECD30368DE28}"/>
                </a:ext>
                <a:ext uri="{C183D7F6-B498-43B3-948B-1728B52AA6E4}">
                  <adec:decorative xmlns:adec="http://schemas.microsoft.com/office/drawing/2017/decorative" val="1"/>
                </a:ext>
              </a:extLst>
            </p:cNvPr>
            <p:cNvSpPr/>
            <p:nvPr/>
          </p:nvSpPr>
          <p:spPr bwMode="auto">
            <a:xfrm>
              <a:off x="3902345" y="2264692"/>
              <a:ext cx="741696" cy="741694"/>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37" name="Graphic 60">
              <a:extLst>
                <a:ext uri="{FF2B5EF4-FFF2-40B4-BE49-F238E27FC236}">
                  <a16:creationId xmlns:a16="http://schemas.microsoft.com/office/drawing/2014/main" id="{E0C49FCE-40C3-466F-AB1B-E1635E5E010C}"/>
                </a:ext>
              </a:extLst>
            </p:cNvPr>
            <p:cNvSpPr/>
            <p:nvPr/>
          </p:nvSpPr>
          <p:spPr>
            <a:xfrm>
              <a:off x="4136356" y="2430213"/>
              <a:ext cx="273674" cy="410652"/>
            </a:xfrm>
            <a:custGeom>
              <a:avLst/>
              <a:gdLst>
                <a:gd name="connsiteX0" fmla="*/ 91440 w 182879"/>
                <a:gd name="connsiteY0" fmla="*/ 237839 h 274415"/>
                <a:gd name="connsiteX1" fmla="*/ 91440 w 182879"/>
                <a:gd name="connsiteY1" fmla="*/ 274415 h 274415"/>
                <a:gd name="connsiteX2" fmla="*/ 137065 w 182879"/>
                <a:gd name="connsiteY2" fmla="*/ 274320 h 274415"/>
                <a:gd name="connsiteX3" fmla="*/ 45625 w 182879"/>
                <a:gd name="connsiteY3" fmla="*/ 274320 h 274415"/>
                <a:gd name="connsiteX4" fmla="*/ 146304 w 182879"/>
                <a:gd name="connsiteY4" fmla="*/ 186309 h 274415"/>
                <a:gd name="connsiteX5" fmla="*/ 146304 w 182879"/>
                <a:gd name="connsiteY5" fmla="*/ 14859 h 274415"/>
                <a:gd name="connsiteX6" fmla="*/ 131445 w 182879"/>
                <a:gd name="connsiteY6" fmla="*/ 0 h 274415"/>
                <a:gd name="connsiteX7" fmla="*/ 51435 w 182879"/>
                <a:gd name="connsiteY7" fmla="*/ 0 h 274415"/>
                <a:gd name="connsiteX8" fmla="*/ 36576 w 182879"/>
                <a:gd name="connsiteY8" fmla="*/ 14859 h 274415"/>
                <a:gd name="connsiteX9" fmla="*/ 36576 w 182879"/>
                <a:gd name="connsiteY9" fmla="*/ 186309 h 274415"/>
                <a:gd name="connsiteX10" fmla="*/ 51435 w 182879"/>
                <a:gd name="connsiteY10" fmla="*/ 201168 h 274415"/>
                <a:gd name="connsiteX11" fmla="*/ 131445 w 182879"/>
                <a:gd name="connsiteY11" fmla="*/ 201168 h 274415"/>
                <a:gd name="connsiteX12" fmla="*/ 146304 w 182879"/>
                <a:gd name="connsiteY12" fmla="*/ 186309 h 274415"/>
                <a:gd name="connsiteX13" fmla="*/ 146304 w 182879"/>
                <a:gd name="connsiteY13" fmla="*/ 186309 h 274415"/>
                <a:gd name="connsiteX14" fmla="*/ 0 w 182879"/>
                <a:gd name="connsiteY14" fmla="*/ 137160 h 274415"/>
                <a:gd name="connsiteX15" fmla="*/ 0 w 182879"/>
                <a:gd name="connsiteY15" fmla="*/ 188881 h 274415"/>
                <a:gd name="connsiteX16" fmla="*/ 48863 w 182879"/>
                <a:gd name="connsiteY16" fmla="*/ 237744 h 274415"/>
                <a:gd name="connsiteX17" fmla="*/ 134017 w 182879"/>
                <a:gd name="connsiteY17" fmla="*/ 237744 h 274415"/>
                <a:gd name="connsiteX18" fmla="*/ 182880 w 182879"/>
                <a:gd name="connsiteY18" fmla="*/ 188881 h 274415"/>
                <a:gd name="connsiteX19" fmla="*/ 182880 w 182879"/>
                <a:gd name="connsiteY19" fmla="*/ 137160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879" h="274415">
                  <a:moveTo>
                    <a:pt x="91440" y="237839"/>
                  </a:moveTo>
                  <a:cubicBezTo>
                    <a:pt x="91440" y="274415"/>
                    <a:pt x="91440" y="274415"/>
                    <a:pt x="91440" y="274415"/>
                  </a:cubicBezTo>
                  <a:moveTo>
                    <a:pt x="137065" y="274320"/>
                  </a:moveTo>
                  <a:cubicBezTo>
                    <a:pt x="45625" y="274320"/>
                    <a:pt x="45625" y="274320"/>
                    <a:pt x="45625" y="274320"/>
                  </a:cubicBezTo>
                  <a:moveTo>
                    <a:pt x="146304" y="186309"/>
                  </a:moveTo>
                  <a:cubicBezTo>
                    <a:pt x="146304" y="14859"/>
                    <a:pt x="146304" y="14859"/>
                    <a:pt x="146304" y="14859"/>
                  </a:cubicBezTo>
                  <a:cubicBezTo>
                    <a:pt x="146304" y="6668"/>
                    <a:pt x="139637" y="0"/>
                    <a:pt x="131445" y="0"/>
                  </a:cubicBezTo>
                  <a:cubicBezTo>
                    <a:pt x="51435" y="0"/>
                    <a:pt x="51435" y="0"/>
                    <a:pt x="51435" y="0"/>
                  </a:cubicBezTo>
                  <a:cubicBezTo>
                    <a:pt x="43244" y="0"/>
                    <a:pt x="36576" y="6668"/>
                    <a:pt x="36576" y="14859"/>
                  </a:cubicBezTo>
                  <a:cubicBezTo>
                    <a:pt x="36576" y="186309"/>
                    <a:pt x="36576" y="186309"/>
                    <a:pt x="36576" y="186309"/>
                  </a:cubicBezTo>
                  <a:cubicBezTo>
                    <a:pt x="36576" y="194501"/>
                    <a:pt x="43244" y="201168"/>
                    <a:pt x="51435" y="201168"/>
                  </a:cubicBezTo>
                  <a:cubicBezTo>
                    <a:pt x="131445" y="201168"/>
                    <a:pt x="131445" y="201168"/>
                    <a:pt x="131445" y="201168"/>
                  </a:cubicBezTo>
                  <a:cubicBezTo>
                    <a:pt x="139637" y="201168"/>
                    <a:pt x="146304" y="194501"/>
                    <a:pt x="146304" y="186309"/>
                  </a:cubicBezTo>
                  <a:lnTo>
                    <a:pt x="146304" y="186309"/>
                  </a:lnTo>
                  <a:close/>
                  <a:moveTo>
                    <a:pt x="0" y="137160"/>
                  </a:moveTo>
                  <a:cubicBezTo>
                    <a:pt x="0" y="188881"/>
                    <a:pt x="0" y="188881"/>
                    <a:pt x="0" y="188881"/>
                  </a:cubicBezTo>
                  <a:cubicBezTo>
                    <a:pt x="0" y="215837"/>
                    <a:pt x="21908" y="237744"/>
                    <a:pt x="48863" y="237744"/>
                  </a:cubicBezTo>
                  <a:cubicBezTo>
                    <a:pt x="134017" y="237744"/>
                    <a:pt x="134017" y="237744"/>
                    <a:pt x="134017" y="237744"/>
                  </a:cubicBezTo>
                  <a:cubicBezTo>
                    <a:pt x="160973" y="237744"/>
                    <a:pt x="182880" y="215837"/>
                    <a:pt x="182880" y="188881"/>
                  </a:cubicBezTo>
                  <a:cubicBezTo>
                    <a:pt x="182880" y="137160"/>
                    <a:pt x="182880" y="137160"/>
                    <a:pt x="182880" y="137160"/>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sz="900">
                <a:gradFill>
                  <a:gsLst>
                    <a:gs pos="0">
                      <a:srgbClr val="505050"/>
                    </a:gs>
                    <a:gs pos="100000">
                      <a:srgbClr val="505050"/>
                    </a:gs>
                  </a:gsLst>
                  <a:lin ang="5400000" scaled="1"/>
                </a:gradFill>
              </a:endParaRPr>
            </a:p>
          </p:txBody>
        </p:sp>
      </p:grpSp>
      <p:grpSp>
        <p:nvGrpSpPr>
          <p:cNvPr id="2" name="Group 1">
            <a:extLst>
              <a:ext uri="{FF2B5EF4-FFF2-40B4-BE49-F238E27FC236}">
                <a16:creationId xmlns:a16="http://schemas.microsoft.com/office/drawing/2014/main" id="{249C3984-11EC-4DE1-A748-FFE49DD6A03E}"/>
              </a:ext>
              <a:ext uri="{C183D7F6-B498-43B3-948B-1728B52AA6E4}">
                <adec:decorative xmlns:adec="http://schemas.microsoft.com/office/drawing/2017/decorative" val="1"/>
              </a:ext>
            </a:extLst>
          </p:cNvPr>
          <p:cNvGrpSpPr/>
          <p:nvPr/>
        </p:nvGrpSpPr>
        <p:grpSpPr>
          <a:xfrm>
            <a:off x="7907012" y="2267691"/>
            <a:ext cx="741696" cy="741694"/>
            <a:chOff x="7907012" y="2267691"/>
            <a:chExt cx="741696" cy="741694"/>
          </a:xfrm>
        </p:grpSpPr>
        <p:sp>
          <p:nvSpPr>
            <p:cNvPr id="90" name="Oval 89">
              <a:extLst>
                <a:ext uri="{FF2B5EF4-FFF2-40B4-BE49-F238E27FC236}">
                  <a16:creationId xmlns:a16="http://schemas.microsoft.com/office/drawing/2014/main" id="{FF6D6CF1-023E-42EA-BB3E-0AF09E66BD5E}"/>
                </a:ext>
                <a:ext uri="{C183D7F6-B498-43B3-948B-1728B52AA6E4}">
                  <adec:decorative xmlns:adec="http://schemas.microsoft.com/office/drawing/2017/decorative" val="1"/>
                </a:ext>
              </a:extLst>
            </p:cNvPr>
            <p:cNvSpPr/>
            <p:nvPr/>
          </p:nvSpPr>
          <p:spPr bwMode="auto">
            <a:xfrm>
              <a:off x="7907012" y="2267691"/>
              <a:ext cx="741696" cy="741694"/>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38" name="Wifi_E701" title="Icon of a wireless signal">
              <a:extLst>
                <a:ext uri="{FF2B5EF4-FFF2-40B4-BE49-F238E27FC236}">
                  <a16:creationId xmlns:a16="http://schemas.microsoft.com/office/drawing/2014/main" id="{DE27A10A-5E0F-40CE-AF78-FDEF3C97C21A}"/>
                </a:ext>
              </a:extLst>
            </p:cNvPr>
            <p:cNvSpPr>
              <a:spLocks noChangeAspect="1" noEditPoints="1"/>
            </p:cNvSpPr>
            <p:nvPr/>
          </p:nvSpPr>
          <p:spPr bwMode="auto">
            <a:xfrm rot="2920398">
              <a:off x="8095066" y="2398507"/>
              <a:ext cx="365586" cy="365760"/>
            </a:xfrm>
            <a:custGeom>
              <a:avLst/>
              <a:gdLst>
                <a:gd name="T0" fmla="*/ 2506 w 2874"/>
                <a:gd name="T1" fmla="*/ 2756 h 2874"/>
                <a:gd name="T2" fmla="*/ 2256 w 2874"/>
                <a:gd name="T3" fmla="*/ 2506 h 2874"/>
                <a:gd name="T4" fmla="*/ 2506 w 2874"/>
                <a:gd name="T5" fmla="*/ 2256 h 2874"/>
                <a:gd name="T6" fmla="*/ 2756 w 2874"/>
                <a:gd name="T7" fmla="*/ 2506 h 2874"/>
                <a:gd name="T8" fmla="*/ 2506 w 2874"/>
                <a:gd name="T9" fmla="*/ 2756 h 2874"/>
                <a:gd name="T10" fmla="*/ 2874 w 2874"/>
                <a:gd name="T11" fmla="*/ 1504 h 2874"/>
                <a:gd name="T12" fmla="*/ 1504 w 2874"/>
                <a:gd name="T13" fmla="*/ 2874 h 2874"/>
                <a:gd name="T14" fmla="*/ 2874 w 2874"/>
                <a:gd name="T15" fmla="*/ 744 h 2874"/>
                <a:gd name="T16" fmla="*/ 744 w 2874"/>
                <a:gd name="T17" fmla="*/ 2874 h 2874"/>
                <a:gd name="T18" fmla="*/ 2874 w 2874"/>
                <a:gd name="T19" fmla="*/ 0 h 2874"/>
                <a:gd name="T20" fmla="*/ 0 w 2874"/>
                <a:gd name="T21" fmla="*/ 2874 h 2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4" h="2874">
                  <a:moveTo>
                    <a:pt x="2506" y="2756"/>
                  </a:moveTo>
                  <a:cubicBezTo>
                    <a:pt x="2368" y="2756"/>
                    <a:pt x="2256" y="2644"/>
                    <a:pt x="2256" y="2506"/>
                  </a:cubicBezTo>
                  <a:cubicBezTo>
                    <a:pt x="2256" y="2368"/>
                    <a:pt x="2368" y="2256"/>
                    <a:pt x="2506" y="2256"/>
                  </a:cubicBezTo>
                  <a:cubicBezTo>
                    <a:pt x="2644" y="2256"/>
                    <a:pt x="2756" y="2368"/>
                    <a:pt x="2756" y="2506"/>
                  </a:cubicBezTo>
                  <a:cubicBezTo>
                    <a:pt x="2756" y="2644"/>
                    <a:pt x="2644" y="2756"/>
                    <a:pt x="2506" y="2756"/>
                  </a:cubicBezTo>
                  <a:close/>
                  <a:moveTo>
                    <a:pt x="2874" y="1504"/>
                  </a:moveTo>
                  <a:cubicBezTo>
                    <a:pt x="2117" y="1504"/>
                    <a:pt x="1504" y="2117"/>
                    <a:pt x="1504" y="2874"/>
                  </a:cubicBezTo>
                  <a:moveTo>
                    <a:pt x="2874" y="744"/>
                  </a:moveTo>
                  <a:cubicBezTo>
                    <a:pt x="1698" y="744"/>
                    <a:pt x="744" y="1698"/>
                    <a:pt x="744" y="2874"/>
                  </a:cubicBezTo>
                  <a:moveTo>
                    <a:pt x="2874" y="0"/>
                  </a:moveTo>
                  <a:cubicBezTo>
                    <a:pt x="1287" y="0"/>
                    <a:pt x="0" y="1287"/>
                    <a:pt x="0" y="28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Tree>
    <p:extLst>
      <p:ext uri="{BB962C8B-B14F-4D97-AF65-F5344CB8AC3E}">
        <p14:creationId xmlns:p14="http://schemas.microsoft.com/office/powerpoint/2010/main" val="10404667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14B9A9-80C4-4B79-A8B4-A242A7BC5E3D}"/>
              </a:ext>
            </a:extLst>
          </p:cNvPr>
          <p:cNvSpPr>
            <a:spLocks noGrp="1"/>
          </p:cNvSpPr>
          <p:nvPr>
            <p:ph type="title"/>
          </p:nvPr>
        </p:nvSpPr>
        <p:spPr>
          <a:xfrm>
            <a:off x="457200" y="503238"/>
            <a:ext cx="11520488" cy="917575"/>
          </a:xfrm>
        </p:spPr>
        <p:txBody>
          <a:bodyPr/>
          <a:lstStyle/>
          <a:p>
            <a:r>
              <a:rPr lang="en-US"/>
              <a:t>Engage everyone with </a:t>
            </a:r>
            <a:r>
              <a:rPr lang="en-US">
                <a:solidFill>
                  <a:schemeClr val="tx2"/>
                </a:solidFill>
                <a:latin typeface="Segoe UI Semibold" panose="020B0702040204020203" pitchFamily="34" charset="0"/>
                <a:cs typeface="Segoe UI Semibold" panose="020B0702040204020203" pitchFamily="34" charset="0"/>
              </a:rPr>
              <a:t>built-in</a:t>
            </a:r>
            <a:r>
              <a:rPr lang="en-US"/>
              <a:t> </a:t>
            </a:r>
            <a:r>
              <a:rPr lang="en-US">
                <a:solidFill>
                  <a:schemeClr val="tx2"/>
                </a:solidFill>
                <a:latin typeface="Segoe UI Semibold" panose="020B0702040204020203" pitchFamily="34" charset="0"/>
                <a:cs typeface="Segoe UI Semibold" panose="020B0702040204020203" pitchFamily="34" charset="0"/>
              </a:rPr>
              <a:t>accessibility</a:t>
            </a:r>
          </a:p>
        </p:txBody>
      </p:sp>
      <p:sp>
        <p:nvSpPr>
          <p:cNvPr id="4" name="Rectangle 3">
            <a:extLst>
              <a:ext uri="{FF2B5EF4-FFF2-40B4-BE49-F238E27FC236}">
                <a16:creationId xmlns:a16="http://schemas.microsoft.com/office/drawing/2014/main" id="{797DF855-60CF-4104-A729-0358C617783A}"/>
              </a:ext>
            </a:extLst>
          </p:cNvPr>
          <p:cNvSpPr/>
          <p:nvPr/>
        </p:nvSpPr>
        <p:spPr bwMode="auto">
          <a:xfrm>
            <a:off x="457200" y="1394945"/>
            <a:ext cx="11520488" cy="9927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chemeClr val="tx1"/>
                </a:solidFill>
                <a:effectLst/>
                <a:uLnTx/>
                <a:uFillTx/>
                <a:ea typeface="Segoe UI" pitchFamily="34" charset="0"/>
                <a:cs typeface="Segoe UI" pitchFamily="34" charset="0"/>
              </a:rPr>
              <a:t>Microsoft builds accessibility directly into education solutions to enable personalized learning. Empower every student—regardless of their learning preferences—with a robust set of built-in features that work across remote, hybrid, and in-person classrooms.</a:t>
            </a:r>
            <a:endParaRPr kumimoji="0" lang="en-US" sz="2000" b="0" i="0" u="none" strike="noStrike" kern="1200" cap="none" spc="0" normalizeH="0" baseline="0" noProof="0">
              <a:ln>
                <a:noFill/>
              </a:ln>
              <a:solidFill>
                <a:srgbClr val="353535"/>
              </a:solidFill>
              <a:effectLst/>
              <a:uLnTx/>
              <a:uFillTx/>
              <a:latin typeface="Segoe UI Semibold" panose="020B0702040204020203" pitchFamily="34" charset="0"/>
              <a:cs typeface="Segoe UI Semibold" panose="020B0702040204020203" pitchFamily="34" charset="0"/>
            </a:endParaRPr>
          </a:p>
        </p:txBody>
      </p:sp>
      <p:sp>
        <p:nvSpPr>
          <p:cNvPr id="70" name="Eye">
            <a:extLst>
              <a:ext uri="{FF2B5EF4-FFF2-40B4-BE49-F238E27FC236}">
                <a16:creationId xmlns:a16="http://schemas.microsoft.com/office/drawing/2014/main" id="{405BA7A4-4874-4401-9894-7D58F45CB10D}"/>
              </a:ext>
              <a:ext uri="{C183D7F6-B498-43B3-948B-1728B52AA6E4}">
                <adec:decorative xmlns:adec="http://schemas.microsoft.com/office/drawing/2017/decorative" val="1"/>
              </a:ext>
            </a:extLst>
          </p:cNvPr>
          <p:cNvSpPr>
            <a:spLocks noChangeAspect="1" noEditPoints="1"/>
          </p:cNvSpPr>
          <p:nvPr/>
        </p:nvSpPr>
        <p:spPr bwMode="auto">
          <a:xfrm>
            <a:off x="3181862" y="2763779"/>
            <a:ext cx="662678" cy="365876"/>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6" name="Rectangle 55">
            <a:extLst>
              <a:ext uri="{FF2B5EF4-FFF2-40B4-BE49-F238E27FC236}">
                <a16:creationId xmlns:a16="http://schemas.microsoft.com/office/drawing/2014/main" id="{3881942D-3433-4E08-8392-33A49966AEA1}"/>
              </a:ext>
            </a:extLst>
          </p:cNvPr>
          <p:cNvSpPr/>
          <p:nvPr/>
        </p:nvSpPr>
        <p:spPr bwMode="auto">
          <a:xfrm>
            <a:off x="1715250" y="3358400"/>
            <a:ext cx="3595902" cy="10286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Vision</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a:ln>
                  <a:noFill/>
                </a:ln>
                <a:solidFill>
                  <a:srgbClr val="353535"/>
                </a:solidFill>
                <a:effectLst/>
                <a:uLnTx/>
                <a:uFillTx/>
                <a:latin typeface="Segoe UI Semilight"/>
                <a:ea typeface="+mn-ea"/>
                <a:cs typeface="Segoe UI" pitchFamily="34" charset="0"/>
              </a:rPr>
              <a:t>Screen reading, speech-to-text, Seeing AI, Magnifier, and more</a:t>
            </a:r>
          </a:p>
        </p:txBody>
      </p:sp>
      <p:sp>
        <p:nvSpPr>
          <p:cNvPr id="58" name="Rectangle 57">
            <a:extLst>
              <a:ext uri="{FF2B5EF4-FFF2-40B4-BE49-F238E27FC236}">
                <a16:creationId xmlns:a16="http://schemas.microsoft.com/office/drawing/2014/main" id="{C417BD1C-757A-48BB-83B6-56C10B58B752}"/>
              </a:ext>
            </a:extLst>
          </p:cNvPr>
          <p:cNvSpPr/>
          <p:nvPr/>
        </p:nvSpPr>
        <p:spPr bwMode="auto">
          <a:xfrm>
            <a:off x="6792399" y="3358400"/>
            <a:ext cx="3595902" cy="10286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Hearing</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a:ln>
                  <a:noFill/>
                </a:ln>
                <a:solidFill>
                  <a:srgbClr val="353535"/>
                </a:solidFill>
                <a:effectLst/>
                <a:uLnTx/>
                <a:uFillTx/>
                <a:latin typeface="Segoe UI Semilight"/>
                <a:ea typeface="+mn-ea"/>
                <a:cs typeface="Segoe UI" pitchFamily="34" charset="0"/>
              </a:rPr>
              <a:t>Live captions and meeting transcriptions with translation</a:t>
            </a:r>
          </a:p>
        </p:txBody>
      </p:sp>
      <p:sp>
        <p:nvSpPr>
          <p:cNvPr id="62" name="Rectangle 61">
            <a:extLst>
              <a:ext uri="{FF2B5EF4-FFF2-40B4-BE49-F238E27FC236}">
                <a16:creationId xmlns:a16="http://schemas.microsoft.com/office/drawing/2014/main" id="{5AA8C57F-8CF0-4C79-9BDD-87F3837E8C9B}"/>
              </a:ext>
            </a:extLst>
          </p:cNvPr>
          <p:cNvSpPr/>
          <p:nvPr/>
        </p:nvSpPr>
        <p:spPr bwMode="auto">
          <a:xfrm>
            <a:off x="1715250" y="5621757"/>
            <a:ext cx="3595902" cy="826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Mobility</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a:ln>
                  <a:noFill/>
                </a:ln>
                <a:solidFill>
                  <a:srgbClr val="353535"/>
                </a:solidFill>
                <a:effectLst/>
                <a:uLnTx/>
                <a:uFillTx/>
                <a:latin typeface="Segoe UI Semilight"/>
                <a:ea typeface="+mn-ea"/>
                <a:cs typeface="Segoe UI" pitchFamily="34" charset="0"/>
              </a:rPr>
              <a:t>Type with your voice or a pointing device, and click with your eyes</a:t>
            </a:r>
          </a:p>
        </p:txBody>
      </p:sp>
      <p:sp>
        <p:nvSpPr>
          <p:cNvPr id="60" name="Rectangle 59">
            <a:extLst>
              <a:ext uri="{FF2B5EF4-FFF2-40B4-BE49-F238E27FC236}">
                <a16:creationId xmlns:a16="http://schemas.microsoft.com/office/drawing/2014/main" id="{85E7E682-D016-4C2D-B329-F1E7B29C7F17}"/>
              </a:ext>
            </a:extLst>
          </p:cNvPr>
          <p:cNvSpPr/>
          <p:nvPr/>
        </p:nvSpPr>
        <p:spPr bwMode="auto">
          <a:xfrm>
            <a:off x="6739735" y="5621757"/>
            <a:ext cx="3778464" cy="10286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Neurodiversity</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a:ln>
                  <a:noFill/>
                </a:ln>
                <a:solidFill>
                  <a:srgbClr val="353535"/>
                </a:solidFill>
                <a:effectLst/>
                <a:uLnTx/>
                <a:uFillTx/>
                <a:latin typeface="Segoe UI Semilight"/>
                <a:ea typeface="+mn-ea"/>
                <a:cs typeface="Segoe UI" pitchFamily="34" charset="0"/>
              </a:rPr>
              <a:t>Immersive Reader, Focus Assist, and more tools to improve comprehension</a:t>
            </a:r>
          </a:p>
        </p:txBody>
      </p:sp>
      <p:sp>
        <p:nvSpPr>
          <p:cNvPr id="68" name="Accessibility">
            <a:extLst>
              <a:ext uri="{FF2B5EF4-FFF2-40B4-BE49-F238E27FC236}">
                <a16:creationId xmlns:a16="http://schemas.microsoft.com/office/drawing/2014/main" id="{3B083F01-3365-41C3-A589-7EC749CEB5C8}"/>
              </a:ext>
              <a:ext uri="{C183D7F6-B498-43B3-948B-1728B52AA6E4}">
                <adec:decorative xmlns:adec="http://schemas.microsoft.com/office/drawing/2017/decorative" val="1"/>
              </a:ext>
            </a:extLst>
          </p:cNvPr>
          <p:cNvSpPr>
            <a:spLocks noChangeAspect="1" noEditPoints="1"/>
          </p:cNvSpPr>
          <p:nvPr/>
        </p:nvSpPr>
        <p:spPr bwMode="auto">
          <a:xfrm>
            <a:off x="3264087" y="4808398"/>
            <a:ext cx="498229" cy="579422"/>
          </a:xfrm>
          <a:custGeom>
            <a:avLst/>
            <a:gdLst>
              <a:gd name="T0" fmla="*/ 284 w 304"/>
              <a:gd name="T1" fmla="*/ 35 h 354"/>
              <a:gd name="T2" fmla="*/ 248 w 304"/>
              <a:gd name="T3" fmla="*/ 71 h 354"/>
              <a:gd name="T4" fmla="*/ 213 w 304"/>
              <a:gd name="T5" fmla="*/ 35 h 354"/>
              <a:gd name="T6" fmla="*/ 248 w 304"/>
              <a:gd name="T7" fmla="*/ 0 h 354"/>
              <a:gd name="T8" fmla="*/ 284 w 304"/>
              <a:gd name="T9" fmla="*/ 35 h 354"/>
              <a:gd name="T10" fmla="*/ 213 w 304"/>
              <a:gd name="T11" fmla="*/ 248 h 354"/>
              <a:gd name="T12" fmla="*/ 107 w 304"/>
              <a:gd name="T13" fmla="*/ 142 h 354"/>
              <a:gd name="T14" fmla="*/ 0 w 304"/>
              <a:gd name="T15" fmla="*/ 248 h 354"/>
              <a:gd name="T16" fmla="*/ 107 w 304"/>
              <a:gd name="T17" fmla="*/ 354 h 354"/>
              <a:gd name="T18" fmla="*/ 213 w 304"/>
              <a:gd name="T19" fmla="*/ 248 h 354"/>
              <a:gd name="T20" fmla="*/ 205 w 304"/>
              <a:gd name="T21" fmla="*/ 207 h 354"/>
              <a:gd name="T22" fmla="*/ 261 w 304"/>
              <a:gd name="T23" fmla="*/ 207 h 354"/>
              <a:gd name="T24" fmla="*/ 242 w 304"/>
              <a:gd name="T25" fmla="*/ 303 h 354"/>
              <a:gd name="T26" fmla="*/ 260 w 304"/>
              <a:gd name="T27" fmla="*/ 325 h 354"/>
              <a:gd name="T28" fmla="*/ 260 w 304"/>
              <a:gd name="T29" fmla="*/ 325 h 354"/>
              <a:gd name="T30" fmla="*/ 278 w 304"/>
              <a:gd name="T31" fmla="*/ 310 h 354"/>
              <a:gd name="T32" fmla="*/ 301 w 304"/>
              <a:gd name="T33" fmla="*/ 192 h 354"/>
              <a:gd name="T34" fmla="*/ 284 w 304"/>
              <a:gd name="T35" fmla="*/ 171 h 354"/>
              <a:gd name="T36" fmla="*/ 180 w 304"/>
              <a:gd name="T37" fmla="*/ 171 h 354"/>
              <a:gd name="T38" fmla="*/ 181 w 304"/>
              <a:gd name="T39" fmla="*/ 172 h 354"/>
              <a:gd name="T40" fmla="*/ 219 w 304"/>
              <a:gd name="T41" fmla="*/ 123 h 354"/>
              <a:gd name="T42" fmla="*/ 210 w 304"/>
              <a:gd name="T43" fmla="*/ 63 h 354"/>
              <a:gd name="T44" fmla="*/ 129 w 304"/>
              <a:gd name="T45" fmla="*/ 9 h 354"/>
              <a:gd name="T46" fmla="*/ 99 w 304"/>
              <a:gd name="T47" fmla="*/ 14 h 354"/>
              <a:gd name="T48" fmla="*/ 61 w 304"/>
              <a:gd name="T49" fmla="*/ 62 h 354"/>
              <a:gd name="T50" fmla="*/ 65 w 304"/>
              <a:gd name="T51" fmla="*/ 89 h 354"/>
              <a:gd name="T52" fmla="*/ 65 w 304"/>
              <a:gd name="T53" fmla="*/ 89 h 354"/>
              <a:gd name="T54" fmla="*/ 90 w 304"/>
              <a:gd name="T55" fmla="*/ 85 h 354"/>
              <a:gd name="T56" fmla="*/ 120 w 304"/>
              <a:gd name="T57" fmla="*/ 46 h 354"/>
              <a:gd name="T58" fmla="*/ 155 w 304"/>
              <a:gd name="T59" fmla="*/ 70 h 354"/>
              <a:gd name="T60" fmla="*/ 99 w 304"/>
              <a:gd name="T61" fmla="*/ 142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04" h="354">
                <a:moveTo>
                  <a:pt x="284" y="35"/>
                </a:moveTo>
                <a:cubicBezTo>
                  <a:pt x="284" y="55"/>
                  <a:pt x="268" y="71"/>
                  <a:pt x="248" y="71"/>
                </a:cubicBezTo>
                <a:cubicBezTo>
                  <a:pt x="229" y="71"/>
                  <a:pt x="213" y="55"/>
                  <a:pt x="213" y="35"/>
                </a:cubicBezTo>
                <a:cubicBezTo>
                  <a:pt x="213" y="16"/>
                  <a:pt x="229" y="0"/>
                  <a:pt x="248" y="0"/>
                </a:cubicBezTo>
                <a:cubicBezTo>
                  <a:pt x="268" y="0"/>
                  <a:pt x="284" y="16"/>
                  <a:pt x="284" y="35"/>
                </a:cubicBezTo>
                <a:close/>
                <a:moveTo>
                  <a:pt x="213" y="248"/>
                </a:moveTo>
                <a:cubicBezTo>
                  <a:pt x="213" y="189"/>
                  <a:pt x="165" y="142"/>
                  <a:pt x="107" y="142"/>
                </a:cubicBezTo>
                <a:cubicBezTo>
                  <a:pt x="48" y="142"/>
                  <a:pt x="0" y="189"/>
                  <a:pt x="0" y="248"/>
                </a:cubicBezTo>
                <a:cubicBezTo>
                  <a:pt x="0" y="306"/>
                  <a:pt x="48" y="354"/>
                  <a:pt x="107" y="354"/>
                </a:cubicBezTo>
                <a:cubicBezTo>
                  <a:pt x="165" y="354"/>
                  <a:pt x="213" y="306"/>
                  <a:pt x="213" y="248"/>
                </a:cubicBezTo>
                <a:close/>
                <a:moveTo>
                  <a:pt x="205" y="207"/>
                </a:moveTo>
                <a:cubicBezTo>
                  <a:pt x="261" y="207"/>
                  <a:pt x="261" y="207"/>
                  <a:pt x="261" y="207"/>
                </a:cubicBezTo>
                <a:cubicBezTo>
                  <a:pt x="242" y="303"/>
                  <a:pt x="242" y="303"/>
                  <a:pt x="242" y="303"/>
                </a:cubicBezTo>
                <a:cubicBezTo>
                  <a:pt x="240" y="314"/>
                  <a:pt x="248" y="325"/>
                  <a:pt x="260" y="325"/>
                </a:cubicBezTo>
                <a:cubicBezTo>
                  <a:pt x="260" y="325"/>
                  <a:pt x="260" y="325"/>
                  <a:pt x="260" y="325"/>
                </a:cubicBezTo>
                <a:cubicBezTo>
                  <a:pt x="269" y="325"/>
                  <a:pt x="276" y="319"/>
                  <a:pt x="278" y="310"/>
                </a:cubicBezTo>
                <a:cubicBezTo>
                  <a:pt x="301" y="192"/>
                  <a:pt x="301" y="192"/>
                  <a:pt x="301" y="192"/>
                </a:cubicBezTo>
                <a:cubicBezTo>
                  <a:pt x="304" y="181"/>
                  <a:pt x="295" y="171"/>
                  <a:pt x="284" y="171"/>
                </a:cubicBezTo>
                <a:cubicBezTo>
                  <a:pt x="180" y="171"/>
                  <a:pt x="180" y="171"/>
                  <a:pt x="180" y="171"/>
                </a:cubicBezTo>
                <a:moveTo>
                  <a:pt x="181" y="172"/>
                </a:moveTo>
                <a:cubicBezTo>
                  <a:pt x="219" y="123"/>
                  <a:pt x="219" y="123"/>
                  <a:pt x="219" y="123"/>
                </a:cubicBezTo>
                <a:cubicBezTo>
                  <a:pt x="234" y="104"/>
                  <a:pt x="230" y="76"/>
                  <a:pt x="210" y="63"/>
                </a:cubicBezTo>
                <a:cubicBezTo>
                  <a:pt x="129" y="9"/>
                  <a:pt x="129" y="9"/>
                  <a:pt x="129" y="9"/>
                </a:cubicBezTo>
                <a:cubicBezTo>
                  <a:pt x="120" y="3"/>
                  <a:pt x="106" y="5"/>
                  <a:pt x="99" y="14"/>
                </a:cubicBezTo>
                <a:cubicBezTo>
                  <a:pt x="61" y="62"/>
                  <a:pt x="61" y="62"/>
                  <a:pt x="61" y="62"/>
                </a:cubicBezTo>
                <a:cubicBezTo>
                  <a:pt x="55" y="71"/>
                  <a:pt x="57" y="83"/>
                  <a:pt x="65" y="89"/>
                </a:cubicBezTo>
                <a:cubicBezTo>
                  <a:pt x="65" y="89"/>
                  <a:pt x="65" y="89"/>
                  <a:pt x="65" y="89"/>
                </a:cubicBezTo>
                <a:cubicBezTo>
                  <a:pt x="73" y="94"/>
                  <a:pt x="84" y="92"/>
                  <a:pt x="90" y="85"/>
                </a:cubicBezTo>
                <a:cubicBezTo>
                  <a:pt x="120" y="46"/>
                  <a:pt x="120" y="46"/>
                  <a:pt x="120" y="46"/>
                </a:cubicBezTo>
                <a:cubicBezTo>
                  <a:pt x="155" y="70"/>
                  <a:pt x="155" y="70"/>
                  <a:pt x="155" y="70"/>
                </a:cubicBezTo>
                <a:cubicBezTo>
                  <a:pt x="99" y="142"/>
                  <a:pt x="99" y="142"/>
                  <a:pt x="99" y="14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 name="Graphic 13">
            <a:extLst>
              <a:ext uri="{FF2B5EF4-FFF2-40B4-BE49-F238E27FC236}">
                <a16:creationId xmlns:a16="http://schemas.microsoft.com/office/drawing/2014/main" id="{C5F3F5EB-7A27-479D-9E30-43DC3B07745E}"/>
              </a:ext>
              <a:ext uri="{C183D7F6-B498-43B3-948B-1728B52AA6E4}">
                <adec:decorative xmlns:adec="http://schemas.microsoft.com/office/drawing/2017/decorative" val="1"/>
              </a:ext>
            </a:extLst>
          </p:cNvPr>
          <p:cNvSpPr/>
          <p:nvPr/>
        </p:nvSpPr>
        <p:spPr>
          <a:xfrm>
            <a:off x="8415456" y="2705880"/>
            <a:ext cx="349788" cy="481674"/>
          </a:xfrm>
          <a:custGeom>
            <a:avLst/>
            <a:gdLst>
              <a:gd name="connsiteX0" fmla="*/ 0 w 281844"/>
              <a:gd name="connsiteY0" fmla="*/ 124079 h 388112"/>
              <a:gd name="connsiteX1" fmla="*/ 157925 w 281844"/>
              <a:gd name="connsiteY1" fmla="*/ 1111 h 388112"/>
              <a:gd name="connsiteX2" fmla="*/ 281845 w 281844"/>
              <a:gd name="connsiteY2" fmla="*/ 141796 h 388112"/>
              <a:gd name="connsiteX3" fmla="*/ 209836 w 281844"/>
              <a:gd name="connsiteY3" fmla="*/ 263525 h 388112"/>
              <a:gd name="connsiteX4" fmla="*/ 208026 w 281844"/>
              <a:gd name="connsiteY4" fmla="*/ 265335 h 388112"/>
              <a:gd name="connsiteX5" fmla="*/ 208026 w 281844"/>
              <a:gd name="connsiteY5" fmla="*/ 311245 h 388112"/>
              <a:gd name="connsiteX6" fmla="*/ 131255 w 281844"/>
              <a:gd name="connsiteY6" fmla="*/ 388112 h 388112"/>
              <a:gd name="connsiteX7" fmla="*/ 126587 w 281844"/>
              <a:gd name="connsiteY7" fmla="*/ 388112 h 388112"/>
              <a:gd name="connsiteX8" fmla="*/ 84487 w 281844"/>
              <a:gd name="connsiteY8" fmla="*/ 379540 h 388112"/>
              <a:gd name="connsiteX9" fmla="*/ 62770 w 281844"/>
              <a:gd name="connsiteY9" fmla="*/ 370205 h 388112"/>
              <a:gd name="connsiteX10" fmla="*/ 67818 w 281844"/>
              <a:gd name="connsiteY10" fmla="*/ 271336 h 388112"/>
              <a:gd name="connsiteX11" fmla="*/ 68866 w 281844"/>
              <a:gd name="connsiteY11" fmla="*/ 298006 h 388112"/>
              <a:gd name="connsiteX12" fmla="*/ 89916 w 281844"/>
              <a:gd name="connsiteY12" fmla="*/ 311817 h 388112"/>
              <a:gd name="connsiteX13" fmla="*/ 135446 w 281844"/>
              <a:gd name="connsiteY13" fmla="*/ 284766 h 388112"/>
              <a:gd name="connsiteX14" fmla="*/ 141542 w 281844"/>
              <a:gd name="connsiteY14" fmla="*/ 260287 h 388112"/>
              <a:gd name="connsiteX15" fmla="*/ 143732 w 281844"/>
              <a:gd name="connsiteY15" fmla="*/ 258953 h 388112"/>
              <a:gd name="connsiteX16" fmla="*/ 194405 w 281844"/>
              <a:gd name="connsiteY16" fmla="*/ 207994 h 388112"/>
              <a:gd name="connsiteX17" fmla="*/ 151352 w 281844"/>
              <a:gd name="connsiteY17" fmla="*/ 124555 h 388112"/>
              <a:gd name="connsiteX18" fmla="*/ 59150 w 281844"/>
              <a:gd name="connsiteY18" fmla="*/ 164751 h 388112"/>
              <a:gd name="connsiteX19" fmla="*/ 223552 w 281844"/>
              <a:gd name="connsiteY19" fmla="*/ 132461 h 388112"/>
              <a:gd name="connsiteX20" fmla="*/ 209455 w 281844"/>
              <a:gd name="connsiteY20" fmla="*/ 95980 h 388112"/>
              <a:gd name="connsiteX21" fmla="*/ 176117 w 281844"/>
              <a:gd name="connsiteY21" fmla="*/ 66358 h 388112"/>
              <a:gd name="connsiteX22" fmla="*/ 149352 w 281844"/>
              <a:gd name="connsiteY22" fmla="*/ 58738 h 388112"/>
              <a:gd name="connsiteX23" fmla="*/ 138684 w 281844"/>
              <a:gd name="connsiteY23" fmla="*/ 58261 h 388112"/>
              <a:gd name="connsiteX24" fmla="*/ 56007 w 281844"/>
              <a:gd name="connsiteY24" fmla="*/ 143891 h 388112"/>
              <a:gd name="connsiteX25" fmla="*/ 56007 w 281844"/>
              <a:gd name="connsiteY25" fmla="*/ 143891 h 388112"/>
              <a:gd name="connsiteX26" fmla="*/ 56007 w 281844"/>
              <a:gd name="connsiteY26" fmla="*/ 143891 h 388112"/>
              <a:gd name="connsiteX27" fmla="*/ 56579 w 281844"/>
              <a:gd name="connsiteY27" fmla="*/ 153988 h 388112"/>
              <a:gd name="connsiteX28" fmla="*/ 58960 w 281844"/>
              <a:gd name="connsiteY28" fmla="*/ 164656 h 388112"/>
              <a:gd name="connsiteX29" fmla="*/ 76486 w 281844"/>
              <a:gd name="connsiteY29" fmla="*/ 197612 h 38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1844" h="388112">
                <a:moveTo>
                  <a:pt x="0" y="124079"/>
                </a:moveTo>
                <a:cubicBezTo>
                  <a:pt x="9716" y="46450"/>
                  <a:pt x="80391" y="-8604"/>
                  <a:pt x="157925" y="1111"/>
                </a:cubicBezTo>
                <a:cubicBezTo>
                  <a:pt x="228791" y="9970"/>
                  <a:pt x="281940" y="70263"/>
                  <a:pt x="281845" y="141796"/>
                </a:cubicBezTo>
                <a:cubicBezTo>
                  <a:pt x="281845" y="187706"/>
                  <a:pt x="249269" y="224092"/>
                  <a:pt x="209836" y="263525"/>
                </a:cubicBezTo>
                <a:lnTo>
                  <a:pt x="208026" y="265335"/>
                </a:lnTo>
                <a:lnTo>
                  <a:pt x="208026" y="311245"/>
                </a:lnTo>
                <a:cubicBezTo>
                  <a:pt x="207931" y="353632"/>
                  <a:pt x="173641" y="388017"/>
                  <a:pt x="131255" y="388112"/>
                </a:cubicBezTo>
                <a:lnTo>
                  <a:pt x="126587" y="388112"/>
                </a:lnTo>
                <a:cubicBezTo>
                  <a:pt x="112109" y="388112"/>
                  <a:pt x="97822" y="385159"/>
                  <a:pt x="84487" y="379540"/>
                </a:cubicBezTo>
                <a:lnTo>
                  <a:pt x="62770" y="370205"/>
                </a:lnTo>
                <a:moveTo>
                  <a:pt x="67818" y="271336"/>
                </a:moveTo>
                <a:cubicBezTo>
                  <a:pt x="64389" y="280003"/>
                  <a:pt x="64770" y="289624"/>
                  <a:pt x="68866" y="298006"/>
                </a:cubicBezTo>
                <a:cubicBezTo>
                  <a:pt x="73342" y="305626"/>
                  <a:pt x="81058" y="310769"/>
                  <a:pt x="89916" y="311817"/>
                </a:cubicBezTo>
                <a:cubicBezTo>
                  <a:pt x="109919" y="316484"/>
                  <a:pt x="129921" y="304483"/>
                  <a:pt x="135446" y="284766"/>
                </a:cubicBezTo>
                <a:lnTo>
                  <a:pt x="141542" y="260287"/>
                </a:lnTo>
                <a:lnTo>
                  <a:pt x="143732" y="258953"/>
                </a:lnTo>
                <a:cubicBezTo>
                  <a:pt x="168212" y="244285"/>
                  <a:pt x="188881" y="230283"/>
                  <a:pt x="194405" y="207994"/>
                </a:cubicBezTo>
                <a:cubicBezTo>
                  <a:pt x="202978" y="173323"/>
                  <a:pt x="184595" y="137700"/>
                  <a:pt x="151352" y="124555"/>
                </a:cubicBezTo>
                <a:cubicBezTo>
                  <a:pt x="114776" y="110173"/>
                  <a:pt x="73533" y="128175"/>
                  <a:pt x="59150" y="164751"/>
                </a:cubicBezTo>
                <a:moveTo>
                  <a:pt x="223552" y="132461"/>
                </a:moveTo>
                <a:cubicBezTo>
                  <a:pt x="222314" y="124174"/>
                  <a:pt x="218980" y="110268"/>
                  <a:pt x="209455" y="95980"/>
                </a:cubicBezTo>
                <a:cubicBezTo>
                  <a:pt x="206026" y="90837"/>
                  <a:pt x="195644" y="75692"/>
                  <a:pt x="176117" y="66358"/>
                </a:cubicBezTo>
                <a:cubicBezTo>
                  <a:pt x="164402" y="60738"/>
                  <a:pt x="153543" y="59214"/>
                  <a:pt x="149352" y="58738"/>
                </a:cubicBezTo>
                <a:cubicBezTo>
                  <a:pt x="145828" y="58357"/>
                  <a:pt x="142208" y="58166"/>
                  <a:pt x="138684" y="58261"/>
                </a:cubicBezTo>
                <a:cubicBezTo>
                  <a:pt x="92202" y="59023"/>
                  <a:pt x="55245" y="97409"/>
                  <a:pt x="56007" y="143891"/>
                </a:cubicBezTo>
                <a:cubicBezTo>
                  <a:pt x="56007" y="143891"/>
                  <a:pt x="56007" y="143891"/>
                  <a:pt x="56007" y="143891"/>
                </a:cubicBezTo>
                <a:cubicBezTo>
                  <a:pt x="56007" y="143891"/>
                  <a:pt x="56007" y="143891"/>
                  <a:pt x="56007" y="143891"/>
                </a:cubicBezTo>
                <a:cubicBezTo>
                  <a:pt x="56007" y="146844"/>
                  <a:pt x="56102" y="150178"/>
                  <a:pt x="56579" y="153988"/>
                </a:cubicBezTo>
                <a:cubicBezTo>
                  <a:pt x="56579" y="153988"/>
                  <a:pt x="57245" y="159131"/>
                  <a:pt x="58960" y="164656"/>
                </a:cubicBezTo>
                <a:cubicBezTo>
                  <a:pt x="60674" y="170180"/>
                  <a:pt x="66389" y="182658"/>
                  <a:pt x="76486" y="197612"/>
                </a:cubicBezTo>
              </a:path>
            </a:pathLst>
          </a:custGeom>
          <a:noFill/>
          <a:ln w="19050" cap="flat">
            <a:solidFill>
              <a:schemeClr val="tx2"/>
            </a:solidFill>
            <a:prstDash val="solid"/>
            <a:miter/>
          </a:ln>
        </p:spPr>
        <p:txBody>
          <a:bodyPr rtlCol="0" anchor="ctr"/>
          <a:lstStyle/>
          <a:p>
            <a:endParaRPr lang="en-IN"/>
          </a:p>
        </p:txBody>
      </p:sp>
      <p:grpSp>
        <p:nvGrpSpPr>
          <p:cNvPr id="48" name="Group 47">
            <a:extLst>
              <a:ext uri="{FF2B5EF4-FFF2-40B4-BE49-F238E27FC236}">
                <a16:creationId xmlns:a16="http://schemas.microsoft.com/office/drawing/2014/main" id="{4D839A71-ACB9-41F5-9DEB-64267FC00C19}"/>
              </a:ext>
              <a:ext uri="{C183D7F6-B498-43B3-948B-1728B52AA6E4}">
                <adec:decorative xmlns:adec="http://schemas.microsoft.com/office/drawing/2017/decorative" val="1"/>
              </a:ext>
            </a:extLst>
          </p:cNvPr>
          <p:cNvGrpSpPr/>
          <p:nvPr/>
        </p:nvGrpSpPr>
        <p:grpSpPr>
          <a:xfrm>
            <a:off x="11488324" y="162790"/>
            <a:ext cx="777240" cy="778243"/>
            <a:chOff x="1517398" y="3231556"/>
            <a:chExt cx="1466268" cy="1466264"/>
          </a:xfrm>
        </p:grpSpPr>
        <p:sp>
          <p:nvSpPr>
            <p:cNvPr id="49" name="Oval 48">
              <a:extLst>
                <a:ext uri="{FF2B5EF4-FFF2-40B4-BE49-F238E27FC236}">
                  <a16:creationId xmlns:a16="http://schemas.microsoft.com/office/drawing/2014/main" id="{641C18A0-C612-495F-979A-E87108FBF11A}"/>
                </a:ext>
              </a:extLst>
            </p:cNvPr>
            <p:cNvSpPr/>
            <p:nvPr/>
          </p:nvSpPr>
          <p:spPr bwMode="auto">
            <a:xfrm>
              <a:off x="1517398" y="3231556"/>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nvGrpSpPr>
            <p:cNvPr id="50" name="Group 49">
              <a:extLst>
                <a:ext uri="{FF2B5EF4-FFF2-40B4-BE49-F238E27FC236}">
                  <a16:creationId xmlns:a16="http://schemas.microsoft.com/office/drawing/2014/main" id="{93ADAF14-E88A-4C4F-9E20-AFBA17D1000E}"/>
                </a:ext>
              </a:extLst>
            </p:cNvPr>
            <p:cNvGrpSpPr/>
            <p:nvPr/>
          </p:nvGrpSpPr>
          <p:grpSpPr>
            <a:xfrm>
              <a:off x="1867655" y="3505713"/>
              <a:ext cx="765754" cy="917950"/>
              <a:chOff x="1867655" y="3505713"/>
              <a:chExt cx="765754" cy="917950"/>
            </a:xfrm>
          </p:grpSpPr>
          <p:sp>
            <p:nvSpPr>
              <p:cNvPr id="51" name="Freeform: Shape 50">
                <a:extLst>
                  <a:ext uri="{FF2B5EF4-FFF2-40B4-BE49-F238E27FC236}">
                    <a16:creationId xmlns:a16="http://schemas.microsoft.com/office/drawing/2014/main" id="{910CFF55-0EC2-455C-82AB-DD901BF9A291}"/>
                  </a:ext>
                </a:extLst>
              </p:cNvPr>
              <p:cNvSpPr/>
              <p:nvPr/>
            </p:nvSpPr>
            <p:spPr>
              <a:xfrm>
                <a:off x="2117907" y="3505713"/>
                <a:ext cx="248887" cy="335759"/>
              </a:xfrm>
              <a:custGeom>
                <a:avLst/>
                <a:gdLst>
                  <a:gd name="connsiteX0" fmla="*/ 164021 w 173831"/>
                  <a:gd name="connsiteY0" fmla="*/ 231172 h 234505"/>
                  <a:gd name="connsiteX1" fmla="*/ 173831 w 173831"/>
                  <a:gd name="connsiteY1" fmla="*/ 174784 h 234505"/>
                  <a:gd name="connsiteX2" fmla="*/ 0 w 173831"/>
                  <a:gd name="connsiteY2" fmla="*/ 0 h 234505"/>
                  <a:gd name="connsiteX3" fmla="*/ 88487 w 173831"/>
                  <a:gd name="connsiteY3" fmla="*/ 174784 h 234505"/>
                  <a:gd name="connsiteX4" fmla="*/ 83058 w 173831"/>
                  <a:gd name="connsiteY4" fmla="*/ 234506 h 234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831" h="234505">
                    <a:moveTo>
                      <a:pt x="164021" y="231172"/>
                    </a:moveTo>
                    <a:cubicBezTo>
                      <a:pt x="170212" y="213455"/>
                      <a:pt x="173831" y="194596"/>
                      <a:pt x="173831" y="174784"/>
                    </a:cubicBezTo>
                    <a:cubicBezTo>
                      <a:pt x="173831" y="78010"/>
                      <a:pt x="95822" y="0"/>
                      <a:pt x="0" y="0"/>
                    </a:cubicBezTo>
                    <a:cubicBezTo>
                      <a:pt x="48863" y="0"/>
                      <a:pt x="88487" y="78010"/>
                      <a:pt x="88487" y="174784"/>
                    </a:cubicBezTo>
                    <a:cubicBezTo>
                      <a:pt x="88487" y="195739"/>
                      <a:pt x="86487" y="215837"/>
                      <a:pt x="83058" y="234506"/>
                    </a:cubicBezTo>
                  </a:path>
                </a:pathLst>
              </a:custGeom>
              <a:noFill/>
              <a:ln w="19050" cap="flat">
                <a:solidFill>
                  <a:schemeClr val="tx2"/>
                </a:solidFill>
                <a:prstDash val="solid"/>
                <a:round/>
              </a:ln>
            </p:spPr>
            <p:txBody>
              <a:bodyPr rtlCol="0" anchor="ctr"/>
              <a:lstStyle/>
              <a:p>
                <a:endParaRPr lang="en-IN"/>
              </a:p>
            </p:txBody>
          </p:sp>
          <p:sp>
            <p:nvSpPr>
              <p:cNvPr id="52" name="Freeform: Shape 51">
                <a:extLst>
                  <a:ext uri="{FF2B5EF4-FFF2-40B4-BE49-F238E27FC236}">
                    <a16:creationId xmlns:a16="http://schemas.microsoft.com/office/drawing/2014/main" id="{1030F6B8-B84A-4225-A7F9-E38490539CC8}"/>
                  </a:ext>
                </a:extLst>
              </p:cNvPr>
              <p:cNvSpPr/>
              <p:nvPr/>
            </p:nvSpPr>
            <p:spPr>
              <a:xfrm>
                <a:off x="1867655" y="3505713"/>
                <a:ext cx="250386" cy="463135"/>
              </a:xfrm>
              <a:custGeom>
                <a:avLst/>
                <a:gdLst>
                  <a:gd name="connsiteX0" fmla="*/ 116300 w 174878"/>
                  <a:gd name="connsiteY0" fmla="*/ 306419 h 323469"/>
                  <a:gd name="connsiteX1" fmla="*/ 85344 w 174878"/>
                  <a:gd name="connsiteY1" fmla="*/ 174784 h 323469"/>
                  <a:gd name="connsiteX2" fmla="*/ 174879 w 174878"/>
                  <a:gd name="connsiteY2" fmla="*/ 0 h 323469"/>
                  <a:gd name="connsiteX3" fmla="*/ 0 w 174878"/>
                  <a:gd name="connsiteY3" fmla="*/ 174784 h 323469"/>
                  <a:gd name="connsiteX4" fmla="*/ 84868 w 174878"/>
                  <a:gd name="connsiteY4" fmla="*/ 323469 h 32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78" h="323469">
                    <a:moveTo>
                      <a:pt x="116300" y="306419"/>
                    </a:moveTo>
                    <a:cubicBezTo>
                      <a:pt x="97250" y="274606"/>
                      <a:pt x="85344" y="227362"/>
                      <a:pt x="85344" y="174784"/>
                    </a:cubicBezTo>
                    <a:cubicBezTo>
                      <a:pt x="85344" y="78010"/>
                      <a:pt x="124873" y="0"/>
                      <a:pt x="174879" y="0"/>
                    </a:cubicBezTo>
                    <a:cubicBezTo>
                      <a:pt x="78010" y="0"/>
                      <a:pt x="0" y="78010"/>
                      <a:pt x="0" y="174784"/>
                    </a:cubicBezTo>
                    <a:cubicBezTo>
                      <a:pt x="0" y="237935"/>
                      <a:pt x="34004" y="293180"/>
                      <a:pt x="84868" y="323469"/>
                    </a:cubicBezTo>
                  </a:path>
                </a:pathLst>
              </a:custGeom>
              <a:noFill/>
              <a:ln w="19050" cap="flat">
                <a:solidFill>
                  <a:schemeClr val="tx2"/>
                </a:solidFill>
                <a:prstDash val="solid"/>
                <a:round/>
              </a:ln>
            </p:spPr>
            <p:txBody>
              <a:bodyPr rtlCol="0" anchor="ctr"/>
              <a:lstStyle/>
              <a:p>
                <a:endParaRPr lang="en-IN"/>
              </a:p>
            </p:txBody>
          </p:sp>
          <p:sp>
            <p:nvSpPr>
              <p:cNvPr id="53" name="Freeform: Shape 52">
                <a:extLst>
                  <a:ext uri="{FF2B5EF4-FFF2-40B4-BE49-F238E27FC236}">
                    <a16:creationId xmlns:a16="http://schemas.microsoft.com/office/drawing/2014/main" id="{ED8A56E4-82C7-4109-B76C-4ECEEF6E9DC0}"/>
                  </a:ext>
                </a:extLst>
              </p:cNvPr>
              <p:cNvSpPr/>
              <p:nvPr/>
            </p:nvSpPr>
            <p:spPr>
              <a:xfrm>
                <a:off x="1879520" y="3678503"/>
                <a:ext cx="475272" cy="13638"/>
              </a:xfrm>
              <a:custGeom>
                <a:avLst/>
                <a:gdLst>
                  <a:gd name="connsiteX0" fmla="*/ 0 w 331946"/>
                  <a:gd name="connsiteY0" fmla="*/ 0 h 9525"/>
                  <a:gd name="connsiteX1" fmla="*/ 331946 w 331946"/>
                  <a:gd name="connsiteY1" fmla="*/ 0 h 9525"/>
                </a:gdLst>
                <a:ahLst/>
                <a:cxnLst>
                  <a:cxn ang="0">
                    <a:pos x="connsiteX0" y="connsiteY0"/>
                  </a:cxn>
                  <a:cxn ang="0">
                    <a:pos x="connsiteX1" y="connsiteY1"/>
                  </a:cxn>
                </a:cxnLst>
                <a:rect l="l" t="t" r="r" b="b"/>
                <a:pathLst>
                  <a:path w="331946" h="9525">
                    <a:moveTo>
                      <a:pt x="0" y="0"/>
                    </a:moveTo>
                    <a:cubicBezTo>
                      <a:pt x="331946" y="0"/>
                      <a:pt x="331946" y="0"/>
                      <a:pt x="331946" y="0"/>
                    </a:cubicBezTo>
                  </a:path>
                </a:pathLst>
              </a:custGeom>
              <a:noFill/>
              <a:ln w="19050" cap="flat">
                <a:solidFill>
                  <a:schemeClr val="tx2"/>
                </a:solidFill>
                <a:prstDash val="solid"/>
                <a:round/>
              </a:ln>
            </p:spPr>
            <p:txBody>
              <a:bodyPr rtlCol="0" anchor="ctr"/>
              <a:lstStyle/>
              <a:p>
                <a:endParaRPr lang="en-IN"/>
              </a:p>
            </p:txBody>
          </p:sp>
          <p:sp>
            <p:nvSpPr>
              <p:cNvPr id="54" name="Freeform: Shape 53">
                <a:extLst>
                  <a:ext uri="{FF2B5EF4-FFF2-40B4-BE49-F238E27FC236}">
                    <a16:creationId xmlns:a16="http://schemas.microsoft.com/office/drawing/2014/main" id="{D09F6A07-89AA-4C24-B0A3-E43C707A7975}"/>
                  </a:ext>
                </a:extLst>
              </p:cNvPr>
              <p:cNvSpPr/>
              <p:nvPr/>
            </p:nvSpPr>
            <p:spPr>
              <a:xfrm>
                <a:off x="1881021" y="3834927"/>
                <a:ext cx="355397" cy="13638"/>
              </a:xfrm>
              <a:custGeom>
                <a:avLst/>
                <a:gdLst>
                  <a:gd name="connsiteX0" fmla="*/ 0 w 248221"/>
                  <a:gd name="connsiteY0" fmla="*/ 0 h 9525"/>
                  <a:gd name="connsiteX1" fmla="*/ 248222 w 248221"/>
                  <a:gd name="connsiteY1" fmla="*/ 0 h 9525"/>
                </a:gdLst>
                <a:ahLst/>
                <a:cxnLst>
                  <a:cxn ang="0">
                    <a:pos x="connsiteX0" y="connsiteY0"/>
                  </a:cxn>
                  <a:cxn ang="0">
                    <a:pos x="connsiteX1" y="connsiteY1"/>
                  </a:cxn>
                </a:cxnLst>
                <a:rect l="l" t="t" r="r" b="b"/>
                <a:pathLst>
                  <a:path w="248221" h="9525">
                    <a:moveTo>
                      <a:pt x="0" y="0"/>
                    </a:moveTo>
                    <a:cubicBezTo>
                      <a:pt x="122777" y="0"/>
                      <a:pt x="199835" y="0"/>
                      <a:pt x="248222" y="0"/>
                    </a:cubicBezTo>
                  </a:path>
                </a:pathLst>
              </a:custGeom>
              <a:noFill/>
              <a:ln w="19050" cap="flat">
                <a:solidFill>
                  <a:schemeClr val="tx2"/>
                </a:solidFill>
                <a:prstDash val="solid"/>
                <a:round/>
              </a:ln>
            </p:spPr>
            <p:txBody>
              <a:bodyPr rtlCol="0" anchor="ctr"/>
              <a:lstStyle/>
              <a:p>
                <a:endParaRPr lang="en-IN"/>
              </a:p>
            </p:txBody>
          </p:sp>
          <p:grpSp>
            <p:nvGrpSpPr>
              <p:cNvPr id="55" name="Graphic 70">
                <a:extLst>
                  <a:ext uri="{FF2B5EF4-FFF2-40B4-BE49-F238E27FC236}">
                    <a16:creationId xmlns:a16="http://schemas.microsoft.com/office/drawing/2014/main" id="{FA23A106-4BDB-4C24-9E3C-3132750451C0}"/>
                  </a:ext>
                </a:extLst>
              </p:cNvPr>
              <p:cNvGrpSpPr/>
              <p:nvPr/>
            </p:nvGrpSpPr>
            <p:grpSpPr>
              <a:xfrm>
                <a:off x="1927798" y="3811606"/>
                <a:ext cx="705611" cy="612057"/>
                <a:chOff x="4091871" y="3894026"/>
                <a:chExt cx="492822" cy="427481"/>
              </a:xfrm>
              <a:noFill/>
            </p:grpSpPr>
            <p:sp>
              <p:nvSpPr>
                <p:cNvPr id="57" name="Freeform: Shape 56">
                  <a:extLst>
                    <a:ext uri="{FF2B5EF4-FFF2-40B4-BE49-F238E27FC236}">
                      <a16:creationId xmlns:a16="http://schemas.microsoft.com/office/drawing/2014/main" id="{2BA48A29-478E-4CD8-AD1D-2EC382C1E14A}"/>
                    </a:ext>
                  </a:extLst>
                </p:cNvPr>
                <p:cNvSpPr/>
                <p:nvPr/>
              </p:nvSpPr>
              <p:spPr>
                <a:xfrm>
                  <a:off x="4091871" y="4217495"/>
                  <a:ext cx="91439" cy="104012"/>
                </a:xfrm>
                <a:custGeom>
                  <a:avLst/>
                  <a:gdLst>
                    <a:gd name="connsiteX0" fmla="*/ 91440 w 91439"/>
                    <a:gd name="connsiteY0" fmla="*/ 104013 h 104012"/>
                    <a:gd name="connsiteX1" fmla="*/ 91440 w 91439"/>
                    <a:gd name="connsiteY1" fmla="*/ 37433 h 104012"/>
                    <a:gd name="connsiteX2" fmla="*/ 45720 w 91439"/>
                    <a:gd name="connsiteY2" fmla="*/ 0 h 104012"/>
                    <a:gd name="connsiteX3" fmla="*/ 45720 w 91439"/>
                    <a:gd name="connsiteY3" fmla="*/ 0 h 104012"/>
                    <a:gd name="connsiteX4" fmla="*/ 0 w 91439"/>
                    <a:gd name="connsiteY4" fmla="*/ 37433 h 104012"/>
                    <a:gd name="connsiteX5" fmla="*/ 0 w 91439"/>
                    <a:gd name="connsiteY5" fmla="*/ 104013 h 104012"/>
                    <a:gd name="connsiteX6" fmla="*/ 91440 w 91439"/>
                    <a:gd name="connsiteY6" fmla="*/ 104013 h 104012"/>
                    <a:gd name="connsiteX7" fmla="*/ 91440 w 91439"/>
                    <a:gd name="connsiteY7" fmla="*/ 104013 h 104012"/>
                    <a:gd name="connsiteX8" fmla="*/ 91440 w 91439"/>
                    <a:gd name="connsiteY8" fmla="*/ 104013 h 104012"/>
                    <a:gd name="connsiteX9" fmla="*/ 91440 w 91439"/>
                    <a:gd name="connsiteY9" fmla="*/ 104013 h 104012"/>
                    <a:gd name="connsiteX10" fmla="*/ 91440 w 91439"/>
                    <a:gd name="connsiteY10" fmla="*/ 104013 h 10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39" h="104012">
                      <a:moveTo>
                        <a:pt x="91440" y="104013"/>
                      </a:moveTo>
                      <a:cubicBezTo>
                        <a:pt x="91440" y="37433"/>
                        <a:pt x="91440" y="37433"/>
                        <a:pt x="91440" y="37433"/>
                      </a:cubicBezTo>
                      <a:cubicBezTo>
                        <a:pt x="91440" y="16669"/>
                        <a:pt x="68485" y="0"/>
                        <a:pt x="45720" y="0"/>
                      </a:cubicBezTo>
                      <a:lnTo>
                        <a:pt x="45720" y="0"/>
                      </a:lnTo>
                      <a:cubicBezTo>
                        <a:pt x="18383" y="0"/>
                        <a:pt x="0" y="16669"/>
                        <a:pt x="0" y="37433"/>
                      </a:cubicBezTo>
                      <a:cubicBezTo>
                        <a:pt x="0" y="104013"/>
                        <a:pt x="0" y="104013"/>
                        <a:pt x="0" y="104013"/>
                      </a:cubicBezTo>
                      <a:cubicBezTo>
                        <a:pt x="91440" y="104013"/>
                        <a:pt x="91440" y="104013"/>
                        <a:pt x="91440" y="104013"/>
                      </a:cubicBezTo>
                      <a:lnTo>
                        <a:pt x="91440" y="104013"/>
                      </a:lnTo>
                      <a:lnTo>
                        <a:pt x="91440" y="104013"/>
                      </a:lnTo>
                      <a:lnTo>
                        <a:pt x="91440" y="104013"/>
                      </a:lnTo>
                      <a:lnTo>
                        <a:pt x="91440" y="104013"/>
                      </a:lnTo>
                      <a:close/>
                    </a:path>
                  </a:pathLst>
                </a:custGeom>
                <a:noFill/>
                <a:ln w="19050" cap="flat">
                  <a:solidFill>
                    <a:schemeClr val="tx2"/>
                  </a:solidFill>
                  <a:prstDash val="solid"/>
                  <a:round/>
                </a:ln>
              </p:spPr>
              <p:txBody>
                <a:bodyPr rtlCol="0" anchor="ctr"/>
                <a:lstStyle/>
                <a:p>
                  <a:endParaRPr lang="en-IN"/>
                </a:p>
              </p:txBody>
            </p:sp>
            <p:grpSp>
              <p:nvGrpSpPr>
                <p:cNvPr id="59" name="Graphic 70">
                  <a:extLst>
                    <a:ext uri="{FF2B5EF4-FFF2-40B4-BE49-F238E27FC236}">
                      <a16:creationId xmlns:a16="http://schemas.microsoft.com/office/drawing/2014/main" id="{736D8E9A-30DF-4174-BF47-E9CA2703D9EC}"/>
                    </a:ext>
                  </a:extLst>
                </p:cNvPr>
                <p:cNvGrpSpPr/>
                <p:nvPr/>
              </p:nvGrpSpPr>
              <p:grpSpPr>
                <a:xfrm>
                  <a:off x="4117302" y="3894026"/>
                  <a:ext cx="467391" cy="359540"/>
                  <a:chOff x="4117302" y="3894026"/>
                  <a:chExt cx="467391" cy="359540"/>
                </a:xfrm>
                <a:noFill/>
              </p:grpSpPr>
              <p:sp>
                <p:nvSpPr>
                  <p:cNvPr id="61" name="Freeform: Shape 60">
                    <a:extLst>
                      <a:ext uri="{FF2B5EF4-FFF2-40B4-BE49-F238E27FC236}">
                        <a16:creationId xmlns:a16="http://schemas.microsoft.com/office/drawing/2014/main" id="{CF64650F-3A07-426D-A7D1-B84E3C8C67B7}"/>
                      </a:ext>
                    </a:extLst>
                  </p:cNvPr>
                  <p:cNvSpPr/>
                  <p:nvPr/>
                </p:nvSpPr>
                <p:spPr>
                  <a:xfrm>
                    <a:off x="4130733" y="4023185"/>
                    <a:ext cx="9525" cy="194310"/>
                  </a:xfrm>
                  <a:custGeom>
                    <a:avLst/>
                    <a:gdLst>
                      <a:gd name="connsiteX0" fmla="*/ 0 w 9525"/>
                      <a:gd name="connsiteY0" fmla="*/ 0 h 194310"/>
                      <a:gd name="connsiteX1" fmla="*/ 0 w 9525"/>
                      <a:gd name="connsiteY1" fmla="*/ 194310 h 194310"/>
                    </a:gdLst>
                    <a:ahLst/>
                    <a:cxnLst>
                      <a:cxn ang="0">
                        <a:pos x="connsiteX0" y="connsiteY0"/>
                      </a:cxn>
                      <a:cxn ang="0">
                        <a:pos x="connsiteX1" y="connsiteY1"/>
                      </a:cxn>
                    </a:cxnLst>
                    <a:rect l="l" t="t" r="r" b="b"/>
                    <a:pathLst>
                      <a:path w="9525" h="194310">
                        <a:moveTo>
                          <a:pt x="0" y="0"/>
                        </a:moveTo>
                        <a:cubicBezTo>
                          <a:pt x="0" y="194310"/>
                          <a:pt x="0" y="194310"/>
                          <a:pt x="0" y="194310"/>
                        </a:cubicBezTo>
                      </a:path>
                    </a:pathLst>
                  </a:custGeom>
                  <a:noFill/>
                  <a:ln w="19050" cap="flat">
                    <a:solidFill>
                      <a:schemeClr val="tx2"/>
                    </a:solidFill>
                    <a:prstDash val="solid"/>
                    <a:round/>
                  </a:ln>
                </p:spPr>
                <p:txBody>
                  <a:bodyPr rtlCol="0" anchor="ctr"/>
                  <a:lstStyle/>
                  <a:p>
                    <a:endParaRPr lang="en-IN"/>
                  </a:p>
                </p:txBody>
              </p:sp>
              <p:grpSp>
                <p:nvGrpSpPr>
                  <p:cNvPr id="63" name="Graphic 70">
                    <a:extLst>
                      <a:ext uri="{FF2B5EF4-FFF2-40B4-BE49-F238E27FC236}">
                        <a16:creationId xmlns:a16="http://schemas.microsoft.com/office/drawing/2014/main" id="{3168542E-DEE5-4382-8AAE-C5E47F6D764A}"/>
                      </a:ext>
                    </a:extLst>
                  </p:cNvPr>
                  <p:cNvGrpSpPr/>
                  <p:nvPr/>
                </p:nvGrpSpPr>
                <p:grpSpPr>
                  <a:xfrm>
                    <a:off x="4117302" y="3894026"/>
                    <a:ext cx="467391" cy="359540"/>
                    <a:chOff x="4117302" y="3894026"/>
                    <a:chExt cx="467391" cy="359540"/>
                  </a:xfrm>
                  <a:noFill/>
                </p:grpSpPr>
                <p:sp>
                  <p:nvSpPr>
                    <p:cNvPr id="65" name="Freeform: Shape 64">
                      <a:extLst>
                        <a:ext uri="{FF2B5EF4-FFF2-40B4-BE49-F238E27FC236}">
                          <a16:creationId xmlns:a16="http://schemas.microsoft.com/office/drawing/2014/main" id="{80FD3797-7D37-4758-93B6-64759F5818AC}"/>
                        </a:ext>
                      </a:extLst>
                    </p:cNvPr>
                    <p:cNvSpPr/>
                    <p:nvPr/>
                  </p:nvSpPr>
                  <p:spPr>
                    <a:xfrm>
                      <a:off x="4117302" y="3894026"/>
                      <a:ext cx="467391" cy="233267"/>
                    </a:xfrm>
                    <a:custGeom>
                      <a:avLst/>
                      <a:gdLst>
                        <a:gd name="connsiteX0" fmla="*/ 128587 w 467391"/>
                        <a:gd name="connsiteY0" fmla="*/ 51911 h 233267"/>
                        <a:gd name="connsiteX1" fmla="*/ 231553 w 467391"/>
                        <a:gd name="connsiteY1" fmla="*/ 0 h 233267"/>
                        <a:gd name="connsiteX2" fmla="*/ 467392 w 467391"/>
                        <a:gd name="connsiteY2" fmla="*/ 120967 h 233267"/>
                        <a:gd name="connsiteX3" fmla="*/ 231553 w 467391"/>
                        <a:gd name="connsiteY3" fmla="*/ 233267 h 233267"/>
                        <a:gd name="connsiteX4" fmla="*/ 0 w 467391"/>
                        <a:gd name="connsiteY4" fmla="*/ 120967 h 233267"/>
                        <a:gd name="connsiteX5" fmla="*/ 128587 w 467391"/>
                        <a:gd name="connsiteY5" fmla="*/ 51911 h 233267"/>
                        <a:gd name="connsiteX6" fmla="*/ 128587 w 467391"/>
                        <a:gd name="connsiteY6" fmla="*/ 51911 h 233267"/>
                        <a:gd name="connsiteX7" fmla="*/ 128587 w 467391"/>
                        <a:gd name="connsiteY7" fmla="*/ 51911 h 233267"/>
                        <a:gd name="connsiteX8" fmla="*/ 128587 w 467391"/>
                        <a:gd name="connsiteY8" fmla="*/ 51911 h 233267"/>
                        <a:gd name="connsiteX9" fmla="*/ 128587 w 467391"/>
                        <a:gd name="connsiteY9" fmla="*/ 51911 h 233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7391" h="233267">
                          <a:moveTo>
                            <a:pt x="128587" y="51911"/>
                          </a:moveTo>
                          <a:cubicBezTo>
                            <a:pt x="231553" y="0"/>
                            <a:pt x="231553" y="0"/>
                            <a:pt x="231553" y="0"/>
                          </a:cubicBezTo>
                          <a:cubicBezTo>
                            <a:pt x="467392" y="120967"/>
                            <a:pt x="467392" y="120967"/>
                            <a:pt x="467392" y="120967"/>
                          </a:cubicBezTo>
                          <a:cubicBezTo>
                            <a:pt x="231553" y="233267"/>
                            <a:pt x="231553" y="233267"/>
                            <a:pt x="231553" y="233267"/>
                          </a:cubicBezTo>
                          <a:cubicBezTo>
                            <a:pt x="0" y="120967"/>
                            <a:pt x="0" y="120967"/>
                            <a:pt x="0" y="120967"/>
                          </a:cubicBezTo>
                          <a:cubicBezTo>
                            <a:pt x="128587" y="51911"/>
                            <a:pt x="128587" y="51911"/>
                            <a:pt x="128587" y="51911"/>
                          </a:cubicBezTo>
                          <a:lnTo>
                            <a:pt x="128587" y="51911"/>
                          </a:lnTo>
                          <a:lnTo>
                            <a:pt x="128587" y="51911"/>
                          </a:lnTo>
                          <a:lnTo>
                            <a:pt x="128587" y="51911"/>
                          </a:lnTo>
                          <a:lnTo>
                            <a:pt x="128587" y="51911"/>
                          </a:lnTo>
                          <a:close/>
                        </a:path>
                      </a:pathLst>
                    </a:custGeom>
                    <a:noFill/>
                    <a:ln w="19050" cap="flat">
                      <a:solidFill>
                        <a:schemeClr val="tx2"/>
                      </a:solidFill>
                      <a:prstDash val="solid"/>
                      <a:round/>
                    </a:ln>
                  </p:spPr>
                  <p:txBody>
                    <a:bodyPr rtlCol="0" anchor="ctr"/>
                    <a:lstStyle/>
                    <a:p>
                      <a:endParaRPr lang="en-IN"/>
                    </a:p>
                  </p:txBody>
                </p:sp>
                <p:sp>
                  <p:nvSpPr>
                    <p:cNvPr id="67" name="Freeform: Shape 66">
                      <a:extLst>
                        <a:ext uri="{FF2B5EF4-FFF2-40B4-BE49-F238E27FC236}">
                          <a16:creationId xmlns:a16="http://schemas.microsoft.com/office/drawing/2014/main" id="{DDC61B76-1584-466C-8971-A214DB82D7E1}"/>
                        </a:ext>
                      </a:extLst>
                    </p:cNvPr>
                    <p:cNvSpPr/>
                    <p:nvPr/>
                  </p:nvSpPr>
                  <p:spPr>
                    <a:xfrm>
                      <a:off x="4195026" y="4071830"/>
                      <a:ext cx="299466" cy="181736"/>
                    </a:xfrm>
                    <a:custGeom>
                      <a:avLst/>
                      <a:gdLst>
                        <a:gd name="connsiteX0" fmla="*/ 25337 w 299466"/>
                        <a:gd name="connsiteY0" fmla="*/ 0 h 181736"/>
                        <a:gd name="connsiteX1" fmla="*/ 0 w 299466"/>
                        <a:gd name="connsiteY1" fmla="*/ 101346 h 181736"/>
                        <a:gd name="connsiteX2" fmla="*/ 151829 w 299466"/>
                        <a:gd name="connsiteY2" fmla="*/ 181737 h 181736"/>
                        <a:gd name="connsiteX3" fmla="*/ 299466 w 299466"/>
                        <a:gd name="connsiteY3" fmla="*/ 101346 h 181736"/>
                        <a:gd name="connsiteX4" fmla="*/ 274130 w 299466"/>
                        <a:gd name="connsiteY4" fmla="*/ 0 h 181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466" h="181736">
                          <a:moveTo>
                            <a:pt x="25337" y="0"/>
                          </a:moveTo>
                          <a:cubicBezTo>
                            <a:pt x="0" y="33814"/>
                            <a:pt x="0" y="101346"/>
                            <a:pt x="0" y="101346"/>
                          </a:cubicBezTo>
                          <a:cubicBezTo>
                            <a:pt x="151829" y="181737"/>
                            <a:pt x="151829" y="181737"/>
                            <a:pt x="151829" y="181737"/>
                          </a:cubicBezTo>
                          <a:cubicBezTo>
                            <a:pt x="299466" y="101346"/>
                            <a:pt x="299466" y="101346"/>
                            <a:pt x="299466" y="101346"/>
                          </a:cubicBezTo>
                          <a:cubicBezTo>
                            <a:pt x="299466" y="101346"/>
                            <a:pt x="299466" y="37909"/>
                            <a:pt x="274130" y="0"/>
                          </a:cubicBezTo>
                        </a:path>
                      </a:pathLst>
                    </a:custGeom>
                    <a:noFill/>
                    <a:ln w="19050" cap="flat">
                      <a:solidFill>
                        <a:schemeClr val="tx2"/>
                      </a:solidFill>
                      <a:prstDash val="solid"/>
                      <a:round/>
                    </a:ln>
                  </p:spPr>
                  <p:txBody>
                    <a:bodyPr rtlCol="0" anchor="ctr"/>
                    <a:lstStyle/>
                    <a:p>
                      <a:endParaRPr lang="en-IN"/>
                    </a:p>
                  </p:txBody>
                </p:sp>
              </p:grpSp>
            </p:grpSp>
          </p:grpSp>
        </p:grpSp>
      </p:grpSp>
      <p:sp>
        <p:nvSpPr>
          <p:cNvPr id="32" name="Brain_3">
            <a:extLst>
              <a:ext uri="{FF2B5EF4-FFF2-40B4-BE49-F238E27FC236}">
                <a16:creationId xmlns:a16="http://schemas.microsoft.com/office/drawing/2014/main" id="{2ECD6630-4F38-4A5C-999C-7458C125AAD1}"/>
              </a:ext>
              <a:ext uri="{C183D7F6-B498-43B3-948B-1728B52AA6E4}">
                <adec:decorative xmlns:adec="http://schemas.microsoft.com/office/drawing/2017/decorative" val="1"/>
              </a:ext>
            </a:extLst>
          </p:cNvPr>
          <p:cNvSpPr>
            <a:spLocks noChangeAspect="1" noEditPoints="1"/>
          </p:cNvSpPr>
          <p:nvPr/>
        </p:nvSpPr>
        <p:spPr bwMode="auto">
          <a:xfrm>
            <a:off x="8348746" y="4796796"/>
            <a:ext cx="560443" cy="602627"/>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411695194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8 Enterpris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D83B01"/>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8 Enterprise" id="{E72F3315-1010-49DB-9886-4D4C2CF5FD95}" vid="{819BFA2A-E2CF-41B2-903A-3ECB1391740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ediaServiceAutoTags xmlns="9b581d78-fb6e-41e8-b4f6-3e4ff76e079f" xsi:nil="true"/>
    <SharedWithUsers xmlns="d36b642d-f91d-4864-bf14-fe6283ad7e29">
      <UserInfo>
        <DisplayName>Frank Chiappone</DisplayName>
        <AccountId>42</AccountId>
        <AccountType/>
      </UserInfo>
      <UserInfo>
        <DisplayName>Abby Schilbach</DisplayName>
        <AccountId>32</AccountId>
        <AccountType/>
      </UserInfo>
      <UserInfo>
        <DisplayName>Joe Brazier</DisplayName>
        <AccountId>2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777E4D39FF3F64BA83B19A849608AF5" ma:contentTypeVersion="12" ma:contentTypeDescription="Create a new document." ma:contentTypeScope="" ma:versionID="4f5e22f5060ae67964ee3e99afe0948c">
  <xsd:schema xmlns:xsd="http://www.w3.org/2001/XMLSchema" xmlns:xs="http://www.w3.org/2001/XMLSchema" xmlns:p="http://schemas.microsoft.com/office/2006/metadata/properties" xmlns:ns2="9b581d78-fb6e-41e8-b4f6-3e4ff76e079f" xmlns:ns3="d36b642d-f91d-4864-bf14-fe6283ad7e29" targetNamespace="http://schemas.microsoft.com/office/2006/metadata/properties" ma:root="true" ma:fieldsID="6b2bbdc2fe7443d45efa388c058d17e9" ns2:_="" ns3:_="">
    <xsd:import namespace="9b581d78-fb6e-41e8-b4f6-3e4ff76e079f"/>
    <xsd:import namespace="d36b642d-f91d-4864-bf14-fe6283ad7e2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581d78-fb6e-41e8-b4f6-3e4ff76e07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36b642d-f91d-4864-bf14-fe6283ad7e29"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purl.org/dc/terms/"/>
    <ds:schemaRef ds:uri="20986b74-23f8-4e30-be98-ec89b3add932"/>
    <ds:schemaRef ds:uri="http://schemas.microsoft.com/office/2006/documentManagement/types"/>
    <ds:schemaRef ds:uri="http://schemas.microsoft.com/office/infopath/2007/PartnerControls"/>
    <ds:schemaRef ds:uri="6f15edc5-b4ea-48cc-ae72-c19e9dd02d58"/>
    <ds:schemaRef ds:uri="http://purl.org/dc/elements/1.1/"/>
    <ds:schemaRef ds:uri="http://schemas.microsoft.com/office/2006/metadata/properties"/>
    <ds:schemaRef ds:uri="http://schemas.openxmlformats.org/package/2006/metadata/core-properties"/>
    <ds:schemaRef ds:uri="http://www.w3.org/XML/1998/namespace"/>
    <ds:schemaRef ds:uri="http://purl.org/dc/dcmitype/"/>
    <ds:schemaRef ds:uri="9b581d78-fb6e-41e8-b4f6-3e4ff76e079f"/>
    <ds:schemaRef ds:uri="d36b642d-f91d-4864-bf14-fe6283ad7e29"/>
  </ds:schemaRefs>
</ds:datastoreItem>
</file>

<file path=customXml/itemProps3.xml><?xml version="1.0" encoding="utf-8"?>
<ds:datastoreItem xmlns:ds="http://schemas.openxmlformats.org/officeDocument/2006/customXml" ds:itemID="{0B257B08-5595-432E-8579-6F0AB8824B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b581d78-fb6e-41e8-b4f6-3e4ff76e079f"/>
    <ds:schemaRef ds:uri="d36b642d-f91d-4864-bf14-fe6283ad7e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72f988bf-86f1-41af-91ab-2d7cd011db47}" enabled="0" method="" siteId="{72f988bf-86f1-41af-91ab-2d7cd011db47}" removed="1"/>
</clbl:labelList>
</file>

<file path=docProps/app.xml><?xml version="1.0" encoding="utf-8"?>
<Properties xmlns="http://schemas.openxmlformats.org/officeDocument/2006/extended-properties" xmlns:vt="http://schemas.openxmlformats.org/officeDocument/2006/docPropsVTypes">
  <TotalTime>101</TotalTime>
  <Words>8767</Words>
  <Application>Microsoft Office PowerPoint</Application>
  <PresentationFormat>Custom</PresentationFormat>
  <Paragraphs>447</Paragraphs>
  <Slides>27</Slides>
  <Notes>25</Notes>
  <HiddenSlides>2</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40" baseType="lpstr">
      <vt:lpstr>Arial</vt:lpstr>
      <vt:lpstr>Calibri</vt:lpstr>
      <vt:lpstr>Merriweather</vt:lpstr>
      <vt:lpstr>Segoe UI</vt:lpstr>
      <vt:lpstr>Segoe UI Black</vt:lpstr>
      <vt:lpstr>Segoe UI Light</vt:lpstr>
      <vt:lpstr>Segoe UI Semibold</vt:lpstr>
      <vt:lpstr>Segoe UI Semilight</vt:lpstr>
      <vt:lpstr>SegoePro</vt:lpstr>
      <vt:lpstr>Times New Roman</vt:lpstr>
      <vt:lpstr>Wingdings</vt:lpstr>
      <vt:lpstr>FY18 Enterprise</vt:lpstr>
      <vt:lpstr>think-cell Slide</vt:lpstr>
      <vt:lpstr>Seller guidance | K12 Buying Season Campaign deck</vt:lpstr>
      <vt:lpstr>Empower students to learn anywhere</vt:lpstr>
      <vt:lpstr>Remote learning presents new challenges</vt:lpstr>
      <vt:lpstr>Hybrid learning is the future</vt:lpstr>
      <vt:lpstr>Empower students to learn anywhere with Microsoft Education</vt:lpstr>
      <vt:lpstr>Achieve better learning outcomes with the best devices for learning anywhere</vt:lpstr>
      <vt:lpstr>Learn anywhere with devices built for remote and hybrid learning</vt:lpstr>
      <vt:lpstr>Empower students with devices built for  learning anywhere</vt:lpstr>
      <vt:lpstr>Engage everyone with built-in accessibility</vt:lpstr>
      <vt:lpstr>Secure devices and protect privacy with  comprehensive security</vt:lpstr>
      <vt:lpstr>Empower teachers to transform their classrooms with training, tools, and resources</vt:lpstr>
      <vt:lpstr>Ensure teacher readiness for any type of learning</vt:lpstr>
      <vt:lpstr>Build teacher confidence with training and resources</vt:lpstr>
      <vt:lpstr>Enable inclusive learning in one place with Microsoft Teams</vt:lpstr>
      <vt:lpstr>Streamline collaboration and build professional communities</vt:lpstr>
      <vt:lpstr>Keep students safe and data secure in online classrooms during remote and hybrid learning</vt:lpstr>
      <vt:lpstr>Keep students safe and data secure</vt:lpstr>
      <vt:lpstr>Maintain student safety with controls for meetings</vt:lpstr>
      <vt:lpstr>Have confidence students are protected with industry-leading security </vt:lpstr>
      <vt:lpstr>Microsoft provides support throughout your journey</vt:lpstr>
      <vt:lpstr>Find the right devices for your school slide 1</vt:lpstr>
      <vt:lpstr>Find the right devices for your school slide 2</vt:lpstr>
      <vt:lpstr>Meet the Surface family of devices</vt:lpstr>
      <vt:lpstr>Affordable and safe devices with free training</vt:lpstr>
      <vt:lpstr>Next steps</vt:lpstr>
      <vt:lpstr>Closing Slide</vt:lpstr>
      <vt:lpstr>Keep student data private and ensure data is never sold to advertis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ur Directions – DELETE THIS SLIDE</dc:title>
  <dc:creator>Ben Schifberg (The Spur Group Inc)</dc:creator>
  <cp:lastModifiedBy>Mohler, Timothy</cp:lastModifiedBy>
  <cp:revision>3</cp:revision>
  <dcterms:modified xsi:type="dcterms:W3CDTF">2021-10-09T00:13: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oduct">
    <vt:lpwstr/>
  </property>
  <property fmtid="{D5CDD505-2E9C-101B-9397-08002B2CF9AE}" pid="3" name="Event1">
    <vt:lpwstr>217;#Unassigned|e51362f4-782c-41a8-bb7b-e0cfc8669933</vt:lpwstr>
  </property>
  <property fmtid="{D5CDD505-2E9C-101B-9397-08002B2CF9AE}" pid="4" name="Audience">
    <vt:lpwstr/>
  </property>
  <property fmtid="{D5CDD505-2E9C-101B-9397-08002B2CF9AE}" pid="5" name="AuthorIds_UIVersion_9728">
    <vt:lpwstr>46</vt:lpwstr>
  </property>
  <property fmtid="{D5CDD505-2E9C-101B-9397-08002B2CF9AE}" pid="6" name="AuthorIds_UIVersion_512">
    <vt:lpwstr>46</vt:lpwstr>
  </property>
  <property fmtid="{D5CDD505-2E9C-101B-9397-08002B2CF9AE}" pid="7" name="ContentTypeId">
    <vt:lpwstr>0x0101004777E4D39FF3F64BA83B19A849608AF5</vt:lpwstr>
  </property>
</Properties>
</file>